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5.xml" ContentType="application/vnd.openxmlformats-officedocument.presentationml.tags+xml"/>
  <Override PartName="/ppt/notesSlides/notesSlide1.xml" ContentType="application/vnd.openxmlformats-officedocument.presentationml.notesSlid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trictFirstAndLastChars="0" embedTrueTypeFonts="1" saveSubsetFonts="1" autoCompressPictures="0">
  <p:sldMasterIdLst>
    <p:sldMasterId id="2147483648" r:id="rId1"/>
  </p:sldMasterIdLst>
  <p:notesMasterIdLst>
    <p:notesMasterId r:id="rId21"/>
  </p:notesMasterIdLst>
  <p:handoutMasterIdLst>
    <p:handoutMasterId r:id="rId22"/>
  </p:handoutMasterIdLst>
  <p:sldIdLst>
    <p:sldId id="319" r:id="rId2"/>
    <p:sldId id="444" r:id="rId3"/>
    <p:sldId id="472" r:id="rId4"/>
    <p:sldId id="473" r:id="rId5"/>
    <p:sldId id="452" r:id="rId6"/>
    <p:sldId id="457" r:id="rId7"/>
    <p:sldId id="467" r:id="rId8"/>
    <p:sldId id="466" r:id="rId9"/>
    <p:sldId id="465" r:id="rId10"/>
    <p:sldId id="480" r:id="rId11"/>
    <p:sldId id="481" r:id="rId12"/>
    <p:sldId id="482" r:id="rId13"/>
    <p:sldId id="483" r:id="rId14"/>
    <p:sldId id="484" r:id="rId15"/>
    <p:sldId id="485" r:id="rId16"/>
    <p:sldId id="486" r:id="rId17"/>
    <p:sldId id="487" r:id="rId18"/>
    <p:sldId id="488" r:id="rId19"/>
    <p:sldId id="419" r:id="rId20"/>
  </p:sldIdLst>
  <p:sldSz cx="8961438" cy="6721475"/>
  <p:notesSz cx="6742113" cy="9872663"/>
  <p:embeddedFontLst>
    <p:embeddedFont>
      <p:font typeface="MS PGothic" panose="020B0600070205080204" pitchFamily="34" charset="-128"/>
      <p:regular r:id="rId23"/>
    </p:embeddedFont>
  </p:embeddedFontLst>
  <p:custDataLst>
    <p:tags r:id="rId24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>
          <p15:clr>
            <a:srgbClr val="A4A3A4"/>
          </p15:clr>
        </p15:guide>
        <p15:guide id="2" pos="282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2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liana Loginova" initials="UL" lastIdx="6" clrIdx="0">
    <p:extLst/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F497D"/>
    <a:srgbClr val="808080"/>
    <a:srgbClr val="0065CC"/>
    <a:srgbClr val="91AFFF"/>
    <a:srgbClr val="002960"/>
    <a:srgbClr val="FF6600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951" autoAdjust="0"/>
    <p:restoredTop sz="94508" autoAdjust="0"/>
  </p:normalViewPr>
  <p:slideViewPr>
    <p:cSldViewPr snapToGrid="0">
      <p:cViewPr varScale="1">
        <p:scale>
          <a:sx n="93" d="100"/>
          <a:sy n="93" d="100"/>
        </p:scale>
        <p:origin x="1500" y="78"/>
      </p:cViewPr>
      <p:guideLst>
        <p:guide orient="horz"/>
        <p:guide pos="2822"/>
      </p:guideLst>
    </p:cSldViewPr>
  </p:slideViewPr>
  <p:notesTextViewPr>
    <p:cViewPr>
      <p:scale>
        <a:sx n="33" d="100"/>
        <a:sy n="33" d="100"/>
      </p:scale>
      <p:origin x="0" y="0"/>
    </p:cViewPr>
  </p:notesTextViewPr>
  <p:sorterViewPr>
    <p:cViewPr>
      <p:scale>
        <a:sx n="150" d="100"/>
        <a:sy n="150" d="100"/>
      </p:scale>
      <p:origin x="0" y="10504"/>
    </p:cViewPr>
  </p:sorterViewPr>
  <p:notesViewPr>
    <p:cSldViewPr snapToGrid="0">
      <p:cViewPr varScale="1">
        <p:scale>
          <a:sx n="79" d="100"/>
          <a:sy n="79" d="100"/>
        </p:scale>
        <p:origin x="-3768" y="-84"/>
      </p:cViewPr>
      <p:guideLst>
        <p:guide orient="horz" pos="3110"/>
        <p:guide pos="212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tags" Target="tags/tag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font" Target="fonts/font1.fntdata"/><Relationship Id="rId28" Type="http://schemas.openxmlformats.org/officeDocument/2006/relationships/theme" Target="theme/theme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handoutMaster" Target="handoutMasters/handoutMaster1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2" Type="http://schemas.openxmlformats.org/officeDocument/2006/relationships/image" Target="../media/image21.emf"/><Relationship Id="rId1" Type="http://schemas.openxmlformats.org/officeDocument/2006/relationships/image" Target="../media/image20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drawings/_rels/vmlDrawing13.vml.rels><?xml version="1.0" encoding="UTF-8" standalone="yes"?>
<Relationships xmlns="http://schemas.openxmlformats.org/package/2006/relationships"><Relationship Id="rId3" Type="http://schemas.openxmlformats.org/officeDocument/2006/relationships/image" Target="../media/image25.emf"/><Relationship Id="rId2" Type="http://schemas.openxmlformats.org/officeDocument/2006/relationships/image" Target="../media/image24.emf"/><Relationship Id="rId1" Type="http://schemas.openxmlformats.org/officeDocument/2006/relationships/image" Target="../media/image12.emf"/></Relationships>
</file>

<file path=ppt/drawings/_rels/vmlDrawing14.vml.rels><?xml version="1.0" encoding="UTF-8" standalone="yes"?>
<Relationships xmlns="http://schemas.openxmlformats.org/package/2006/relationships"><Relationship Id="rId3" Type="http://schemas.openxmlformats.org/officeDocument/2006/relationships/image" Target="../media/image27.emf"/><Relationship Id="rId2" Type="http://schemas.openxmlformats.org/officeDocument/2006/relationships/image" Target="../media/image26.emf"/><Relationship Id="rId1" Type="http://schemas.openxmlformats.org/officeDocument/2006/relationships/image" Target="../media/image1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7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7475" y="350838"/>
            <a:ext cx="6507163" cy="4879975"/>
          </a:xfrm>
          <a:prstGeom prst="rect">
            <a:avLst/>
          </a:prstGeom>
          <a:noFill/>
          <a:ln w="9525">
            <a:solidFill>
              <a:schemeClr val="tx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xmlns="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455142" y="5304976"/>
            <a:ext cx="5831830" cy="126591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noProof="0" smtClean="0"/>
              <a:t>Click to edit Master text styles</a:t>
            </a:r>
          </a:p>
          <a:p>
            <a:pPr lvl="1"/>
            <a:r>
              <a:rPr lang="de-DE" noProof="0" smtClean="0"/>
              <a:t>Second level</a:t>
            </a:r>
          </a:p>
          <a:p>
            <a:pPr lvl="2"/>
            <a:r>
              <a:rPr lang="de-DE" noProof="0" smtClean="0"/>
              <a:t>Third level</a:t>
            </a:r>
          </a:p>
          <a:p>
            <a:pPr lvl="3"/>
            <a:r>
              <a:rPr lang="de-DE" noProof="0" smtClean="0"/>
              <a:t>Fourth level</a:t>
            </a:r>
          </a:p>
          <a:p>
            <a:pPr lvl="4"/>
            <a:r>
              <a:rPr lang="de-DE" noProof="0" smtClean="0"/>
              <a:t>Fifth level</a:t>
            </a:r>
          </a:p>
        </p:txBody>
      </p:sp>
      <p:sp>
        <p:nvSpPr>
          <p:cNvPr id="5127" name="pg num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016798" y="9488171"/>
            <a:ext cx="534861" cy="18988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200">
                <a:latin typeface="Arial" panose="020B0604020202020204" pitchFamily="34" charset="0"/>
                <a:ea typeface="+mn-ea"/>
                <a:cs typeface="Arial" panose="020B0604020202020204" pitchFamily="34" charset="0"/>
                <a:sym typeface="+mn-lt"/>
              </a:defRPr>
            </a:lvl1pPr>
          </a:lstStyle>
          <a:p>
            <a:pPr>
              <a:defRPr/>
            </a:pPr>
            <a:fld id="{3C3A632B-FBDE-46D4-BF6F-6D14421E6342}" type="slidenum">
              <a:rPr lang="de-DE" smtClean="0"/>
              <a:pPr>
                <a:defRPr/>
              </a:pPr>
              <a:t>‹#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+mn-lt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+mn-lt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+mn-lt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+mn-lt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  <a:sym typeface="+mn-lt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7"/>
          <p:cNvSpPr>
            <a:spLocks noGrp="1" noChangeArrowheads="1"/>
          </p:cNvSpPr>
          <p:nvPr>
            <p:ph type="sldNum" sz="quarter" idx="5"/>
          </p:nvPr>
        </p:nvSpPr>
        <p:spPr>
          <a:xfrm>
            <a:off x="5540208" y="9692111"/>
            <a:ext cx="492495" cy="253183"/>
          </a:xfrm>
        </p:spPr>
        <p:txBody>
          <a:bodyPr/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3470" indent="-2859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800" indent="-22876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1320" indent="-22876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8840" indent="-22876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6360" indent="-228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3880" indent="-228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31400" indent="-228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8920" indent="-22876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fld id="{59C82D0B-2745-43F5-A242-79DE1EE6F40C}" type="slidenum">
              <a:rPr lang="de-DE" smtClean="0"/>
              <a:pPr/>
              <a:t>0</a:t>
            </a:fld>
            <a:endParaRPr lang="de-DE" smtClean="0"/>
          </a:p>
        </p:txBody>
      </p:sp>
      <p:sp>
        <p:nvSpPr>
          <p:cNvPr id="14" name="Slide Image Placeholder 13"/>
          <p:cNvSpPr>
            <a:spLocks noGrp="1" noRot="1" noChangeAspect="1"/>
          </p:cNvSpPr>
          <p:nvPr>
            <p:ph type="sldImg"/>
          </p:nvPr>
        </p:nvSpPr>
        <p:spPr>
          <a:xfrm>
            <a:off x="-238125" y="360363"/>
            <a:ext cx="6684963" cy="5013325"/>
          </a:xfrm>
        </p:spPr>
      </p:sp>
      <p:sp>
        <p:nvSpPr>
          <p:cNvPr id="15" name="Notes Placeholder 14"/>
          <p:cNvSpPr>
            <a:spLocks noGrp="1"/>
          </p:cNvSpPr>
          <p:nvPr>
            <p:ph type="body" idx="1"/>
          </p:nvPr>
        </p:nvSpPr>
        <p:spPr>
          <a:xfrm>
            <a:off x="419091" y="5451460"/>
            <a:ext cx="5369891" cy="253183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083348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5.png"/><Relationship Id="rId5" Type="http://schemas.openxmlformats.org/officeDocument/2006/relationships/image" Target="../media/image4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5427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071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965200" y="279341"/>
            <a:ext cx="723900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</p:spTree>
    <p:extLst>
      <p:ext uri="{BB962C8B-B14F-4D97-AF65-F5344CB8AC3E}">
        <p14:creationId xmlns:p14="http://schemas.microsoft.com/office/powerpoint/2010/main" val="42297584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976952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327" name="think-cell Slide" r:id="rId4" imgW="359" imgH="358" progId="TCLayout.ActiveDocument.1">
                  <p:embed/>
                </p:oleObj>
              </mc:Choice>
              <mc:Fallback>
                <p:oleObj name="think-cell Slide" r:id="rId4" imgW="359" imgH="35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McK Title Elements" hidden="1"/>
          <p:cNvGrpSpPr>
            <a:grpSpLocks/>
          </p:cNvGrpSpPr>
          <p:nvPr/>
        </p:nvGrpSpPr>
        <p:grpSpPr bwMode="gray">
          <a:xfrm>
            <a:off x="2714625" y="4158193"/>
            <a:ext cx="4592954" cy="484188"/>
            <a:chOff x="1663" y="3106"/>
            <a:chExt cx="3109" cy="305"/>
          </a:xfrm>
        </p:grpSpPr>
        <p:sp>
          <p:nvSpPr>
            <p:cNvPr id="9" name="McK Document type"/>
            <p:cNvSpPr txBox="1">
              <a:spLocks noChangeArrowheads="1"/>
            </p:cNvSpPr>
            <p:nvPr/>
          </p:nvSpPr>
          <p:spPr bwMode="gray">
            <a:xfrm>
              <a:off x="1663" y="3106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az-Cyrl-AZ" sz="1400" baseline="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Тип документа</a:t>
              </a:r>
              <a:endParaRPr lang="de-DE" sz="1400" baseline="0" noProof="0" dirty="0" smtClean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0" name="McK Date"/>
            <p:cNvSpPr txBox="1">
              <a:spLocks noChangeArrowheads="1"/>
            </p:cNvSpPr>
            <p:nvPr/>
          </p:nvSpPr>
          <p:spPr bwMode="gray">
            <a:xfrm>
              <a:off x="1663" y="3275"/>
              <a:ext cx="3109" cy="13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>
              <a:spAutoFit/>
            </a:bodyPr>
            <a:lstStyle>
              <a:lvl1pPr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1pPr>
              <a:lvl2pPr marL="742950" indent="-28575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2pPr>
              <a:lvl3pPr marL="11430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3pPr>
              <a:lvl4pPr marL="16002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4pPr>
              <a:lvl5pPr marL="2057400" indent="-228600" eaLnBrk="0" hangingPunct="0">
                <a:defRPr sz="1600">
                  <a:solidFill>
                    <a:schemeClr val="tx1"/>
                  </a:solidFill>
                  <a:latin typeface="Arial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16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eaLnBrk="1" hangingPunct="1">
                <a:defRPr/>
              </a:pPr>
              <a:r>
                <a:rPr lang="az-Cyrl-AZ" sz="1400" baseline="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Дата</a:t>
              </a:r>
              <a:endParaRPr lang="de-DE" sz="1400" baseline="0" noProof="0" dirty="0" smtClean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3314" name="Rectangle 1026"/>
          <p:cNvSpPr>
            <a:spLocks noGrp="1" noChangeArrowheads="1"/>
          </p:cNvSpPr>
          <p:nvPr>
            <p:ph type="ctrTitle"/>
          </p:nvPr>
        </p:nvSpPr>
        <p:spPr bwMode="gray">
          <a:xfrm>
            <a:off x="1652270" y="2133600"/>
            <a:ext cx="5655309" cy="492443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200" b="0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  <a:sym typeface="+mj-lt"/>
              </a:defRPr>
            </a:lvl1pPr>
          </a:lstStyle>
          <a:p>
            <a:pPr lvl="0"/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  <p:sp>
        <p:nvSpPr>
          <p:cNvPr id="13315" name="Rectangle 1027"/>
          <p:cNvSpPr>
            <a:spLocks noGrp="1" noChangeArrowheads="1"/>
          </p:cNvSpPr>
          <p:nvPr>
            <p:ph type="subTitle" idx="1"/>
          </p:nvPr>
        </p:nvSpPr>
        <p:spPr bwMode="gray">
          <a:xfrm>
            <a:off x="1652270" y="3371850"/>
            <a:ext cx="5655309" cy="215444"/>
          </a:xfrm>
        </p:spPr>
        <p:txBody>
          <a:bodyPr wrap="square">
            <a:spAutoFit/>
          </a:bodyPr>
          <a:lstStyle>
            <a:lvl1pPr>
              <a:defRPr sz="1400" baseline="0"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</a:lstStyle>
          <a:p>
            <a:pPr lvl="0"/>
            <a:r>
              <a:rPr lang="en-US" noProof="0" smtClean="0"/>
              <a:t>Click to edit Master subtitle style</a:t>
            </a:r>
            <a:endParaRPr lang="de-DE" noProof="0" dirty="0" smtClean="0"/>
          </a:p>
        </p:txBody>
      </p:sp>
      <p:sp>
        <p:nvSpPr>
          <p:cNvPr id="11" name="Rectangle 10"/>
          <p:cNvSpPr>
            <a:spLocks noChangeArrowheads="1"/>
          </p:cNvSpPr>
          <p:nvPr userDrawn="1"/>
        </p:nvSpPr>
        <p:spPr bwMode="ltGray">
          <a:xfrm>
            <a:off x="1587" y="6303169"/>
            <a:ext cx="8958263" cy="420688"/>
          </a:xfrm>
          <a:prstGeom prst="rect">
            <a:avLst/>
          </a:prstGeom>
          <a:solidFill>
            <a:srgbClr val="1F497D"/>
          </a:solidFill>
          <a:ln>
            <a:noFill/>
          </a:ln>
          <a:effectLst/>
          <a:extLst/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ltGray">
          <a:xfrm>
            <a:off x="1587" y="-2381"/>
            <a:ext cx="8958263" cy="420688"/>
          </a:xfrm>
          <a:prstGeom prst="rect">
            <a:avLst/>
          </a:prstGeom>
          <a:solidFill>
            <a:srgbClr val="1F497D"/>
          </a:solidFill>
          <a:ln>
            <a:noFill/>
          </a:ln>
          <a:effectLst/>
          <a:extLst/>
        </p:spPr>
        <p:txBody>
          <a:bodyPr wrap="none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endParaRPr lang="ru-RU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4" name="TextBox 13"/>
          <p:cNvSpPr txBox="1">
            <a:spLocks/>
          </p:cNvSpPr>
          <p:nvPr userDrawn="1"/>
        </p:nvSpPr>
        <p:spPr bwMode="ltGray">
          <a:xfrm>
            <a:off x="1653857" y="84853"/>
            <a:ext cx="565372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600" kern="1200">
                <a:solidFill>
                  <a:schemeClr val="tx1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ctr"/>
            <a:r>
              <a:rPr lang="ru-RU" b="1" dirty="0">
                <a:solidFill>
                  <a:schemeClr val="bg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ДЕПАРТАМЕНТ ЗДРАВООХРАНЕНИЯ ГОРОДА МОСКВЫ</a:t>
            </a:r>
            <a:endParaRPr lang="ru-RU" b="1" dirty="0" smtClean="0">
              <a:solidFill>
                <a:schemeClr val="bg1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pic>
        <p:nvPicPr>
          <p:cNvPr id="26" name="Picture 5" descr="http://abali.ru/wp-content/uploads/2010/12/gerb_moskvy.png"/>
          <p:cNvPicPr>
            <a:picLocks noChangeArrowheads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1652270" y="4158193"/>
            <a:ext cx="608013" cy="7177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628876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8650484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 Without Numb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</p:spPr>
        <p:txBody>
          <a:bodyPr anchor="ctr" anchorCtr="0"/>
          <a:lstStyle/>
          <a:p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8823640"/>
      </p:ext>
    </p:extLst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2. Slide Title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968117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26" Type="http://schemas.openxmlformats.org/officeDocument/2006/relationships/tags" Target="../tags/tag20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15.xml"/><Relationship Id="rId34" Type="http://schemas.openxmlformats.org/officeDocument/2006/relationships/tags" Target="../tags/tag28.xml"/><Relationship Id="rId42" Type="http://schemas.openxmlformats.org/officeDocument/2006/relationships/image" Target="../media/image3.jpeg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tags" Target="../tags/tag14.xml"/><Relationship Id="rId29" Type="http://schemas.openxmlformats.org/officeDocument/2006/relationships/tags" Target="../tags/tag23.xml"/><Relationship Id="rId41" Type="http://schemas.openxmlformats.org/officeDocument/2006/relationships/image" Target="../media/image2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24" Type="http://schemas.openxmlformats.org/officeDocument/2006/relationships/tags" Target="../tags/tag18.xml"/><Relationship Id="rId32" Type="http://schemas.openxmlformats.org/officeDocument/2006/relationships/tags" Target="../tags/tag26.xml"/><Relationship Id="rId37" Type="http://schemas.openxmlformats.org/officeDocument/2006/relationships/tags" Target="../tags/tag3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23" Type="http://schemas.openxmlformats.org/officeDocument/2006/relationships/tags" Target="../tags/tag17.xml"/><Relationship Id="rId28" Type="http://schemas.openxmlformats.org/officeDocument/2006/relationships/tags" Target="../tags/tag22.xml"/><Relationship Id="rId36" Type="http://schemas.openxmlformats.org/officeDocument/2006/relationships/tags" Target="../tags/tag30.xml"/><Relationship Id="rId10" Type="http://schemas.openxmlformats.org/officeDocument/2006/relationships/tags" Target="../tags/tag4.xml"/><Relationship Id="rId19" Type="http://schemas.openxmlformats.org/officeDocument/2006/relationships/tags" Target="../tags/tag13.xml"/><Relationship Id="rId31" Type="http://schemas.openxmlformats.org/officeDocument/2006/relationships/tags" Target="../tags/tag25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Relationship Id="rId22" Type="http://schemas.openxmlformats.org/officeDocument/2006/relationships/tags" Target="../tags/tag16.xml"/><Relationship Id="rId27" Type="http://schemas.openxmlformats.org/officeDocument/2006/relationships/tags" Target="../tags/tag21.xml"/><Relationship Id="rId30" Type="http://schemas.openxmlformats.org/officeDocument/2006/relationships/tags" Target="../tags/tag24.xml"/><Relationship Id="rId35" Type="http://schemas.openxmlformats.org/officeDocument/2006/relationships/tags" Target="../tags/tag29.xml"/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5" Type="http://schemas.openxmlformats.org/officeDocument/2006/relationships/tags" Target="../tags/tag19.xml"/><Relationship Id="rId33" Type="http://schemas.openxmlformats.org/officeDocument/2006/relationships/tags" Target="../tags/tag27.xml"/><Relationship Id="rId38" Type="http://schemas.openxmlformats.org/officeDocument/2006/relationships/tags" Target="../tags/tag3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41823143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271" name="think-cell Slide" r:id="rId39" imgW="270" imgH="270" progId="TCLayout.ActiveDocument.1">
                  <p:embed/>
                </p:oleObj>
              </mc:Choice>
              <mc:Fallback>
                <p:oleObj name="think-cell Slide" r:id="rId3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6" name="Rectangle 286"/>
          <p:cNvSpPr>
            <a:spLocks noGrp="1" noChangeArrowheads="1"/>
          </p:cNvSpPr>
          <p:nvPr>
            <p:ph type="body" idx="1"/>
          </p:nvPr>
        </p:nvSpPr>
        <p:spPr bwMode="gray">
          <a:xfrm>
            <a:off x="119063" y="1951038"/>
            <a:ext cx="8746662" cy="12311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de-DE" noProof="0" dirty="0"/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965200" y="230188"/>
            <a:ext cx="7239000" cy="2923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itle style</a:t>
            </a:r>
            <a:endParaRPr lang="de-DE" noProof="0" dirty="0" smtClean="0"/>
          </a:p>
        </p:txBody>
      </p:sp>
      <p:grpSp>
        <p:nvGrpSpPr>
          <p:cNvPr id="4" name="Group 3" hidden="1"/>
          <p:cNvGrpSpPr/>
          <p:nvPr/>
        </p:nvGrpSpPr>
        <p:grpSpPr>
          <a:xfrm>
            <a:off x="119063" y="6283038"/>
            <a:ext cx="8405812" cy="341314"/>
            <a:chOff x="119063" y="6283038"/>
            <a:chExt cx="8746662" cy="341314"/>
          </a:xfrm>
        </p:grpSpPr>
        <p:sp>
          <p:nvSpPr>
            <p:cNvPr id="13" name="McK 4. Footnote"/>
            <p:cNvSpPr txBox="1">
              <a:spLocks noChangeArrowheads="1"/>
            </p:cNvSpPr>
            <p:nvPr/>
          </p:nvSpPr>
          <p:spPr bwMode="gray">
            <a:xfrm>
              <a:off x="119063" y="6283038"/>
              <a:ext cx="8746662" cy="153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de-DE" sz="100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1 </a:t>
              </a:r>
              <a:r>
                <a:rPr lang="az-Cyrl-AZ" sz="100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Сноска</a:t>
              </a:r>
              <a:endParaRPr lang="de-DE" sz="1000" baseline="0" noProof="0" dirty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4" name="McK 5. Source"/>
            <p:cNvSpPr>
              <a:spLocks noChangeArrowheads="1"/>
            </p:cNvSpPr>
            <p:nvPr/>
          </p:nvSpPr>
          <p:spPr bwMode="gray">
            <a:xfrm>
              <a:off x="119063" y="6470364"/>
              <a:ext cx="8746662" cy="15398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0" anchor="b" anchorCtr="0">
              <a:spAutoFit/>
            </a:bodyPr>
            <a:lstStyle/>
            <a:p>
              <a:pPr marL="617538" indent="-617538" defTabSz="895350">
                <a:tabLst/>
              </a:pPr>
              <a:r>
                <a:rPr lang="az-Cyrl-AZ" sz="100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Источник:</a:t>
              </a:r>
              <a:r>
                <a:rPr lang="de-DE" sz="100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 </a:t>
              </a:r>
              <a:r>
                <a:rPr lang="az-Cyrl-AZ" sz="1000" baseline="0" noProof="0" dirty="0" smtClean="0">
                  <a:solidFill>
                    <a:schemeClr val="accent6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Источник</a:t>
              </a:r>
              <a:endParaRPr lang="de-DE" sz="1000" baseline="0" noProof="0" dirty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119063" y="1127125"/>
            <a:ext cx="4264025" cy="508000"/>
            <a:chOff x="915" y="710"/>
            <a:chExt cx="2686" cy="320"/>
          </a:xfrm>
        </p:grpSpPr>
        <p:cxnSp>
          <p:nvCxnSpPr>
            <p:cNvPr id="16" name="AutoShape 249"/>
            <p:cNvCxnSpPr>
              <a:cxnSpLocks noChangeShapeType="1"/>
              <a:stCxn id="17" idx="4"/>
              <a:endCxn id="1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7" name="AutoShape 250"/>
            <p:cNvSpPr>
              <a:spLocks noChangeArrowheads="1"/>
            </p:cNvSpPr>
            <p:nvPr/>
          </p:nvSpPr>
          <p:spPr bwMode="gray">
            <a:xfrm>
              <a:off x="915" y="710"/>
              <a:ext cx="2686" cy="3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b="1" baseline="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Заголовок</a:t>
              </a:r>
              <a:endParaRPr lang="de-DE" b="1" baseline="0" noProof="0" dirty="0" smtClean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  <a:p>
              <a:r>
                <a:rPr lang="az-Cyrl-AZ" baseline="0" noProof="0" dirty="0" smtClean="0">
                  <a:solidFill>
                    <a:schemeClr val="tx1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Единица измерения</a:t>
              </a:r>
            </a:p>
          </p:txBody>
        </p:sp>
      </p:grpSp>
      <p:grpSp>
        <p:nvGrpSpPr>
          <p:cNvPr id="23" name="LegendBoxes" hidden="1"/>
          <p:cNvGrpSpPr>
            <a:grpSpLocks/>
          </p:cNvGrpSpPr>
          <p:nvPr/>
        </p:nvGrpSpPr>
        <p:grpSpPr bwMode="gray">
          <a:xfrm>
            <a:off x="7889411" y="711954"/>
            <a:ext cx="976314" cy="996951"/>
            <a:chOff x="4936" y="176"/>
            <a:chExt cx="615" cy="628"/>
          </a:xfrm>
        </p:grpSpPr>
        <p:sp>
          <p:nvSpPr>
            <p:cNvPr id="24" name="Legend1"/>
            <p:cNvSpPr>
              <a:spLocks noChangeArrowheads="1"/>
            </p:cNvSpPr>
            <p:nvPr/>
          </p:nvSpPr>
          <p:spPr bwMode="gray">
            <a:xfrm>
              <a:off x="5096" y="176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1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5" name="LegendRectangle1"/>
            <p:cNvSpPr>
              <a:spLocks noChangeArrowheads="1"/>
            </p:cNvSpPr>
            <p:nvPr/>
          </p:nvSpPr>
          <p:spPr bwMode="gray">
            <a:xfrm>
              <a:off x="4936" y="182"/>
              <a:ext cx="104" cy="104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6" name="Legend2"/>
            <p:cNvSpPr>
              <a:spLocks noChangeArrowheads="1"/>
            </p:cNvSpPr>
            <p:nvPr/>
          </p:nvSpPr>
          <p:spPr bwMode="gray">
            <a:xfrm>
              <a:off x="5096" y="346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2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7" name="LegendRectangle2"/>
            <p:cNvSpPr>
              <a:spLocks noChangeArrowheads="1"/>
            </p:cNvSpPr>
            <p:nvPr/>
          </p:nvSpPr>
          <p:spPr bwMode="gray">
            <a:xfrm>
              <a:off x="4936" y="352"/>
              <a:ext cx="104" cy="104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8" name="Legend3"/>
            <p:cNvSpPr>
              <a:spLocks noChangeArrowheads="1"/>
            </p:cNvSpPr>
            <p:nvPr/>
          </p:nvSpPr>
          <p:spPr bwMode="gray">
            <a:xfrm>
              <a:off x="5096" y="517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3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29" name="LegendRectangle3"/>
            <p:cNvSpPr>
              <a:spLocks noChangeArrowheads="1"/>
            </p:cNvSpPr>
            <p:nvPr/>
          </p:nvSpPr>
          <p:spPr bwMode="gray">
            <a:xfrm>
              <a:off x="4936" y="523"/>
              <a:ext cx="104" cy="104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0" name="Legend4"/>
            <p:cNvSpPr>
              <a:spLocks noChangeArrowheads="1"/>
            </p:cNvSpPr>
            <p:nvPr/>
          </p:nvSpPr>
          <p:spPr bwMode="gray">
            <a:xfrm>
              <a:off x="5096" y="688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4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1" name="LegendRectangle4"/>
            <p:cNvSpPr>
              <a:spLocks noChangeArrowheads="1"/>
            </p:cNvSpPr>
            <p:nvPr/>
          </p:nvSpPr>
          <p:spPr bwMode="gray">
            <a:xfrm>
              <a:off x="4936" y="694"/>
              <a:ext cx="104" cy="104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32" name="LegendLines" hidden="1"/>
          <p:cNvGrpSpPr>
            <a:grpSpLocks/>
          </p:cNvGrpSpPr>
          <p:nvPr/>
        </p:nvGrpSpPr>
        <p:grpSpPr bwMode="gray">
          <a:xfrm>
            <a:off x="7581436" y="711954"/>
            <a:ext cx="1284289" cy="730251"/>
            <a:chOff x="4750" y="176"/>
            <a:chExt cx="809" cy="460"/>
          </a:xfrm>
        </p:grpSpPr>
        <p:sp>
          <p:nvSpPr>
            <p:cNvPr id="33" name="LineLegend1"/>
            <p:cNvSpPr>
              <a:spLocks noChangeShapeType="1"/>
            </p:cNvSpPr>
            <p:nvPr/>
          </p:nvSpPr>
          <p:spPr bwMode="gray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4" name="LineLegend2"/>
            <p:cNvSpPr>
              <a:spLocks noChangeShapeType="1"/>
            </p:cNvSpPr>
            <p:nvPr/>
          </p:nvSpPr>
          <p:spPr bwMode="gray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5" name="LineLegend3"/>
            <p:cNvSpPr>
              <a:spLocks noChangeShapeType="1"/>
            </p:cNvSpPr>
            <p:nvPr/>
          </p:nvSpPr>
          <p:spPr bwMode="gray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6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de-DE" sz="1200" noProof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6" name="Legend1"/>
            <p:cNvSpPr>
              <a:spLocks noChangeArrowheads="1"/>
            </p:cNvSpPr>
            <p:nvPr/>
          </p:nvSpPr>
          <p:spPr bwMode="gray">
            <a:xfrm>
              <a:off x="5104" y="176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baseline="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1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7" name="Legend2"/>
            <p:cNvSpPr>
              <a:spLocks noChangeArrowheads="1"/>
            </p:cNvSpPr>
            <p:nvPr/>
          </p:nvSpPr>
          <p:spPr bwMode="gray">
            <a:xfrm>
              <a:off x="5104" y="344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2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38" name="Legend3"/>
            <p:cNvSpPr>
              <a:spLocks noChangeArrowheads="1"/>
            </p:cNvSpPr>
            <p:nvPr/>
          </p:nvSpPr>
          <p:spPr bwMode="gray">
            <a:xfrm>
              <a:off x="5104" y="520"/>
              <a:ext cx="455" cy="11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3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53" name="LegendMoons" hidden="1"/>
          <p:cNvGrpSpPr/>
          <p:nvPr/>
        </p:nvGrpSpPr>
        <p:grpSpPr bwMode="gray">
          <a:xfrm>
            <a:off x="7822095" y="711954"/>
            <a:ext cx="1043630" cy="1306516"/>
            <a:chOff x="7769225" y="2105025"/>
            <a:chExt cx="1043630" cy="1306516"/>
          </a:xfrm>
        </p:grpSpPr>
        <p:grpSp>
          <p:nvGrpSpPr>
            <p:cNvPr id="54" name="MoonLegend1"/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 bwMode="gray">
            <a:xfrm>
              <a:off x="7769225" y="2105025"/>
              <a:ext cx="209550" cy="209551"/>
              <a:chOff x="4533" y="183"/>
              <a:chExt cx="144" cy="144"/>
            </a:xfrm>
          </p:grpSpPr>
          <p:sp>
            <p:nvSpPr>
              <p:cNvPr id="72" name="Oval 38"/>
              <p:cNvSpPr>
                <a:spLocks noChangeAspect="1" noChangeArrowheads="1"/>
              </p:cNvSpPr>
              <p:nvPr>
                <p:custDataLst>
                  <p:tags r:id="rId37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  <p:sp>
            <p:nvSpPr>
              <p:cNvPr id="73" name="Arc 39"/>
              <p:cNvSpPr>
                <a:spLocks noChangeAspect="1"/>
              </p:cNvSpPr>
              <p:nvPr>
                <p:custDataLst>
                  <p:tags r:id="rId38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</p:grpSp>
        <p:grpSp>
          <p:nvGrpSpPr>
            <p:cNvPr id="55" name="MoonLegend2"/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 bwMode="gray">
            <a:xfrm>
              <a:off x="7769225" y="2379266"/>
              <a:ext cx="209550" cy="209551"/>
              <a:chOff x="1694" y="2044"/>
              <a:chExt cx="160" cy="160"/>
            </a:xfrm>
          </p:grpSpPr>
          <p:sp>
            <p:nvSpPr>
              <p:cNvPr id="70" name="Oval 41"/>
              <p:cNvSpPr>
                <a:spLocks noChangeAspect="1" noChangeArrowheads="1"/>
              </p:cNvSpPr>
              <p:nvPr>
                <p:custDataLst>
                  <p:tags r:id="rId35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  <p:sp>
            <p:nvSpPr>
              <p:cNvPr id="71" name="Arc 42"/>
              <p:cNvSpPr>
                <a:spLocks noChangeAspect="1"/>
              </p:cNvSpPr>
              <p:nvPr>
                <p:custDataLst>
                  <p:tags r:id="rId36"/>
                </p:custDataLst>
              </p:nvPr>
            </p:nvSpPr>
            <p:spPr bwMode="gray">
              <a:xfrm>
                <a:off x="1694" y="2044"/>
                <a:ext cx="160" cy="160"/>
              </a:xfrm>
              <a:prstGeom prst="arc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</p:grpSp>
        <p:grpSp>
          <p:nvGrpSpPr>
            <p:cNvPr id="56" name="MoonLegend4"/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 bwMode="gray">
            <a:xfrm>
              <a:off x="7769225" y="2927748"/>
              <a:ext cx="209550" cy="209551"/>
              <a:chOff x="4495" y="1198"/>
              <a:chExt cx="160" cy="160"/>
            </a:xfrm>
          </p:grpSpPr>
          <p:sp>
            <p:nvSpPr>
              <p:cNvPr id="68" name="Oval 47"/>
              <p:cNvSpPr>
                <a:spLocks noChangeAspect="1" noChangeArrowheads="1"/>
              </p:cNvSpPr>
              <p:nvPr>
                <p:custDataLst>
                  <p:tags r:id="rId33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  <p:sp>
            <p:nvSpPr>
              <p:cNvPr id="69" name="Arc 48"/>
              <p:cNvSpPr>
                <a:spLocks noChangeAspect="1"/>
              </p:cNvSpPr>
              <p:nvPr>
                <p:custDataLst>
                  <p:tags r:id="rId34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</p:grpSp>
        <p:grpSp>
          <p:nvGrpSpPr>
            <p:cNvPr id="57" name="MoonLegend5"/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 bwMode="gray">
            <a:xfrm>
              <a:off x="7769225" y="3201990"/>
              <a:ext cx="209550" cy="209551"/>
              <a:chOff x="4495" y="1440"/>
              <a:chExt cx="160" cy="160"/>
            </a:xfrm>
          </p:grpSpPr>
          <p:sp>
            <p:nvSpPr>
              <p:cNvPr id="66" name="Oval 50"/>
              <p:cNvSpPr>
                <a:spLocks noChangeAspect="1" noChangeArrowheads="1"/>
              </p:cNvSpPr>
              <p:nvPr>
                <p:custDataLst>
                  <p:tags r:id="rId31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  <p:sp>
            <p:nvSpPr>
              <p:cNvPr id="67" name="Oval 51"/>
              <p:cNvSpPr>
                <a:spLocks noChangeAspect="1" noChangeArrowheads="1"/>
              </p:cNvSpPr>
              <p:nvPr>
                <p:custDataLst>
                  <p:tags r:id="rId32"/>
                </p:custDataLst>
              </p:nvPr>
            </p:nvSpPr>
            <p:spPr bwMode="gray">
              <a:xfrm>
                <a:off x="4495" y="1440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</p:grpSp>
        <p:sp>
          <p:nvSpPr>
            <p:cNvPr id="58" name="Legend1"/>
            <p:cNvSpPr>
              <a:spLocks noChangeArrowheads="1"/>
            </p:cNvSpPr>
            <p:nvPr/>
          </p:nvSpPr>
          <p:spPr bwMode="gray">
            <a:xfrm>
              <a:off x="8089900" y="2117467"/>
              <a:ext cx="7229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1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59" name="Legend2"/>
            <p:cNvSpPr>
              <a:spLocks noChangeArrowheads="1"/>
            </p:cNvSpPr>
            <p:nvPr/>
          </p:nvSpPr>
          <p:spPr bwMode="gray">
            <a:xfrm>
              <a:off x="8089900" y="2392363"/>
              <a:ext cx="7229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2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0" name="Legend3"/>
            <p:cNvSpPr>
              <a:spLocks noChangeArrowheads="1"/>
            </p:cNvSpPr>
            <p:nvPr/>
          </p:nvSpPr>
          <p:spPr bwMode="gray">
            <a:xfrm>
              <a:off x="8089900" y="2667002"/>
              <a:ext cx="7229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3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1" name="Legend4"/>
            <p:cNvSpPr>
              <a:spLocks noChangeArrowheads="1"/>
            </p:cNvSpPr>
            <p:nvPr/>
          </p:nvSpPr>
          <p:spPr bwMode="gray">
            <a:xfrm>
              <a:off x="8089900" y="2938465"/>
              <a:ext cx="7229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4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2" name="Legend5"/>
            <p:cNvSpPr>
              <a:spLocks noChangeArrowheads="1"/>
            </p:cNvSpPr>
            <p:nvPr/>
          </p:nvSpPr>
          <p:spPr bwMode="gray">
            <a:xfrm>
              <a:off x="8089900" y="3214690"/>
              <a:ext cx="722955" cy="1846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az-Cyrl-AZ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Легенда </a:t>
              </a:r>
              <a:r>
                <a:rPr lang="de-DE" sz="1200" noProof="0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5</a:t>
              </a:r>
              <a:endParaRPr lang="de-DE" sz="1200" noProof="0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grpSp>
          <p:nvGrpSpPr>
            <p:cNvPr id="63" name="MoonLegend3"/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 bwMode="gray">
            <a:xfrm>
              <a:off x="7769225" y="2653507"/>
              <a:ext cx="209550" cy="209551"/>
              <a:chOff x="4495" y="1198"/>
              <a:chExt cx="160" cy="160"/>
            </a:xfrm>
          </p:grpSpPr>
          <p:sp>
            <p:nvSpPr>
              <p:cNvPr id="64" name="Oval 47"/>
              <p:cNvSpPr>
                <a:spLocks noChangeAspect="1" noChangeArrowheads="1"/>
              </p:cNvSpPr>
              <p:nvPr>
                <p:custDataLst>
                  <p:tags r:id="rId29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ellipse">
                <a:avLst/>
              </a:prstGeom>
              <a:solidFill>
                <a:schemeClr val="accent2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  <p:sp>
            <p:nvSpPr>
              <p:cNvPr id="65" name="Arc 48"/>
              <p:cNvSpPr>
                <a:spLocks noChangeAspect="1"/>
              </p:cNvSpPr>
              <p:nvPr>
                <p:custDataLst>
                  <p:tags r:id="rId30"/>
                </p:custDataLst>
              </p:nvPr>
            </p:nvSpPr>
            <p:spPr bwMode="gray">
              <a:xfrm>
                <a:off x="4495" y="1198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de-DE" sz="1200" noProof="0">
                  <a:latin typeface="+mn-lt"/>
                  <a:ea typeface="+mn-ea"/>
                  <a:cs typeface="Arial" panose="020B0604020202020204" pitchFamily="34" charset="0"/>
                  <a:sym typeface="+mn-lt"/>
                </a:endParaRPr>
              </a:p>
            </p:txBody>
          </p:sp>
        </p:grpSp>
      </p:grpSp>
      <p:sp>
        <p:nvSpPr>
          <p:cNvPr id="3" name="pg number"/>
          <p:cNvSpPr>
            <a:spLocks/>
          </p:cNvSpPr>
          <p:nvPr/>
        </p:nvSpPr>
        <p:spPr bwMode="gray">
          <a:xfrm>
            <a:off x="8708631" y="6470444"/>
            <a:ext cx="157094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/>
          <a:p>
            <a:pPr lvl="0" algn="r"/>
            <a:fld id="{42C328C1-A84F-4A39-A664-DBA00541A8C6}" type="slidenum">
              <a:rPr lang="de-DE" sz="1000" noProof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pPr/>
              <a:t>‹#›</a:t>
            </a:fld>
            <a:endParaRPr lang="de-DE" sz="1000" baseline="0" noProof="0" dirty="0" smtClean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1" name="McK 3. Unit of measure" hidden="1"/>
          <p:cNvSpPr txBox="1">
            <a:spLocks noChangeArrowheads="1"/>
          </p:cNvSpPr>
          <p:nvPr/>
        </p:nvSpPr>
        <p:spPr bwMode="gray">
          <a:xfrm>
            <a:off x="119063" y="711954"/>
            <a:ext cx="87466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38163" algn="l"/>
              </a:tabLst>
              <a:defRPr/>
            </a:pPr>
            <a:r>
              <a:rPr lang="az-Cyrl-AZ" sz="1600" baseline="0" noProof="0" dirty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Единица измерения</a:t>
            </a:r>
            <a:endParaRPr lang="de-DE" sz="1600" baseline="0" noProof="0" dirty="0" smtClean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77" name="McK 1. On-page tracker" hidden="1"/>
          <p:cNvSpPr>
            <a:spLocks noChangeArrowheads="1"/>
          </p:cNvSpPr>
          <p:nvPr/>
        </p:nvSpPr>
        <p:spPr bwMode="gray">
          <a:xfrm>
            <a:off x="119063" y="2693"/>
            <a:ext cx="694101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az-Cyrl-AZ" sz="1400" cap="all" baseline="0" dirty="0" smtClean="0">
                <a:solidFill>
                  <a:schemeClr val="accent6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ТРЕКЕР</a:t>
            </a:r>
            <a:endParaRPr lang="de-DE" sz="1400" cap="all" baseline="0" dirty="0">
              <a:solidFill>
                <a:schemeClr val="accent6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75" name="McKSticker" hidden="1"/>
          <p:cNvGrpSpPr/>
          <p:nvPr/>
        </p:nvGrpSpPr>
        <p:grpSpPr bwMode="gray">
          <a:xfrm>
            <a:off x="8232411" y="711954"/>
            <a:ext cx="633314" cy="212366"/>
            <a:chOff x="8104286" y="285750"/>
            <a:chExt cx="633314" cy="212366"/>
          </a:xfrm>
        </p:grpSpPr>
        <p:sp>
          <p:nvSpPr>
            <p:cNvPr id="76" name="StickerRectangle"/>
            <p:cNvSpPr>
              <a:spLocks noChangeArrowheads="1"/>
            </p:cNvSpPr>
            <p:nvPr/>
          </p:nvSpPr>
          <p:spPr bwMode="gray">
            <a:xfrm>
              <a:off x="8104286" y="285750"/>
              <a:ext cx="63331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err="1" smtClean="0">
                  <a:solidFill>
                    <a:srgbClr val="808080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СТИКЕР</a:t>
              </a:r>
              <a:endParaRPr lang="en-US" sz="1200" dirty="0">
                <a:solidFill>
                  <a:srgbClr val="808080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cxnSp>
          <p:nvCxnSpPr>
            <p:cNvPr id="78" name="AutoShape 31"/>
            <p:cNvCxnSpPr>
              <a:cxnSpLocks noChangeShapeType="1"/>
              <a:stCxn id="76" idx="2"/>
              <a:endCxn id="76" idx="4"/>
            </p:cNvCxnSpPr>
            <p:nvPr/>
          </p:nvCxnSpPr>
          <p:spPr bwMode="gray">
            <a:xfrm>
              <a:off x="8104286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79" name="AutoShape 32"/>
            <p:cNvCxnSpPr>
              <a:cxnSpLocks noChangeShapeType="1"/>
              <a:stCxn id="76" idx="4"/>
              <a:endCxn id="76" idx="6"/>
            </p:cNvCxnSpPr>
            <p:nvPr/>
          </p:nvCxnSpPr>
          <p:spPr bwMode="gray">
            <a:xfrm>
              <a:off x="8104286" y="498116"/>
              <a:ext cx="63331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80" name="Oval" hidden="1"/>
          <p:cNvSpPr txBox="1"/>
          <p:nvPr>
            <p:custDataLst>
              <p:tags r:id="rId9"/>
            </p:custDataLst>
          </p:nvPr>
        </p:nvSpPr>
        <p:spPr bwMode="gray">
          <a:xfrm>
            <a:off x="1643063" y="1685926"/>
            <a:ext cx="1524000" cy="1524000"/>
          </a:xfrm>
          <a:prstGeom prst="ellipse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Text</a:t>
            </a:r>
            <a:endParaRPr lang="en-US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1" name="Rectangle" hidden="1"/>
          <p:cNvSpPr txBox="1"/>
          <p:nvPr>
            <p:custDataLst>
              <p:tags r:id="rId10"/>
            </p:custDataLst>
          </p:nvPr>
        </p:nvSpPr>
        <p:spPr bwMode="gray">
          <a:xfrm>
            <a:off x="1643063" y="3356674"/>
            <a:ext cx="1524000" cy="15240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Text</a:t>
            </a:r>
            <a:endParaRPr lang="en-US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2" name="RoundedRectangle" hidden="1"/>
          <p:cNvSpPr txBox="1"/>
          <p:nvPr>
            <p:custDataLst>
              <p:tags r:id="rId11"/>
            </p:custDataLst>
          </p:nvPr>
        </p:nvSpPr>
        <p:spPr bwMode="gray">
          <a:xfrm>
            <a:off x="3262313" y="3356674"/>
            <a:ext cx="1524000" cy="1524000"/>
          </a:xfrm>
          <a:prstGeom prst="roundRect">
            <a:avLst/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Text</a:t>
            </a:r>
            <a:endParaRPr lang="en-US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3" name="Arrow" hidden="1"/>
          <p:cNvSpPr txBox="1"/>
          <p:nvPr>
            <p:custDataLst>
              <p:tags r:id="rId12"/>
            </p:custDataLst>
          </p:nvPr>
        </p:nvSpPr>
        <p:spPr bwMode="gray">
          <a:xfrm>
            <a:off x="3262313" y="4749610"/>
            <a:ext cx="1828800" cy="914400"/>
          </a:xfrm>
          <a:prstGeom prst="rightArrow">
            <a:avLst>
              <a:gd name="adj1" fmla="val 54000"/>
              <a:gd name="adj2" fmla="val 37678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vert="horz" wrap="square" lIns="76200" tIns="0" rIns="0" bIns="0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Text</a:t>
            </a:r>
            <a:endParaRPr lang="en-US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4" name="DirArrow" hidden="1"/>
          <p:cNvSpPr>
            <a:spLocks noChangeArrowheads="1"/>
          </p:cNvSpPr>
          <p:nvPr>
            <p:custDataLst>
              <p:tags r:id="rId13"/>
            </p:custDataLst>
          </p:nvPr>
        </p:nvSpPr>
        <p:spPr bwMode="gray">
          <a:xfrm rot="5400000">
            <a:off x="4898072" y="3946970"/>
            <a:ext cx="3090672" cy="343408"/>
          </a:xfrm>
          <a:prstGeom prst="triangle">
            <a:avLst>
              <a:gd name="adj" fmla="val 50000"/>
            </a:avLst>
          </a:prstGeom>
          <a:solidFill>
            <a:schemeClr val="accent2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Bracket" hidden="1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5819775" y="2516188"/>
            <a:ext cx="182563" cy="1828800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</a:cxnLst>
            <a:rect l="0" t="0" r="r" b="b"/>
            <a:pathLst>
              <a:path w="115" h="1152">
                <a:moveTo>
                  <a:pt x="0" y="0"/>
                </a:moveTo>
                <a:lnTo>
                  <a:pt x="65" y="0"/>
                </a:lnTo>
                <a:lnTo>
                  <a:pt x="65" y="528"/>
                </a:lnTo>
                <a:lnTo>
                  <a:pt x="115" y="576"/>
                </a:lnTo>
                <a:lnTo>
                  <a:pt x="65" y="624"/>
                </a:lnTo>
                <a:lnTo>
                  <a:pt x="65" y="1152"/>
                </a:lnTo>
                <a:lnTo>
                  <a:pt x="0" y="1152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86" name="Moon" hidden="1"/>
          <p:cNvGrpSpPr/>
          <p:nvPr>
            <p:custDataLst>
              <p:tags r:id="rId15"/>
            </p:custDataLst>
          </p:nvPr>
        </p:nvGrpSpPr>
        <p:grpSpPr bwMode="gray">
          <a:xfrm>
            <a:off x="8611725" y="2928144"/>
            <a:ext cx="254000" cy="254000"/>
            <a:chOff x="762000" y="1270000"/>
            <a:chExt cx="254000" cy="254000"/>
          </a:xfrm>
        </p:grpSpPr>
        <p:sp>
          <p:nvSpPr>
            <p:cNvPr id="87" name="Oval 86"/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88" name="Arc 87"/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1"/>
            </a:solidFill>
            <a:ln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algn="ctr"/>
              <a:endParaRPr lang="en-US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89" name="Flow" hidden="1"/>
          <p:cNvGrpSpPr/>
          <p:nvPr>
            <p:custDataLst>
              <p:tags r:id="rId16"/>
            </p:custDataLst>
          </p:nvPr>
        </p:nvGrpSpPr>
        <p:grpSpPr bwMode="gray">
          <a:xfrm>
            <a:off x="3262313" y="2359026"/>
            <a:ext cx="1828800" cy="914400"/>
            <a:chOff x="5905500" y="3124200"/>
            <a:chExt cx="1828800" cy="914400"/>
          </a:xfrm>
        </p:grpSpPr>
        <p:sp>
          <p:nvSpPr>
            <p:cNvPr id="90" name="Freeform 89"/>
            <p:cNvSpPr/>
            <p:nvPr>
              <p:custDataLst>
                <p:tags r:id="rId2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91" name="TextBox 90"/>
            <p:cNvSpPr txBox="1"/>
            <p:nvPr>
              <p:custDataLst>
                <p:tags r:id="rId23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Text</a:t>
              </a:r>
              <a:endParaRPr lang="en-US" b="1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pic>
        <p:nvPicPr>
          <p:cNvPr id="74" name="Picture 5" descr="http://abali.ru/wp-content/uploads/2010/12/gerb_moskvy.png"/>
          <p:cNvPicPr>
            <a:picLocks noChangeArrowheads="1"/>
          </p:cNvPicPr>
          <p:nvPr/>
        </p:nvPicPr>
        <p:blipFill>
          <a:blip r:embed="rId4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ltGray">
          <a:xfrm>
            <a:off x="8387745" y="104775"/>
            <a:ext cx="477980" cy="56425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grpSp>
        <p:nvGrpSpPr>
          <p:cNvPr id="92" name="SplitFlow" hidden="1"/>
          <p:cNvGrpSpPr/>
          <p:nvPr>
            <p:custDataLst>
              <p:tags r:id="rId17"/>
            </p:custDataLst>
          </p:nvPr>
        </p:nvGrpSpPr>
        <p:grpSpPr bwMode="gray">
          <a:xfrm>
            <a:off x="1363663" y="4995333"/>
            <a:ext cx="1828800" cy="914400"/>
            <a:chOff x="114300" y="1270000"/>
            <a:chExt cx="1828800" cy="914400"/>
          </a:xfrm>
        </p:grpSpPr>
        <p:sp>
          <p:nvSpPr>
            <p:cNvPr id="93" name="Freeform 92"/>
            <p:cNvSpPr/>
            <p:nvPr>
              <p:custDataLst>
                <p:tags r:id="rId18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94" name="TextBox 93"/>
            <p:cNvSpPr txBox="1"/>
            <p:nvPr>
              <p:custDataLst>
                <p:tags r:id="rId19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Text</a:t>
              </a:r>
              <a:endParaRPr lang="en-US" b="1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95" name="Freeform 94"/>
            <p:cNvSpPr/>
            <p:nvPr>
              <p:custDataLst>
                <p:tags r:id="rId20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accent2"/>
            </a:solidFill>
            <a:ln w="9525">
              <a:solidFill>
                <a:schemeClr val="accent6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 err="1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96" name="TextBox 95"/>
            <p:cNvSpPr txBox="1"/>
            <p:nvPr>
              <p:custDataLst>
                <p:tags r:id="rId21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en-US" b="1" dirty="0" smtClean="0"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Text</a:t>
              </a:r>
              <a:endParaRPr lang="en-US" b="1" dirty="0"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pic>
        <p:nvPicPr>
          <p:cNvPr id="99" name="Изображение 20" descr="13055093_582276138598853_6054188484992233538_o.jpg"/>
          <p:cNvPicPr>
            <a:picLocks noChangeAspect="1"/>
          </p:cNvPicPr>
          <p:nvPr userDrawn="1"/>
        </p:nvPicPr>
        <p:blipFill rotWithShape="1">
          <a:blip r:embed="rId4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000" r="13300"/>
          <a:stretch/>
        </p:blipFill>
        <p:spPr>
          <a:xfrm>
            <a:off x="87630" y="81915"/>
            <a:ext cx="790575" cy="68724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69" r:id="rId4"/>
    <p:sldLayoutId id="2147483671" r:id="rId5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defTabSz="895350" rtl="0" eaLnBrk="1" fontAlgn="base" hangingPunct="1">
        <a:spcBef>
          <a:spcPct val="0"/>
        </a:spcBef>
        <a:spcAft>
          <a:spcPct val="0"/>
        </a:spcAft>
        <a:tabLst>
          <a:tab pos="444500" algn="l"/>
        </a:tabLst>
        <a:defRPr sz="1900" b="0" baseline="0">
          <a:solidFill>
            <a:schemeClr val="tx2"/>
          </a:solidFill>
          <a:latin typeface="+mj-lt"/>
          <a:ea typeface="+mj-ea"/>
          <a:cs typeface="Arial" panose="020B0604020202020204" pitchFamily="34" charset="0"/>
          <a:sym typeface="+mj-lt"/>
        </a:defRPr>
      </a:lvl1pPr>
      <a:lvl2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2pPr>
      <a:lvl3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3pPr>
      <a:lvl4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4pPr>
      <a:lvl5pPr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5pPr>
      <a:lvl6pPr marL="4572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6pPr>
      <a:lvl7pPr marL="9144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7pPr>
      <a:lvl8pPr marL="13716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8pPr>
      <a:lvl9pPr marL="1828800" algn="l" defTabSz="895350" rtl="0" eaLnBrk="1" fontAlgn="base" hangingPunct="1">
        <a:spcBef>
          <a:spcPct val="0"/>
        </a:spcBef>
        <a:spcAft>
          <a:spcPct val="0"/>
        </a:spcAft>
        <a:defRPr sz="1900" b="1">
          <a:solidFill>
            <a:schemeClr val="tx2"/>
          </a:solidFill>
          <a:latin typeface="Arial" charset="0"/>
        </a:defRPr>
      </a:lvl9pPr>
    </p:titleStyle>
    <p:bodyStyle>
      <a:lvl1pPr marL="0" indent="0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defRPr lang="en-US" sz="1600" baseline="0" noProof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+mn-lt"/>
        </a:defRPr>
      </a:lvl1pPr>
      <a:lvl2pPr marL="193675" indent="-19208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lang="en-US" sz="1600" baseline="0" noProof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+mn-lt"/>
        </a:defRPr>
      </a:lvl2pPr>
      <a:lvl3pPr marL="457200" indent="-261938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lang="en-US" sz="1600" baseline="0" noProof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+mn-lt"/>
        </a:defRPr>
      </a:lvl3pPr>
      <a:lvl4pPr marL="614363" indent="-1555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pitchFamily="34" charset="0"/>
        <a:buChar char="▫"/>
        <a:defRPr lang="en-US" sz="1600" baseline="0" noProof="0" dirty="0" smtClean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+mn-lt"/>
        </a:defRPr>
      </a:lvl4pPr>
      <a:lvl5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lang="de-DE" sz="1600" baseline="0" noProof="0" dirty="0">
          <a:solidFill>
            <a:schemeClr val="tx1"/>
          </a:solidFill>
          <a:latin typeface="+mn-lt"/>
          <a:ea typeface="+mn-ea"/>
          <a:cs typeface="Arial" panose="020B0604020202020204" pitchFamily="34" charset="0"/>
          <a:sym typeface="+mn-lt"/>
        </a:defRPr>
      </a:lvl5pPr>
      <a:lvl6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6pPr>
      <a:lvl7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7pPr>
      <a:lvl8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8pPr>
      <a:lvl9pPr marL="749808" indent="-130175" algn="l" defTabSz="895350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00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4.bin"/><Relationship Id="rId4" Type="http://schemas.openxmlformats.org/officeDocument/2006/relationships/notesSlide" Target="../notesSlides/notesSlide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emf"/><Relationship Id="rId3" Type="http://schemas.openxmlformats.org/officeDocument/2006/relationships/tags" Target="../tags/tag46.xml"/><Relationship Id="rId7" Type="http://schemas.openxmlformats.org/officeDocument/2006/relationships/oleObject" Target="../embeddings/oleObject9.bin"/><Relationship Id="rId12" Type="http://schemas.openxmlformats.org/officeDocument/2006/relationships/image" Target="../media/image19.png"/><Relationship Id="rId2" Type="http://schemas.openxmlformats.org/officeDocument/2006/relationships/tags" Target="../tags/tag45.xml"/><Relationship Id="rId1" Type="http://schemas.openxmlformats.org/officeDocument/2006/relationships/vmlDrawing" Target="../drawings/vmlDrawing9.vml"/><Relationship Id="rId6" Type="http://schemas.openxmlformats.org/officeDocument/2006/relationships/slideLayout" Target="../slideLayouts/slideLayout1.xml"/><Relationship Id="rId11" Type="http://schemas.openxmlformats.org/officeDocument/2006/relationships/image" Target="../media/image18.png"/><Relationship Id="rId5" Type="http://schemas.openxmlformats.org/officeDocument/2006/relationships/tags" Target="../tags/tag48.xml"/><Relationship Id="rId10" Type="http://schemas.openxmlformats.org/officeDocument/2006/relationships/image" Target="../media/image17.png"/><Relationship Id="rId4" Type="http://schemas.openxmlformats.org/officeDocument/2006/relationships/tags" Target="../tags/tag47.xml"/><Relationship Id="rId9" Type="http://schemas.openxmlformats.org/officeDocument/2006/relationships/image" Target="../media/image16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5.xml"/><Relationship Id="rId13" Type="http://schemas.openxmlformats.org/officeDocument/2006/relationships/tags" Target="../tags/tag60.xml"/><Relationship Id="rId18" Type="http://schemas.openxmlformats.org/officeDocument/2006/relationships/tags" Target="../tags/tag65.xml"/><Relationship Id="rId26" Type="http://schemas.openxmlformats.org/officeDocument/2006/relationships/oleObject" Target="../embeddings/oleObject10.bin"/><Relationship Id="rId3" Type="http://schemas.openxmlformats.org/officeDocument/2006/relationships/tags" Target="../tags/tag50.xml"/><Relationship Id="rId21" Type="http://schemas.openxmlformats.org/officeDocument/2006/relationships/tags" Target="../tags/tag68.xml"/><Relationship Id="rId7" Type="http://schemas.openxmlformats.org/officeDocument/2006/relationships/tags" Target="../tags/tag54.xml"/><Relationship Id="rId12" Type="http://schemas.openxmlformats.org/officeDocument/2006/relationships/tags" Target="../tags/tag59.xml"/><Relationship Id="rId17" Type="http://schemas.openxmlformats.org/officeDocument/2006/relationships/tags" Target="../tags/tag64.xml"/><Relationship Id="rId25" Type="http://schemas.openxmlformats.org/officeDocument/2006/relationships/slideLayout" Target="../slideLayouts/slideLayout1.xml"/><Relationship Id="rId2" Type="http://schemas.openxmlformats.org/officeDocument/2006/relationships/tags" Target="../tags/tag49.xml"/><Relationship Id="rId16" Type="http://schemas.openxmlformats.org/officeDocument/2006/relationships/tags" Target="../tags/tag63.xml"/><Relationship Id="rId20" Type="http://schemas.openxmlformats.org/officeDocument/2006/relationships/tags" Target="../tags/tag67.xml"/><Relationship Id="rId29" Type="http://schemas.openxmlformats.org/officeDocument/2006/relationships/image" Target="../media/image21.emf"/><Relationship Id="rId1" Type="http://schemas.openxmlformats.org/officeDocument/2006/relationships/vmlDrawing" Target="../drawings/vmlDrawing10.vml"/><Relationship Id="rId6" Type="http://schemas.openxmlformats.org/officeDocument/2006/relationships/tags" Target="../tags/tag53.xml"/><Relationship Id="rId11" Type="http://schemas.openxmlformats.org/officeDocument/2006/relationships/tags" Target="../tags/tag58.xml"/><Relationship Id="rId24" Type="http://schemas.openxmlformats.org/officeDocument/2006/relationships/tags" Target="../tags/tag71.xml"/><Relationship Id="rId5" Type="http://schemas.openxmlformats.org/officeDocument/2006/relationships/tags" Target="../tags/tag52.xml"/><Relationship Id="rId15" Type="http://schemas.openxmlformats.org/officeDocument/2006/relationships/tags" Target="../tags/tag62.xml"/><Relationship Id="rId23" Type="http://schemas.openxmlformats.org/officeDocument/2006/relationships/tags" Target="../tags/tag70.xml"/><Relationship Id="rId28" Type="http://schemas.openxmlformats.org/officeDocument/2006/relationships/oleObject" Target="../embeddings/oleObject11.bin"/><Relationship Id="rId10" Type="http://schemas.openxmlformats.org/officeDocument/2006/relationships/tags" Target="../tags/tag57.xml"/><Relationship Id="rId19" Type="http://schemas.openxmlformats.org/officeDocument/2006/relationships/tags" Target="../tags/tag66.xml"/><Relationship Id="rId4" Type="http://schemas.openxmlformats.org/officeDocument/2006/relationships/tags" Target="../tags/tag51.xml"/><Relationship Id="rId9" Type="http://schemas.openxmlformats.org/officeDocument/2006/relationships/tags" Target="../tags/tag56.xml"/><Relationship Id="rId14" Type="http://schemas.openxmlformats.org/officeDocument/2006/relationships/tags" Target="../tags/tag61.xml"/><Relationship Id="rId22" Type="http://schemas.openxmlformats.org/officeDocument/2006/relationships/tags" Target="../tags/tag69.xml"/><Relationship Id="rId27" Type="http://schemas.openxmlformats.org/officeDocument/2006/relationships/image" Target="../media/image20.emf"/></Relationships>
</file>

<file path=ppt/slides/_rels/slide12.xml.rels><?xml version="1.0" encoding="UTF-8" standalone="yes"?>
<Relationships xmlns="http://schemas.openxmlformats.org/package/2006/relationships"><Relationship Id="rId13" Type="http://schemas.openxmlformats.org/officeDocument/2006/relationships/tags" Target="../tags/tag83.xml"/><Relationship Id="rId18" Type="http://schemas.openxmlformats.org/officeDocument/2006/relationships/tags" Target="../tags/tag88.xml"/><Relationship Id="rId26" Type="http://schemas.openxmlformats.org/officeDocument/2006/relationships/tags" Target="../tags/tag96.xml"/><Relationship Id="rId39" Type="http://schemas.openxmlformats.org/officeDocument/2006/relationships/tags" Target="../tags/tag109.xml"/><Relationship Id="rId21" Type="http://schemas.openxmlformats.org/officeDocument/2006/relationships/tags" Target="../tags/tag91.xml"/><Relationship Id="rId34" Type="http://schemas.openxmlformats.org/officeDocument/2006/relationships/tags" Target="../tags/tag104.xml"/><Relationship Id="rId42" Type="http://schemas.openxmlformats.org/officeDocument/2006/relationships/image" Target="../media/image22.emf"/><Relationship Id="rId7" Type="http://schemas.openxmlformats.org/officeDocument/2006/relationships/tags" Target="../tags/tag77.xml"/><Relationship Id="rId2" Type="http://schemas.openxmlformats.org/officeDocument/2006/relationships/tags" Target="../tags/tag72.xml"/><Relationship Id="rId16" Type="http://schemas.openxmlformats.org/officeDocument/2006/relationships/tags" Target="../tags/tag86.xml"/><Relationship Id="rId20" Type="http://schemas.openxmlformats.org/officeDocument/2006/relationships/tags" Target="../tags/tag90.xml"/><Relationship Id="rId29" Type="http://schemas.openxmlformats.org/officeDocument/2006/relationships/tags" Target="../tags/tag99.xml"/><Relationship Id="rId41" Type="http://schemas.openxmlformats.org/officeDocument/2006/relationships/oleObject" Target="../embeddings/oleObject12.bin"/><Relationship Id="rId1" Type="http://schemas.openxmlformats.org/officeDocument/2006/relationships/vmlDrawing" Target="../drawings/vmlDrawing11.vml"/><Relationship Id="rId6" Type="http://schemas.openxmlformats.org/officeDocument/2006/relationships/tags" Target="../tags/tag76.xml"/><Relationship Id="rId11" Type="http://schemas.openxmlformats.org/officeDocument/2006/relationships/tags" Target="../tags/tag81.xml"/><Relationship Id="rId24" Type="http://schemas.openxmlformats.org/officeDocument/2006/relationships/tags" Target="../tags/tag94.xml"/><Relationship Id="rId32" Type="http://schemas.openxmlformats.org/officeDocument/2006/relationships/tags" Target="../tags/tag102.xml"/><Relationship Id="rId37" Type="http://schemas.openxmlformats.org/officeDocument/2006/relationships/tags" Target="../tags/tag107.xml"/><Relationship Id="rId40" Type="http://schemas.openxmlformats.org/officeDocument/2006/relationships/slideLayout" Target="../slideLayouts/slideLayout1.xml"/><Relationship Id="rId5" Type="http://schemas.openxmlformats.org/officeDocument/2006/relationships/tags" Target="../tags/tag75.xml"/><Relationship Id="rId15" Type="http://schemas.openxmlformats.org/officeDocument/2006/relationships/tags" Target="../tags/tag85.xml"/><Relationship Id="rId23" Type="http://schemas.openxmlformats.org/officeDocument/2006/relationships/tags" Target="../tags/tag93.xml"/><Relationship Id="rId28" Type="http://schemas.openxmlformats.org/officeDocument/2006/relationships/tags" Target="../tags/tag98.xml"/><Relationship Id="rId36" Type="http://schemas.openxmlformats.org/officeDocument/2006/relationships/tags" Target="../tags/tag106.xml"/><Relationship Id="rId10" Type="http://schemas.openxmlformats.org/officeDocument/2006/relationships/tags" Target="../tags/tag80.xml"/><Relationship Id="rId19" Type="http://schemas.openxmlformats.org/officeDocument/2006/relationships/tags" Target="../tags/tag89.xml"/><Relationship Id="rId31" Type="http://schemas.openxmlformats.org/officeDocument/2006/relationships/tags" Target="../tags/tag101.xml"/><Relationship Id="rId4" Type="http://schemas.openxmlformats.org/officeDocument/2006/relationships/tags" Target="../tags/tag74.xml"/><Relationship Id="rId9" Type="http://schemas.openxmlformats.org/officeDocument/2006/relationships/tags" Target="../tags/tag79.xml"/><Relationship Id="rId14" Type="http://schemas.openxmlformats.org/officeDocument/2006/relationships/tags" Target="../tags/tag84.xml"/><Relationship Id="rId22" Type="http://schemas.openxmlformats.org/officeDocument/2006/relationships/tags" Target="../tags/tag92.xml"/><Relationship Id="rId27" Type="http://schemas.openxmlformats.org/officeDocument/2006/relationships/tags" Target="../tags/tag97.xml"/><Relationship Id="rId30" Type="http://schemas.openxmlformats.org/officeDocument/2006/relationships/tags" Target="../tags/tag100.xml"/><Relationship Id="rId35" Type="http://schemas.openxmlformats.org/officeDocument/2006/relationships/tags" Target="../tags/tag105.xml"/><Relationship Id="rId43" Type="http://schemas.openxmlformats.org/officeDocument/2006/relationships/image" Target="../media/image23.png"/><Relationship Id="rId8" Type="http://schemas.openxmlformats.org/officeDocument/2006/relationships/tags" Target="../tags/tag78.xml"/><Relationship Id="rId3" Type="http://schemas.openxmlformats.org/officeDocument/2006/relationships/tags" Target="../tags/tag73.xml"/><Relationship Id="rId12" Type="http://schemas.openxmlformats.org/officeDocument/2006/relationships/tags" Target="../tags/tag82.xml"/><Relationship Id="rId17" Type="http://schemas.openxmlformats.org/officeDocument/2006/relationships/tags" Target="../tags/tag87.xml"/><Relationship Id="rId25" Type="http://schemas.openxmlformats.org/officeDocument/2006/relationships/tags" Target="../tags/tag95.xml"/><Relationship Id="rId33" Type="http://schemas.openxmlformats.org/officeDocument/2006/relationships/tags" Target="../tags/tag103.xml"/><Relationship Id="rId38" Type="http://schemas.openxmlformats.org/officeDocument/2006/relationships/tags" Target="../tags/tag108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emf"/><Relationship Id="rId3" Type="http://schemas.openxmlformats.org/officeDocument/2006/relationships/tags" Target="../tags/tag111.xml"/><Relationship Id="rId7" Type="http://schemas.openxmlformats.org/officeDocument/2006/relationships/oleObject" Target="../embeddings/oleObject13.bin"/><Relationship Id="rId2" Type="http://schemas.openxmlformats.org/officeDocument/2006/relationships/tags" Target="../tags/tag110.xml"/><Relationship Id="rId1" Type="http://schemas.openxmlformats.org/officeDocument/2006/relationships/vmlDrawing" Target="../drawings/vmlDrawing12.v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3.xml"/><Relationship Id="rId4" Type="http://schemas.openxmlformats.org/officeDocument/2006/relationships/tags" Target="../tags/tag112.xml"/></Relationships>
</file>

<file path=ppt/slides/_rels/slide14.xml.rels><?xml version="1.0" encoding="UTF-8" standalone="yes"?>
<Relationships xmlns="http://schemas.openxmlformats.org/package/2006/relationships"><Relationship Id="rId26" Type="http://schemas.openxmlformats.org/officeDocument/2006/relationships/tags" Target="../tags/tag138.xml"/><Relationship Id="rId117" Type="http://schemas.openxmlformats.org/officeDocument/2006/relationships/tags" Target="../tags/tag229.xml"/><Relationship Id="rId21" Type="http://schemas.openxmlformats.org/officeDocument/2006/relationships/tags" Target="../tags/tag133.xml"/><Relationship Id="rId42" Type="http://schemas.openxmlformats.org/officeDocument/2006/relationships/tags" Target="../tags/tag154.xml"/><Relationship Id="rId47" Type="http://schemas.openxmlformats.org/officeDocument/2006/relationships/tags" Target="../tags/tag159.xml"/><Relationship Id="rId63" Type="http://schemas.openxmlformats.org/officeDocument/2006/relationships/tags" Target="../tags/tag175.xml"/><Relationship Id="rId68" Type="http://schemas.openxmlformats.org/officeDocument/2006/relationships/tags" Target="../tags/tag180.xml"/><Relationship Id="rId84" Type="http://schemas.openxmlformats.org/officeDocument/2006/relationships/tags" Target="../tags/tag196.xml"/><Relationship Id="rId89" Type="http://schemas.openxmlformats.org/officeDocument/2006/relationships/tags" Target="../tags/tag201.xml"/><Relationship Id="rId112" Type="http://schemas.openxmlformats.org/officeDocument/2006/relationships/tags" Target="../tags/tag224.xml"/><Relationship Id="rId16" Type="http://schemas.openxmlformats.org/officeDocument/2006/relationships/tags" Target="../tags/tag128.xml"/><Relationship Id="rId107" Type="http://schemas.openxmlformats.org/officeDocument/2006/relationships/tags" Target="../tags/tag219.xml"/><Relationship Id="rId11" Type="http://schemas.openxmlformats.org/officeDocument/2006/relationships/tags" Target="../tags/tag123.xml"/><Relationship Id="rId32" Type="http://schemas.openxmlformats.org/officeDocument/2006/relationships/tags" Target="../tags/tag144.xml"/><Relationship Id="rId37" Type="http://schemas.openxmlformats.org/officeDocument/2006/relationships/tags" Target="../tags/tag149.xml"/><Relationship Id="rId53" Type="http://schemas.openxmlformats.org/officeDocument/2006/relationships/tags" Target="../tags/tag165.xml"/><Relationship Id="rId58" Type="http://schemas.openxmlformats.org/officeDocument/2006/relationships/tags" Target="../tags/tag170.xml"/><Relationship Id="rId74" Type="http://schemas.openxmlformats.org/officeDocument/2006/relationships/tags" Target="../tags/tag186.xml"/><Relationship Id="rId79" Type="http://schemas.openxmlformats.org/officeDocument/2006/relationships/tags" Target="../tags/tag191.xml"/><Relationship Id="rId102" Type="http://schemas.openxmlformats.org/officeDocument/2006/relationships/tags" Target="../tags/tag214.xml"/><Relationship Id="rId123" Type="http://schemas.openxmlformats.org/officeDocument/2006/relationships/oleObject" Target="../embeddings/oleObject16.bin"/><Relationship Id="rId5" Type="http://schemas.openxmlformats.org/officeDocument/2006/relationships/tags" Target="../tags/tag117.xml"/><Relationship Id="rId90" Type="http://schemas.openxmlformats.org/officeDocument/2006/relationships/tags" Target="../tags/tag202.xml"/><Relationship Id="rId95" Type="http://schemas.openxmlformats.org/officeDocument/2006/relationships/tags" Target="../tags/tag207.xml"/><Relationship Id="rId22" Type="http://schemas.openxmlformats.org/officeDocument/2006/relationships/tags" Target="../tags/tag134.xml"/><Relationship Id="rId27" Type="http://schemas.openxmlformats.org/officeDocument/2006/relationships/tags" Target="../tags/tag139.xml"/><Relationship Id="rId43" Type="http://schemas.openxmlformats.org/officeDocument/2006/relationships/tags" Target="../tags/tag155.xml"/><Relationship Id="rId48" Type="http://schemas.openxmlformats.org/officeDocument/2006/relationships/tags" Target="../tags/tag160.xml"/><Relationship Id="rId64" Type="http://schemas.openxmlformats.org/officeDocument/2006/relationships/tags" Target="../tags/tag176.xml"/><Relationship Id="rId69" Type="http://schemas.openxmlformats.org/officeDocument/2006/relationships/tags" Target="../tags/tag181.xml"/><Relationship Id="rId113" Type="http://schemas.openxmlformats.org/officeDocument/2006/relationships/tags" Target="../tags/tag225.xml"/><Relationship Id="rId118" Type="http://schemas.openxmlformats.org/officeDocument/2006/relationships/slideLayout" Target="../slideLayouts/slideLayout1.xml"/><Relationship Id="rId80" Type="http://schemas.openxmlformats.org/officeDocument/2006/relationships/tags" Target="../tags/tag192.xml"/><Relationship Id="rId85" Type="http://schemas.openxmlformats.org/officeDocument/2006/relationships/tags" Target="../tags/tag197.xml"/><Relationship Id="rId12" Type="http://schemas.openxmlformats.org/officeDocument/2006/relationships/tags" Target="../tags/tag124.xml"/><Relationship Id="rId17" Type="http://schemas.openxmlformats.org/officeDocument/2006/relationships/tags" Target="../tags/tag129.xml"/><Relationship Id="rId33" Type="http://schemas.openxmlformats.org/officeDocument/2006/relationships/tags" Target="../tags/tag145.xml"/><Relationship Id="rId38" Type="http://schemas.openxmlformats.org/officeDocument/2006/relationships/tags" Target="../tags/tag150.xml"/><Relationship Id="rId59" Type="http://schemas.openxmlformats.org/officeDocument/2006/relationships/tags" Target="../tags/tag171.xml"/><Relationship Id="rId103" Type="http://schemas.openxmlformats.org/officeDocument/2006/relationships/tags" Target="../tags/tag215.xml"/><Relationship Id="rId108" Type="http://schemas.openxmlformats.org/officeDocument/2006/relationships/tags" Target="../tags/tag220.xml"/><Relationship Id="rId124" Type="http://schemas.openxmlformats.org/officeDocument/2006/relationships/image" Target="../media/image25.emf"/><Relationship Id="rId54" Type="http://schemas.openxmlformats.org/officeDocument/2006/relationships/tags" Target="../tags/tag166.xml"/><Relationship Id="rId70" Type="http://schemas.openxmlformats.org/officeDocument/2006/relationships/tags" Target="../tags/tag182.xml"/><Relationship Id="rId75" Type="http://schemas.openxmlformats.org/officeDocument/2006/relationships/tags" Target="../tags/tag187.xml"/><Relationship Id="rId91" Type="http://schemas.openxmlformats.org/officeDocument/2006/relationships/tags" Target="../tags/tag203.xml"/><Relationship Id="rId96" Type="http://schemas.openxmlformats.org/officeDocument/2006/relationships/tags" Target="../tags/tag208.xml"/><Relationship Id="rId1" Type="http://schemas.openxmlformats.org/officeDocument/2006/relationships/vmlDrawing" Target="../drawings/vmlDrawing13.vml"/><Relationship Id="rId6" Type="http://schemas.openxmlformats.org/officeDocument/2006/relationships/tags" Target="../tags/tag118.xml"/><Relationship Id="rId23" Type="http://schemas.openxmlformats.org/officeDocument/2006/relationships/tags" Target="../tags/tag135.xml"/><Relationship Id="rId28" Type="http://schemas.openxmlformats.org/officeDocument/2006/relationships/tags" Target="../tags/tag140.xml"/><Relationship Id="rId49" Type="http://schemas.openxmlformats.org/officeDocument/2006/relationships/tags" Target="../tags/tag161.xml"/><Relationship Id="rId114" Type="http://schemas.openxmlformats.org/officeDocument/2006/relationships/tags" Target="../tags/tag226.xml"/><Relationship Id="rId119" Type="http://schemas.openxmlformats.org/officeDocument/2006/relationships/oleObject" Target="../embeddings/oleObject14.bin"/><Relationship Id="rId44" Type="http://schemas.openxmlformats.org/officeDocument/2006/relationships/tags" Target="../tags/tag156.xml"/><Relationship Id="rId60" Type="http://schemas.openxmlformats.org/officeDocument/2006/relationships/tags" Target="../tags/tag172.xml"/><Relationship Id="rId65" Type="http://schemas.openxmlformats.org/officeDocument/2006/relationships/tags" Target="../tags/tag177.xml"/><Relationship Id="rId81" Type="http://schemas.openxmlformats.org/officeDocument/2006/relationships/tags" Target="../tags/tag193.xml"/><Relationship Id="rId86" Type="http://schemas.openxmlformats.org/officeDocument/2006/relationships/tags" Target="../tags/tag198.xml"/><Relationship Id="rId4" Type="http://schemas.openxmlformats.org/officeDocument/2006/relationships/tags" Target="../tags/tag116.xml"/><Relationship Id="rId9" Type="http://schemas.openxmlformats.org/officeDocument/2006/relationships/tags" Target="../tags/tag121.xml"/><Relationship Id="rId13" Type="http://schemas.openxmlformats.org/officeDocument/2006/relationships/tags" Target="../tags/tag125.xml"/><Relationship Id="rId18" Type="http://schemas.openxmlformats.org/officeDocument/2006/relationships/tags" Target="../tags/tag130.xml"/><Relationship Id="rId39" Type="http://schemas.openxmlformats.org/officeDocument/2006/relationships/tags" Target="../tags/tag151.xml"/><Relationship Id="rId109" Type="http://schemas.openxmlformats.org/officeDocument/2006/relationships/tags" Target="../tags/tag221.xml"/><Relationship Id="rId34" Type="http://schemas.openxmlformats.org/officeDocument/2006/relationships/tags" Target="../tags/tag146.xml"/><Relationship Id="rId50" Type="http://schemas.openxmlformats.org/officeDocument/2006/relationships/tags" Target="../tags/tag162.xml"/><Relationship Id="rId55" Type="http://schemas.openxmlformats.org/officeDocument/2006/relationships/tags" Target="../tags/tag167.xml"/><Relationship Id="rId76" Type="http://schemas.openxmlformats.org/officeDocument/2006/relationships/tags" Target="../tags/tag188.xml"/><Relationship Id="rId97" Type="http://schemas.openxmlformats.org/officeDocument/2006/relationships/tags" Target="../tags/tag209.xml"/><Relationship Id="rId104" Type="http://schemas.openxmlformats.org/officeDocument/2006/relationships/tags" Target="../tags/tag216.xml"/><Relationship Id="rId120" Type="http://schemas.openxmlformats.org/officeDocument/2006/relationships/image" Target="../media/image12.emf"/><Relationship Id="rId7" Type="http://schemas.openxmlformats.org/officeDocument/2006/relationships/tags" Target="../tags/tag119.xml"/><Relationship Id="rId71" Type="http://schemas.openxmlformats.org/officeDocument/2006/relationships/tags" Target="../tags/tag183.xml"/><Relationship Id="rId92" Type="http://schemas.openxmlformats.org/officeDocument/2006/relationships/tags" Target="../tags/tag204.xml"/><Relationship Id="rId2" Type="http://schemas.openxmlformats.org/officeDocument/2006/relationships/tags" Target="../tags/tag114.xml"/><Relationship Id="rId29" Type="http://schemas.openxmlformats.org/officeDocument/2006/relationships/tags" Target="../tags/tag141.xml"/><Relationship Id="rId24" Type="http://schemas.openxmlformats.org/officeDocument/2006/relationships/tags" Target="../tags/tag136.xml"/><Relationship Id="rId40" Type="http://schemas.openxmlformats.org/officeDocument/2006/relationships/tags" Target="../tags/tag152.xml"/><Relationship Id="rId45" Type="http://schemas.openxmlformats.org/officeDocument/2006/relationships/tags" Target="../tags/tag157.xml"/><Relationship Id="rId66" Type="http://schemas.openxmlformats.org/officeDocument/2006/relationships/tags" Target="../tags/tag178.xml"/><Relationship Id="rId87" Type="http://schemas.openxmlformats.org/officeDocument/2006/relationships/tags" Target="../tags/tag199.xml"/><Relationship Id="rId110" Type="http://schemas.openxmlformats.org/officeDocument/2006/relationships/tags" Target="../tags/tag222.xml"/><Relationship Id="rId115" Type="http://schemas.openxmlformats.org/officeDocument/2006/relationships/tags" Target="../tags/tag227.xml"/><Relationship Id="rId61" Type="http://schemas.openxmlformats.org/officeDocument/2006/relationships/tags" Target="../tags/tag173.xml"/><Relationship Id="rId82" Type="http://schemas.openxmlformats.org/officeDocument/2006/relationships/tags" Target="../tags/tag194.xml"/><Relationship Id="rId19" Type="http://schemas.openxmlformats.org/officeDocument/2006/relationships/tags" Target="../tags/tag131.xml"/><Relationship Id="rId14" Type="http://schemas.openxmlformats.org/officeDocument/2006/relationships/tags" Target="../tags/tag126.xml"/><Relationship Id="rId30" Type="http://schemas.openxmlformats.org/officeDocument/2006/relationships/tags" Target="../tags/tag142.xml"/><Relationship Id="rId35" Type="http://schemas.openxmlformats.org/officeDocument/2006/relationships/tags" Target="../tags/tag147.xml"/><Relationship Id="rId56" Type="http://schemas.openxmlformats.org/officeDocument/2006/relationships/tags" Target="../tags/tag168.xml"/><Relationship Id="rId77" Type="http://schemas.openxmlformats.org/officeDocument/2006/relationships/tags" Target="../tags/tag189.xml"/><Relationship Id="rId100" Type="http://schemas.openxmlformats.org/officeDocument/2006/relationships/tags" Target="../tags/tag212.xml"/><Relationship Id="rId105" Type="http://schemas.openxmlformats.org/officeDocument/2006/relationships/tags" Target="../tags/tag217.xml"/><Relationship Id="rId8" Type="http://schemas.openxmlformats.org/officeDocument/2006/relationships/tags" Target="../tags/tag120.xml"/><Relationship Id="rId51" Type="http://schemas.openxmlformats.org/officeDocument/2006/relationships/tags" Target="../tags/tag163.xml"/><Relationship Id="rId72" Type="http://schemas.openxmlformats.org/officeDocument/2006/relationships/tags" Target="../tags/tag184.xml"/><Relationship Id="rId93" Type="http://schemas.openxmlformats.org/officeDocument/2006/relationships/tags" Target="../tags/tag205.xml"/><Relationship Id="rId98" Type="http://schemas.openxmlformats.org/officeDocument/2006/relationships/tags" Target="../tags/tag210.xml"/><Relationship Id="rId121" Type="http://schemas.openxmlformats.org/officeDocument/2006/relationships/oleObject" Target="../embeddings/oleObject15.bin"/><Relationship Id="rId3" Type="http://schemas.openxmlformats.org/officeDocument/2006/relationships/tags" Target="../tags/tag115.xml"/><Relationship Id="rId25" Type="http://schemas.openxmlformats.org/officeDocument/2006/relationships/tags" Target="../tags/tag137.xml"/><Relationship Id="rId46" Type="http://schemas.openxmlformats.org/officeDocument/2006/relationships/tags" Target="../tags/tag158.xml"/><Relationship Id="rId67" Type="http://schemas.openxmlformats.org/officeDocument/2006/relationships/tags" Target="../tags/tag179.xml"/><Relationship Id="rId116" Type="http://schemas.openxmlformats.org/officeDocument/2006/relationships/tags" Target="../tags/tag228.xml"/><Relationship Id="rId20" Type="http://schemas.openxmlformats.org/officeDocument/2006/relationships/tags" Target="../tags/tag132.xml"/><Relationship Id="rId41" Type="http://schemas.openxmlformats.org/officeDocument/2006/relationships/tags" Target="../tags/tag153.xml"/><Relationship Id="rId62" Type="http://schemas.openxmlformats.org/officeDocument/2006/relationships/tags" Target="../tags/tag174.xml"/><Relationship Id="rId83" Type="http://schemas.openxmlformats.org/officeDocument/2006/relationships/tags" Target="../tags/tag195.xml"/><Relationship Id="rId88" Type="http://schemas.openxmlformats.org/officeDocument/2006/relationships/tags" Target="../tags/tag200.xml"/><Relationship Id="rId111" Type="http://schemas.openxmlformats.org/officeDocument/2006/relationships/tags" Target="../tags/tag223.xml"/><Relationship Id="rId15" Type="http://schemas.openxmlformats.org/officeDocument/2006/relationships/tags" Target="../tags/tag127.xml"/><Relationship Id="rId36" Type="http://schemas.openxmlformats.org/officeDocument/2006/relationships/tags" Target="../tags/tag148.xml"/><Relationship Id="rId57" Type="http://schemas.openxmlformats.org/officeDocument/2006/relationships/tags" Target="../tags/tag169.xml"/><Relationship Id="rId106" Type="http://schemas.openxmlformats.org/officeDocument/2006/relationships/tags" Target="../tags/tag218.xml"/><Relationship Id="rId10" Type="http://schemas.openxmlformats.org/officeDocument/2006/relationships/tags" Target="../tags/tag122.xml"/><Relationship Id="rId31" Type="http://schemas.openxmlformats.org/officeDocument/2006/relationships/tags" Target="../tags/tag143.xml"/><Relationship Id="rId52" Type="http://schemas.openxmlformats.org/officeDocument/2006/relationships/tags" Target="../tags/tag164.xml"/><Relationship Id="rId73" Type="http://schemas.openxmlformats.org/officeDocument/2006/relationships/tags" Target="../tags/tag185.xml"/><Relationship Id="rId78" Type="http://schemas.openxmlformats.org/officeDocument/2006/relationships/tags" Target="../tags/tag190.xml"/><Relationship Id="rId94" Type="http://schemas.openxmlformats.org/officeDocument/2006/relationships/tags" Target="../tags/tag206.xml"/><Relationship Id="rId99" Type="http://schemas.openxmlformats.org/officeDocument/2006/relationships/tags" Target="../tags/tag211.xml"/><Relationship Id="rId101" Type="http://schemas.openxmlformats.org/officeDocument/2006/relationships/tags" Target="../tags/tag213.xml"/><Relationship Id="rId122" Type="http://schemas.openxmlformats.org/officeDocument/2006/relationships/image" Target="../media/image24.emf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tags" Target="../tags/tag236.xml"/><Relationship Id="rId13" Type="http://schemas.openxmlformats.org/officeDocument/2006/relationships/tags" Target="../tags/tag241.xml"/><Relationship Id="rId18" Type="http://schemas.openxmlformats.org/officeDocument/2006/relationships/oleObject" Target="../embeddings/oleObject17.bin"/><Relationship Id="rId3" Type="http://schemas.openxmlformats.org/officeDocument/2006/relationships/tags" Target="../tags/tag231.xml"/><Relationship Id="rId21" Type="http://schemas.openxmlformats.org/officeDocument/2006/relationships/oleObject" Target="../embeddings/oleObject18.bin"/><Relationship Id="rId7" Type="http://schemas.openxmlformats.org/officeDocument/2006/relationships/tags" Target="../tags/tag235.xml"/><Relationship Id="rId12" Type="http://schemas.openxmlformats.org/officeDocument/2006/relationships/tags" Target="../tags/tag240.xml"/><Relationship Id="rId17" Type="http://schemas.openxmlformats.org/officeDocument/2006/relationships/slideLayout" Target="../slideLayouts/slideLayout1.xml"/><Relationship Id="rId2" Type="http://schemas.openxmlformats.org/officeDocument/2006/relationships/tags" Target="../tags/tag230.xml"/><Relationship Id="rId16" Type="http://schemas.openxmlformats.org/officeDocument/2006/relationships/tags" Target="../tags/tag244.xml"/><Relationship Id="rId20" Type="http://schemas.openxmlformats.org/officeDocument/2006/relationships/image" Target="../media/image28.png"/><Relationship Id="rId1" Type="http://schemas.openxmlformats.org/officeDocument/2006/relationships/vmlDrawing" Target="../drawings/vmlDrawing14.vml"/><Relationship Id="rId6" Type="http://schemas.openxmlformats.org/officeDocument/2006/relationships/tags" Target="../tags/tag234.xml"/><Relationship Id="rId11" Type="http://schemas.openxmlformats.org/officeDocument/2006/relationships/tags" Target="../tags/tag239.xml"/><Relationship Id="rId24" Type="http://schemas.openxmlformats.org/officeDocument/2006/relationships/image" Target="../media/image27.emf"/><Relationship Id="rId5" Type="http://schemas.openxmlformats.org/officeDocument/2006/relationships/tags" Target="../tags/tag233.xml"/><Relationship Id="rId15" Type="http://schemas.openxmlformats.org/officeDocument/2006/relationships/tags" Target="../tags/tag243.xml"/><Relationship Id="rId23" Type="http://schemas.openxmlformats.org/officeDocument/2006/relationships/oleObject" Target="../embeddings/oleObject19.bin"/><Relationship Id="rId10" Type="http://schemas.openxmlformats.org/officeDocument/2006/relationships/tags" Target="../tags/tag238.xml"/><Relationship Id="rId19" Type="http://schemas.openxmlformats.org/officeDocument/2006/relationships/image" Target="../media/image12.emf"/><Relationship Id="rId4" Type="http://schemas.openxmlformats.org/officeDocument/2006/relationships/tags" Target="../tags/tag232.xml"/><Relationship Id="rId9" Type="http://schemas.openxmlformats.org/officeDocument/2006/relationships/tags" Target="../tags/tag237.xml"/><Relationship Id="rId14" Type="http://schemas.openxmlformats.org/officeDocument/2006/relationships/tags" Target="../tags/tag242.xml"/><Relationship Id="rId22" Type="http://schemas.openxmlformats.org/officeDocument/2006/relationships/image" Target="../media/image26.emf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tags" Target="../tags/tag251.xml"/><Relationship Id="rId13" Type="http://schemas.openxmlformats.org/officeDocument/2006/relationships/tags" Target="../tags/tag256.xml"/><Relationship Id="rId3" Type="http://schemas.openxmlformats.org/officeDocument/2006/relationships/tags" Target="../tags/tag246.xml"/><Relationship Id="rId7" Type="http://schemas.openxmlformats.org/officeDocument/2006/relationships/tags" Target="../tags/tag250.xml"/><Relationship Id="rId12" Type="http://schemas.openxmlformats.org/officeDocument/2006/relationships/tags" Target="../tags/tag255.xml"/><Relationship Id="rId17" Type="http://schemas.openxmlformats.org/officeDocument/2006/relationships/image" Target="../media/image28.png"/><Relationship Id="rId2" Type="http://schemas.openxmlformats.org/officeDocument/2006/relationships/tags" Target="../tags/tag245.xml"/><Relationship Id="rId16" Type="http://schemas.openxmlformats.org/officeDocument/2006/relationships/image" Target="../media/image12.emf"/><Relationship Id="rId1" Type="http://schemas.openxmlformats.org/officeDocument/2006/relationships/vmlDrawing" Target="../drawings/vmlDrawing15.vml"/><Relationship Id="rId6" Type="http://schemas.openxmlformats.org/officeDocument/2006/relationships/tags" Target="../tags/tag249.xml"/><Relationship Id="rId11" Type="http://schemas.openxmlformats.org/officeDocument/2006/relationships/tags" Target="../tags/tag254.xml"/><Relationship Id="rId5" Type="http://schemas.openxmlformats.org/officeDocument/2006/relationships/tags" Target="../tags/tag248.xml"/><Relationship Id="rId15" Type="http://schemas.openxmlformats.org/officeDocument/2006/relationships/oleObject" Target="../embeddings/oleObject20.bin"/><Relationship Id="rId10" Type="http://schemas.openxmlformats.org/officeDocument/2006/relationships/tags" Target="../tags/tag253.xml"/><Relationship Id="rId4" Type="http://schemas.openxmlformats.org/officeDocument/2006/relationships/tags" Target="../tags/tag247.xml"/><Relationship Id="rId9" Type="http://schemas.openxmlformats.org/officeDocument/2006/relationships/tags" Target="../tags/tag252.xml"/><Relationship Id="rId14" Type="http://schemas.openxmlformats.org/officeDocument/2006/relationships/slideLayout" Target="../slideLayouts/slideLayout1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3" Type="http://schemas.openxmlformats.org/officeDocument/2006/relationships/tags" Target="../tags/tag258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2" Type="http://schemas.openxmlformats.org/officeDocument/2006/relationships/tags" Target="../tags/tag257.xml"/><Relationship Id="rId16" Type="http://schemas.openxmlformats.org/officeDocument/2006/relationships/image" Target="../media/image12.emf"/><Relationship Id="rId1" Type="http://schemas.openxmlformats.org/officeDocument/2006/relationships/vmlDrawing" Target="../drawings/vmlDrawing16.v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5" Type="http://schemas.openxmlformats.org/officeDocument/2006/relationships/tags" Target="../tags/tag260.xml"/><Relationship Id="rId15" Type="http://schemas.openxmlformats.org/officeDocument/2006/relationships/oleObject" Target="../embeddings/oleObject21.bin"/><Relationship Id="rId10" Type="http://schemas.openxmlformats.org/officeDocument/2006/relationships/tags" Target="../tags/tag265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slideLayout" Target="../slideLayouts/slideLayout1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270.xml"/><Relationship Id="rId1" Type="http://schemas.openxmlformats.org/officeDocument/2006/relationships/tags" Target="../tags/tag269.xml"/></Relationships>
</file>

<file path=ppt/slides/_rels/slide19.xml.rels><?xml version="1.0" encoding="UTF-8" standalone="yes"?>
<Relationships xmlns="http://schemas.openxmlformats.org/package/2006/relationships"><Relationship Id="rId13" Type="http://schemas.openxmlformats.org/officeDocument/2006/relationships/tags" Target="../tags/tag282.xml"/><Relationship Id="rId18" Type="http://schemas.openxmlformats.org/officeDocument/2006/relationships/tags" Target="../tags/tag287.xml"/><Relationship Id="rId26" Type="http://schemas.openxmlformats.org/officeDocument/2006/relationships/tags" Target="../tags/tag295.xml"/><Relationship Id="rId39" Type="http://schemas.openxmlformats.org/officeDocument/2006/relationships/tags" Target="../tags/tag308.xml"/><Relationship Id="rId21" Type="http://schemas.openxmlformats.org/officeDocument/2006/relationships/tags" Target="../tags/tag290.xml"/><Relationship Id="rId34" Type="http://schemas.openxmlformats.org/officeDocument/2006/relationships/tags" Target="../tags/tag303.xml"/><Relationship Id="rId42" Type="http://schemas.openxmlformats.org/officeDocument/2006/relationships/tags" Target="../tags/tag311.xml"/><Relationship Id="rId47" Type="http://schemas.openxmlformats.org/officeDocument/2006/relationships/tags" Target="../tags/tag316.xml"/><Relationship Id="rId50" Type="http://schemas.openxmlformats.org/officeDocument/2006/relationships/slideLayout" Target="../slideLayouts/slideLayout1.xml"/><Relationship Id="rId7" Type="http://schemas.openxmlformats.org/officeDocument/2006/relationships/tags" Target="../tags/tag276.xml"/><Relationship Id="rId2" Type="http://schemas.openxmlformats.org/officeDocument/2006/relationships/tags" Target="../tags/tag271.xml"/><Relationship Id="rId16" Type="http://schemas.openxmlformats.org/officeDocument/2006/relationships/tags" Target="../tags/tag285.xml"/><Relationship Id="rId29" Type="http://schemas.openxmlformats.org/officeDocument/2006/relationships/tags" Target="../tags/tag298.xml"/><Relationship Id="rId11" Type="http://schemas.openxmlformats.org/officeDocument/2006/relationships/tags" Target="../tags/tag280.xml"/><Relationship Id="rId24" Type="http://schemas.openxmlformats.org/officeDocument/2006/relationships/tags" Target="../tags/tag293.xml"/><Relationship Id="rId32" Type="http://schemas.openxmlformats.org/officeDocument/2006/relationships/tags" Target="../tags/tag301.xml"/><Relationship Id="rId37" Type="http://schemas.openxmlformats.org/officeDocument/2006/relationships/tags" Target="../tags/tag306.xml"/><Relationship Id="rId40" Type="http://schemas.openxmlformats.org/officeDocument/2006/relationships/tags" Target="../tags/tag309.xml"/><Relationship Id="rId45" Type="http://schemas.openxmlformats.org/officeDocument/2006/relationships/tags" Target="../tags/tag314.xml"/><Relationship Id="rId53" Type="http://schemas.openxmlformats.org/officeDocument/2006/relationships/image" Target="../media/image13.png"/><Relationship Id="rId5" Type="http://schemas.openxmlformats.org/officeDocument/2006/relationships/tags" Target="../tags/tag274.xml"/><Relationship Id="rId10" Type="http://schemas.openxmlformats.org/officeDocument/2006/relationships/tags" Target="../tags/tag279.xml"/><Relationship Id="rId19" Type="http://schemas.openxmlformats.org/officeDocument/2006/relationships/tags" Target="../tags/tag288.xml"/><Relationship Id="rId31" Type="http://schemas.openxmlformats.org/officeDocument/2006/relationships/tags" Target="../tags/tag300.xml"/><Relationship Id="rId44" Type="http://schemas.openxmlformats.org/officeDocument/2006/relationships/tags" Target="../tags/tag313.xml"/><Relationship Id="rId52" Type="http://schemas.openxmlformats.org/officeDocument/2006/relationships/image" Target="../media/image12.emf"/><Relationship Id="rId4" Type="http://schemas.openxmlformats.org/officeDocument/2006/relationships/tags" Target="../tags/tag273.xml"/><Relationship Id="rId9" Type="http://schemas.openxmlformats.org/officeDocument/2006/relationships/tags" Target="../tags/tag278.xml"/><Relationship Id="rId14" Type="http://schemas.openxmlformats.org/officeDocument/2006/relationships/tags" Target="../tags/tag283.xml"/><Relationship Id="rId22" Type="http://schemas.openxmlformats.org/officeDocument/2006/relationships/tags" Target="../tags/tag291.xml"/><Relationship Id="rId27" Type="http://schemas.openxmlformats.org/officeDocument/2006/relationships/tags" Target="../tags/tag296.xml"/><Relationship Id="rId30" Type="http://schemas.openxmlformats.org/officeDocument/2006/relationships/tags" Target="../tags/tag299.xml"/><Relationship Id="rId35" Type="http://schemas.openxmlformats.org/officeDocument/2006/relationships/tags" Target="../tags/tag304.xml"/><Relationship Id="rId43" Type="http://schemas.openxmlformats.org/officeDocument/2006/relationships/tags" Target="../tags/tag312.xml"/><Relationship Id="rId48" Type="http://schemas.openxmlformats.org/officeDocument/2006/relationships/tags" Target="../tags/tag317.xml"/><Relationship Id="rId8" Type="http://schemas.openxmlformats.org/officeDocument/2006/relationships/tags" Target="../tags/tag277.xml"/><Relationship Id="rId51" Type="http://schemas.openxmlformats.org/officeDocument/2006/relationships/oleObject" Target="../embeddings/oleObject22.bin"/><Relationship Id="rId3" Type="http://schemas.openxmlformats.org/officeDocument/2006/relationships/tags" Target="../tags/tag272.xml"/><Relationship Id="rId12" Type="http://schemas.openxmlformats.org/officeDocument/2006/relationships/tags" Target="../tags/tag281.xml"/><Relationship Id="rId17" Type="http://schemas.openxmlformats.org/officeDocument/2006/relationships/tags" Target="../tags/tag286.xml"/><Relationship Id="rId25" Type="http://schemas.openxmlformats.org/officeDocument/2006/relationships/tags" Target="../tags/tag294.xml"/><Relationship Id="rId33" Type="http://schemas.openxmlformats.org/officeDocument/2006/relationships/tags" Target="../tags/tag302.xml"/><Relationship Id="rId38" Type="http://schemas.openxmlformats.org/officeDocument/2006/relationships/tags" Target="../tags/tag307.xml"/><Relationship Id="rId46" Type="http://schemas.openxmlformats.org/officeDocument/2006/relationships/tags" Target="../tags/tag315.xml"/><Relationship Id="rId20" Type="http://schemas.openxmlformats.org/officeDocument/2006/relationships/tags" Target="../tags/tag289.xml"/><Relationship Id="rId41" Type="http://schemas.openxmlformats.org/officeDocument/2006/relationships/tags" Target="../tags/tag310.xml"/><Relationship Id="rId1" Type="http://schemas.openxmlformats.org/officeDocument/2006/relationships/vmlDrawing" Target="../drawings/vmlDrawing17.vml"/><Relationship Id="rId6" Type="http://schemas.openxmlformats.org/officeDocument/2006/relationships/tags" Target="../tags/tag275.xml"/><Relationship Id="rId15" Type="http://schemas.openxmlformats.org/officeDocument/2006/relationships/tags" Target="../tags/tag284.xml"/><Relationship Id="rId23" Type="http://schemas.openxmlformats.org/officeDocument/2006/relationships/tags" Target="../tags/tag292.xml"/><Relationship Id="rId28" Type="http://schemas.openxmlformats.org/officeDocument/2006/relationships/tags" Target="../tags/tag297.xml"/><Relationship Id="rId36" Type="http://schemas.openxmlformats.org/officeDocument/2006/relationships/tags" Target="../tags/tag305.xml"/><Relationship Id="rId49" Type="http://schemas.openxmlformats.org/officeDocument/2006/relationships/tags" Target="../tags/tag318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3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3.jpeg"/><Relationship Id="rId5" Type="http://schemas.openxmlformats.org/officeDocument/2006/relationships/image" Target="../media/image7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6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.xml"/><Relationship Id="rId3" Type="http://schemas.openxmlformats.org/officeDocument/2006/relationships/tags" Target="../tags/tag39.xml"/><Relationship Id="rId7" Type="http://schemas.openxmlformats.org/officeDocument/2006/relationships/tags" Target="../tags/tag43.xml"/><Relationship Id="rId2" Type="http://schemas.openxmlformats.org/officeDocument/2006/relationships/tags" Target="../tags/tag38.xml"/><Relationship Id="rId1" Type="http://schemas.openxmlformats.org/officeDocument/2006/relationships/vmlDrawing" Target="../drawings/vmlDrawing7.vml"/><Relationship Id="rId6" Type="http://schemas.openxmlformats.org/officeDocument/2006/relationships/tags" Target="../tags/tag42.xml"/><Relationship Id="rId11" Type="http://schemas.openxmlformats.org/officeDocument/2006/relationships/image" Target="../media/image13.png"/><Relationship Id="rId5" Type="http://schemas.openxmlformats.org/officeDocument/2006/relationships/tags" Target="../tags/tag41.xml"/><Relationship Id="rId10" Type="http://schemas.openxmlformats.org/officeDocument/2006/relationships/image" Target="../media/image12.emf"/><Relationship Id="rId4" Type="http://schemas.openxmlformats.org/officeDocument/2006/relationships/tags" Target="../tags/tag40.xml"/><Relationship Id="rId9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4.xml"/><Relationship Id="rId2" Type="http://schemas.openxmlformats.org/officeDocument/2006/relationships/tags" Target="../tags/tag44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4.png"/><Relationship Id="rId5" Type="http://schemas.openxmlformats.org/officeDocument/2006/relationships/image" Target="../media/image7.emf"/><Relationship Id="rId4" Type="http://schemas.openxmlformats.org/officeDocument/2006/relationships/oleObject" Target="../embeddings/oleObject8.bin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1619878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373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McK Date"/>
          <p:cNvSpPr txBox="1">
            <a:spLocks noChangeArrowheads="1"/>
          </p:cNvSpPr>
          <p:nvPr/>
        </p:nvSpPr>
        <p:spPr bwMode="gray">
          <a:xfrm>
            <a:off x="2714625" y="4426481"/>
            <a:ext cx="4592954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ru-RU" dirty="0" smtClean="0">
                <a:cs typeface="Arial" panose="020B0604020202020204" pitchFamily="34" charset="0"/>
                <a:sym typeface="+mn-lt"/>
              </a:rPr>
              <a:t>20 мая, 2016 г.</a:t>
            </a:r>
            <a:endParaRPr lang="de-DE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McK Date"/>
          <p:cNvSpPr txBox="1">
            <a:spLocks noChangeArrowheads="1"/>
          </p:cNvSpPr>
          <p:nvPr/>
        </p:nvSpPr>
        <p:spPr bwMode="gray">
          <a:xfrm>
            <a:off x="2714625" y="4121681"/>
            <a:ext cx="4592954" cy="2159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ru-RU" dirty="0" smtClean="0">
                <a:cs typeface="Arial" panose="020B0604020202020204" pitchFamily="34" charset="0"/>
                <a:sym typeface="+mn-lt"/>
              </a:rPr>
              <a:t>Документ для обсуждения</a:t>
            </a:r>
            <a:endParaRPr lang="de-DE" dirty="0">
              <a:cs typeface="Arial" panose="020B0604020202020204" pitchFamily="34" charset="0"/>
              <a:sym typeface="+mn-lt"/>
            </a:endParaRPr>
          </a:p>
        </p:txBody>
      </p:sp>
      <p:sp>
        <p:nvSpPr>
          <p:cNvPr id="6" name="Rectangle 54"/>
          <p:cNvSpPr txBox="1">
            <a:spLocks noChangeArrowheads="1"/>
          </p:cNvSpPr>
          <p:nvPr/>
        </p:nvSpPr>
        <p:spPr bwMode="gray">
          <a:xfrm>
            <a:off x="1652270" y="1816100"/>
            <a:ext cx="5655309" cy="196977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algn="l" defTabSz="895350" rtl="0" eaLnBrk="1" fontAlgn="base" hangingPunct="1">
              <a:spcBef>
                <a:spcPct val="0"/>
              </a:spcBef>
              <a:spcAft>
                <a:spcPct val="0"/>
              </a:spcAft>
              <a:tabLst>
                <a:tab pos="444500" algn="l"/>
              </a:tabLst>
              <a:defRPr sz="3200" b="0" baseline="0">
                <a:solidFill>
                  <a:schemeClr val="tx2"/>
                </a:solidFill>
                <a:latin typeface="+mj-lt"/>
                <a:ea typeface="+mj-ea"/>
                <a:cs typeface="Arial" panose="020B0604020202020204" pitchFamily="34" charset="0"/>
                <a:sym typeface="+mj-lt"/>
              </a:defRPr>
            </a:lvl1pPr>
            <a:lvl2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2pPr>
            <a:lvl3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3pPr>
            <a:lvl4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4pPr>
            <a:lvl5pPr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5pPr>
            <a:lvl6pPr marL="4572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6pPr>
            <a:lvl7pPr marL="9144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7pPr>
            <a:lvl8pPr marL="13716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8pPr>
            <a:lvl9pPr marL="1828800" algn="l" defTabSz="895350" rtl="0" eaLnBrk="1" fontAlgn="base" hangingPunct="1">
              <a:spcBef>
                <a:spcPct val="0"/>
              </a:spcBef>
              <a:spcAft>
                <a:spcPct val="0"/>
              </a:spcAft>
              <a:defRPr sz="1900" b="1">
                <a:solidFill>
                  <a:schemeClr val="tx2"/>
                </a:solidFill>
                <a:latin typeface="Arial" charset="0"/>
              </a:defRPr>
            </a:lvl9pPr>
          </a:lstStyle>
          <a:p>
            <a:r>
              <a:rPr lang="ru-RU" dirty="0"/>
              <a:t>Радиологические отделения: результаты работы, диагностика эффективности и следующие шаги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14238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9" name="Object 7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07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602" y="230188"/>
            <a:ext cx="7211548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При диагностике деятельности радиологических отделений был выявлен ряд проблемных зон</a:t>
            </a:r>
            <a:endParaRPr lang="en-US" dirty="0"/>
          </a:p>
        </p:txBody>
      </p:sp>
      <p:grpSp>
        <p:nvGrpSpPr>
          <p:cNvPr id="13" name="Group 12"/>
          <p:cNvGrpSpPr/>
          <p:nvPr/>
        </p:nvGrpSpPr>
        <p:grpSpPr>
          <a:xfrm>
            <a:off x="2643172" y="1842288"/>
            <a:ext cx="3899744" cy="3613227"/>
            <a:chOff x="2530847" y="1969288"/>
            <a:chExt cx="3899744" cy="3613227"/>
          </a:xfrm>
        </p:grpSpPr>
        <p:sp>
          <p:nvSpPr>
            <p:cNvPr id="46" name="Oval 19"/>
            <p:cNvSpPr/>
            <p:nvPr/>
          </p:nvSpPr>
          <p:spPr>
            <a:xfrm>
              <a:off x="3215721" y="1969288"/>
              <a:ext cx="2529993" cy="1279189"/>
            </a:xfrm>
            <a:custGeom>
              <a:avLst/>
              <a:gdLst/>
              <a:ahLst/>
              <a:cxnLst/>
              <a:rect l="l" t="t" r="r" b="b"/>
              <a:pathLst>
                <a:path w="2103744" h="1063675">
                  <a:moveTo>
                    <a:pt x="1051872" y="0"/>
                  </a:moveTo>
                  <a:cubicBezTo>
                    <a:pt x="1620995" y="0"/>
                    <a:pt x="2084745" y="451153"/>
                    <a:pt x="2103744" y="1015378"/>
                  </a:cubicBezTo>
                  <a:cubicBezTo>
                    <a:pt x="1959006" y="939393"/>
                    <a:pt x="1794180" y="896852"/>
                    <a:pt x="1619419" y="896852"/>
                  </a:cubicBezTo>
                  <a:cubicBezTo>
                    <a:pt x="1410240" y="896852"/>
                    <a:pt x="1215296" y="957798"/>
                    <a:pt x="1051871" y="1063675"/>
                  </a:cubicBezTo>
                  <a:cubicBezTo>
                    <a:pt x="888446" y="957799"/>
                    <a:pt x="693502" y="896853"/>
                    <a:pt x="484324" y="896853"/>
                  </a:cubicBezTo>
                  <a:cubicBezTo>
                    <a:pt x="309563" y="896853"/>
                    <a:pt x="144738" y="939393"/>
                    <a:pt x="0" y="1015379"/>
                  </a:cubicBezTo>
                  <a:cubicBezTo>
                    <a:pt x="18999" y="451154"/>
                    <a:pt x="482749" y="0"/>
                    <a:pt x="1051872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7" name="Oval 46"/>
            <p:cNvSpPr/>
            <p:nvPr/>
          </p:nvSpPr>
          <p:spPr>
            <a:xfrm>
              <a:off x="4478385" y="3047856"/>
              <a:ext cx="1267330" cy="1313552"/>
            </a:xfrm>
            <a:custGeom>
              <a:avLst/>
              <a:gdLst/>
              <a:ahLst/>
              <a:cxnLst/>
              <a:rect l="l" t="t" r="r" b="b"/>
              <a:pathLst>
                <a:path w="1053812" h="1092248">
                  <a:moveTo>
                    <a:pt x="567547" y="0"/>
                  </a:moveTo>
                  <a:cubicBezTo>
                    <a:pt x="742308" y="0"/>
                    <a:pt x="907133" y="42540"/>
                    <a:pt x="1051871" y="118526"/>
                  </a:cubicBezTo>
                  <a:cubicBezTo>
                    <a:pt x="1053581" y="131251"/>
                    <a:pt x="1053812" y="144078"/>
                    <a:pt x="1053812" y="156960"/>
                  </a:cubicBezTo>
                  <a:cubicBezTo>
                    <a:pt x="1053812" y="564204"/>
                    <a:pt x="822807" y="917494"/>
                    <a:pt x="484323" y="1092248"/>
                  </a:cubicBezTo>
                  <a:lnTo>
                    <a:pt x="486264" y="1053812"/>
                  </a:lnTo>
                  <a:cubicBezTo>
                    <a:pt x="486264" y="680986"/>
                    <a:pt x="292656" y="353380"/>
                    <a:pt x="0" y="166822"/>
                  </a:cubicBezTo>
                  <a:cubicBezTo>
                    <a:pt x="163425" y="60946"/>
                    <a:pt x="358369" y="0"/>
                    <a:pt x="567547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48" name="Oval 52"/>
            <p:cNvSpPr/>
            <p:nvPr/>
          </p:nvSpPr>
          <p:spPr>
            <a:xfrm>
              <a:off x="2530847" y="3190395"/>
              <a:ext cx="1950326" cy="2392119"/>
            </a:xfrm>
            <a:custGeom>
              <a:avLst/>
              <a:gdLst/>
              <a:ahLst/>
              <a:cxnLst/>
              <a:rect l="l" t="t" r="r" b="b"/>
              <a:pathLst>
                <a:path w="1621739" h="1989100">
                  <a:moveTo>
                    <a:pt x="569489" y="0"/>
                  </a:moveTo>
                  <a:lnTo>
                    <a:pt x="567548" y="38434"/>
                  </a:lnTo>
                  <a:cubicBezTo>
                    <a:pt x="567548" y="445678"/>
                    <a:pt x="798553" y="798967"/>
                    <a:pt x="1137036" y="973721"/>
                  </a:cubicBezTo>
                  <a:cubicBezTo>
                    <a:pt x="1148597" y="1330742"/>
                    <a:pt x="1338966" y="1642468"/>
                    <a:pt x="1621739" y="1822508"/>
                  </a:cubicBezTo>
                  <a:cubicBezTo>
                    <a:pt x="1458100" y="1928103"/>
                    <a:pt x="1263080" y="1989100"/>
                    <a:pt x="1053813" y="1989100"/>
                  </a:cubicBezTo>
                  <a:cubicBezTo>
                    <a:pt x="471808" y="1989100"/>
                    <a:pt x="0" y="1517292"/>
                    <a:pt x="0" y="935287"/>
                  </a:cubicBezTo>
                  <a:cubicBezTo>
                    <a:pt x="0" y="528043"/>
                    <a:pt x="231005" y="174753"/>
                    <a:pt x="569489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49" name="Oval 61"/>
            <p:cNvSpPr/>
            <p:nvPr/>
          </p:nvSpPr>
          <p:spPr>
            <a:xfrm>
              <a:off x="4480719" y="3190395"/>
              <a:ext cx="1949872" cy="2392120"/>
            </a:xfrm>
            <a:custGeom>
              <a:avLst/>
              <a:gdLst/>
              <a:ahLst/>
              <a:cxnLst/>
              <a:rect l="l" t="t" r="r" b="b"/>
              <a:pathLst>
                <a:path w="1621361" h="1989101">
                  <a:moveTo>
                    <a:pt x="1051871" y="0"/>
                  </a:moveTo>
                  <a:cubicBezTo>
                    <a:pt x="1390356" y="174753"/>
                    <a:pt x="1621361" y="528044"/>
                    <a:pt x="1621361" y="935288"/>
                  </a:cubicBezTo>
                  <a:cubicBezTo>
                    <a:pt x="1621361" y="1517293"/>
                    <a:pt x="1149553" y="1989101"/>
                    <a:pt x="567548" y="1989101"/>
                  </a:cubicBezTo>
                  <a:cubicBezTo>
                    <a:pt x="358369" y="1989101"/>
                    <a:pt x="163426" y="1928155"/>
                    <a:pt x="0" y="1822279"/>
                  </a:cubicBezTo>
                  <a:cubicBezTo>
                    <a:pt x="282469" y="1642216"/>
                    <a:pt x="472665" y="1330754"/>
                    <a:pt x="483763" y="973993"/>
                  </a:cubicBezTo>
                  <a:cubicBezTo>
                    <a:pt x="822555" y="799354"/>
                    <a:pt x="1053812" y="445901"/>
                    <a:pt x="1053812" y="38435"/>
                  </a:cubicBezTo>
                  <a:cubicBezTo>
                    <a:pt x="1053812" y="25553"/>
                    <a:pt x="1053581" y="12725"/>
                    <a:pt x="1051871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 smtClean="0">
                <a:solidFill>
                  <a:schemeClr val="tx1"/>
                </a:solidFill>
              </a:endParaRPr>
            </a:p>
          </p:txBody>
        </p:sp>
        <p:sp>
          <p:nvSpPr>
            <p:cNvPr id="50" name="Oval 64"/>
            <p:cNvSpPr/>
            <p:nvPr/>
          </p:nvSpPr>
          <p:spPr>
            <a:xfrm>
              <a:off x="3898144" y="3248477"/>
              <a:ext cx="1169578" cy="1255467"/>
            </a:xfrm>
            <a:custGeom>
              <a:avLst/>
              <a:gdLst/>
              <a:ahLst/>
              <a:cxnLst/>
              <a:rect l="l" t="t" r="r" b="b"/>
              <a:pathLst>
                <a:path w="972530" h="1043950">
                  <a:moveTo>
                    <a:pt x="486265" y="0"/>
                  </a:moveTo>
                  <a:cubicBezTo>
                    <a:pt x="778922" y="186558"/>
                    <a:pt x="972530" y="514164"/>
                    <a:pt x="972530" y="886990"/>
                  </a:cubicBezTo>
                  <a:lnTo>
                    <a:pt x="970589" y="925425"/>
                  </a:lnTo>
                  <a:cubicBezTo>
                    <a:pt x="825851" y="1001410"/>
                    <a:pt x="661026" y="1043950"/>
                    <a:pt x="486265" y="1043950"/>
                  </a:cubicBezTo>
                  <a:cubicBezTo>
                    <a:pt x="311504" y="1043950"/>
                    <a:pt x="146679" y="1001410"/>
                    <a:pt x="1941" y="925425"/>
                  </a:cubicBezTo>
                  <a:cubicBezTo>
                    <a:pt x="231" y="912700"/>
                    <a:pt x="0" y="899872"/>
                    <a:pt x="0" y="886990"/>
                  </a:cubicBezTo>
                  <a:cubicBezTo>
                    <a:pt x="0" y="514164"/>
                    <a:pt x="193609" y="186558"/>
                    <a:pt x="486265" y="0"/>
                  </a:cubicBezTo>
                  <a:close/>
                </a:path>
              </a:pathLst>
            </a:custGeom>
            <a:solidFill>
              <a:schemeClr val="accent1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52" name="Oval 76"/>
            <p:cNvSpPr/>
            <p:nvPr/>
          </p:nvSpPr>
          <p:spPr>
            <a:xfrm>
              <a:off x="3211055" y="3047856"/>
              <a:ext cx="1267330" cy="1313552"/>
            </a:xfrm>
            <a:custGeom>
              <a:avLst/>
              <a:gdLst/>
              <a:ahLst/>
              <a:cxnLst/>
              <a:rect l="l" t="t" r="r" b="b"/>
              <a:pathLst>
                <a:path w="1053812" h="1092248">
                  <a:moveTo>
                    <a:pt x="486265" y="0"/>
                  </a:moveTo>
                  <a:cubicBezTo>
                    <a:pt x="695443" y="0"/>
                    <a:pt x="890387" y="60946"/>
                    <a:pt x="1053812" y="166822"/>
                  </a:cubicBezTo>
                  <a:cubicBezTo>
                    <a:pt x="761156" y="353380"/>
                    <a:pt x="567548" y="680986"/>
                    <a:pt x="567548" y="1053812"/>
                  </a:cubicBezTo>
                  <a:cubicBezTo>
                    <a:pt x="567548" y="1066694"/>
                    <a:pt x="567779" y="1079522"/>
                    <a:pt x="569489" y="1092248"/>
                  </a:cubicBezTo>
                  <a:cubicBezTo>
                    <a:pt x="231005" y="917494"/>
                    <a:pt x="0" y="564204"/>
                    <a:pt x="0" y="156960"/>
                  </a:cubicBezTo>
                  <a:lnTo>
                    <a:pt x="1941" y="118526"/>
                  </a:lnTo>
                  <a:cubicBezTo>
                    <a:pt x="146679" y="42540"/>
                    <a:pt x="311504" y="0"/>
                    <a:pt x="486265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53" name="Oval 80"/>
            <p:cNvSpPr/>
            <p:nvPr/>
          </p:nvSpPr>
          <p:spPr>
            <a:xfrm>
              <a:off x="3901948" y="4361731"/>
              <a:ext cx="1163558" cy="1020161"/>
            </a:xfrm>
            <a:custGeom>
              <a:avLst/>
              <a:gdLst/>
              <a:ahLst/>
              <a:cxnLst/>
              <a:rect l="l" t="t" r="r" b="b"/>
              <a:pathLst>
                <a:path w="967524" h="848287">
                  <a:moveTo>
                    <a:pt x="0" y="0"/>
                  </a:moveTo>
                  <a:cubicBezTo>
                    <a:pt x="144595" y="75823"/>
                    <a:pt x="309223" y="118255"/>
                    <a:pt x="483762" y="118255"/>
                  </a:cubicBezTo>
                  <a:cubicBezTo>
                    <a:pt x="658301" y="118255"/>
                    <a:pt x="822929" y="75823"/>
                    <a:pt x="967524" y="0"/>
                  </a:cubicBezTo>
                  <a:cubicBezTo>
                    <a:pt x="956427" y="356761"/>
                    <a:pt x="766230" y="668224"/>
                    <a:pt x="483762" y="848287"/>
                  </a:cubicBezTo>
                  <a:cubicBezTo>
                    <a:pt x="201294" y="668224"/>
                    <a:pt x="11097" y="356761"/>
                    <a:pt x="0" y="0"/>
                  </a:cubicBezTo>
                  <a:close/>
                </a:path>
              </a:pathLst>
            </a:custGeom>
            <a:solidFill>
              <a:schemeClr val="accent3"/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100" b="1" dirty="0">
                <a:solidFill>
                  <a:schemeClr val="tx1"/>
                </a:solidFill>
              </a:endParaRPr>
            </a:p>
          </p:txBody>
        </p:sp>
        <p:sp>
          <p:nvSpPr>
            <p:cNvPr id="54" name="Rectangle 13"/>
            <p:cNvSpPr txBox="1">
              <a:spLocks/>
            </p:cNvSpPr>
            <p:nvPr/>
          </p:nvSpPr>
          <p:spPr>
            <a:xfrm>
              <a:off x="5205478" y="4288191"/>
              <a:ext cx="1008460" cy="50783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b="1" dirty="0" smtClean="0"/>
                <a:t>Знания и</a:t>
              </a:r>
              <a:r>
                <a:rPr lang="en-US" sz="1100" b="1" dirty="0" smtClean="0"/>
                <a:t> </a:t>
              </a:r>
              <a:r>
                <a:rPr lang="ru-RU" sz="1100" b="1" dirty="0" smtClean="0"/>
                <a:t>мотивация сотрудников</a:t>
              </a:r>
              <a:endParaRPr lang="ru-RU" sz="1100" b="1" dirty="0"/>
            </a:p>
          </p:txBody>
        </p:sp>
        <p:sp>
          <p:nvSpPr>
            <p:cNvPr id="56" name="Rectangle 13"/>
            <p:cNvSpPr txBox="1">
              <a:spLocks/>
            </p:cNvSpPr>
            <p:nvPr/>
          </p:nvSpPr>
          <p:spPr>
            <a:xfrm>
              <a:off x="3648864" y="2585908"/>
              <a:ext cx="1663706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b="1" dirty="0"/>
                <a:t>Система </a:t>
              </a:r>
              <a:r>
                <a:rPr lang="ru-RU" sz="1100" b="1" dirty="0" smtClean="0"/>
                <a:t>управления персоналом</a:t>
              </a:r>
              <a:endParaRPr lang="ru-RU" sz="1100" b="1" dirty="0"/>
            </a:p>
          </p:txBody>
        </p:sp>
        <p:sp>
          <p:nvSpPr>
            <p:cNvPr id="57" name="Rectangle 13"/>
            <p:cNvSpPr txBox="1">
              <a:spLocks/>
            </p:cNvSpPr>
            <p:nvPr/>
          </p:nvSpPr>
          <p:spPr>
            <a:xfrm>
              <a:off x="2640478" y="4416436"/>
              <a:ext cx="1198373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b="1" dirty="0" smtClean="0"/>
                <a:t>Операционные процессы</a:t>
              </a:r>
              <a:endParaRPr lang="ru-RU" sz="1100" b="1" dirty="0"/>
            </a:p>
          </p:txBody>
        </p:sp>
        <p:sp>
          <p:nvSpPr>
            <p:cNvPr id="58" name="Rectangle 13"/>
            <p:cNvSpPr txBox="1">
              <a:spLocks/>
            </p:cNvSpPr>
            <p:nvPr/>
          </p:nvSpPr>
          <p:spPr>
            <a:xfrm>
              <a:off x="3947863" y="3938695"/>
              <a:ext cx="1065708" cy="3385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charset="0"/>
                <a:buChar char="▪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charset="0"/>
                <a:buChar char="▫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1100" b="1" dirty="0">
                  <a:solidFill>
                    <a:schemeClr val="bg1"/>
                  </a:solidFill>
                </a:rPr>
                <a:t>Результаты </a:t>
              </a:r>
              <a:r>
                <a:rPr lang="ru-RU" sz="1100" b="1" dirty="0" smtClean="0">
                  <a:solidFill>
                    <a:schemeClr val="bg1"/>
                  </a:solidFill>
                </a:rPr>
                <a:t>деятельности</a:t>
              </a:r>
              <a:endParaRPr lang="ru-RU" sz="1100" b="1" dirty="0">
                <a:solidFill>
                  <a:schemeClr val="bg1"/>
                </a:solidFill>
              </a:endParaRPr>
            </a:p>
          </p:txBody>
        </p:sp>
        <p:pic>
          <p:nvPicPr>
            <p:cNvPr id="30" name="Picture 178" descr="C:\Users\Hayun Cho\Documents\Work\04images\buttons\0011org.png"/>
            <p:cNvPicPr>
              <a:picLocks noChangeArrowheads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8935" y="2100308"/>
              <a:ext cx="563564" cy="490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1" name="Picture 175" descr="C:\Users\Hayun Cho\Documents\Work\04images\buttons\0012brain.png"/>
            <p:cNvPicPr>
              <a:picLocks noChangeArrowheads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112050" y="4965678"/>
              <a:ext cx="563564" cy="490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2" name="Picture 177" descr="C:\Users\Hayun Cho\Documents\Work\04images\buttons\0011gear.png"/>
            <p:cNvPicPr>
              <a:picLocks noChangeArrowheads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211055" y="4965678"/>
              <a:ext cx="563564" cy="490684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34" name="Picture 176" descr="C:\Users\Hayun Cho\Documents\Work\04images\buttons\0011graph1.png"/>
            <p:cNvPicPr>
              <a:picLocks noChangeArrowheads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198935" y="3480343"/>
              <a:ext cx="563564" cy="4906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66" name="5. Source"/>
          <p:cNvSpPr>
            <a:spLocks noChangeArrowheads="1"/>
          </p:cNvSpPr>
          <p:nvPr/>
        </p:nvSpPr>
        <p:spPr bwMode="gray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az-Cyrl-AZ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1 Установленного РосЗдравНадзором</a:t>
            </a:r>
            <a:endParaRPr lang="de-DE" sz="1000" dirty="0">
              <a:solidFill>
                <a:schemeClr val="accent6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9" name="TextBox 68"/>
          <p:cNvSpPr txBox="1">
            <a:spLocks/>
          </p:cNvSpPr>
          <p:nvPr/>
        </p:nvSpPr>
        <p:spPr>
          <a:xfrm>
            <a:off x="119063" y="1121681"/>
            <a:ext cx="2289987" cy="505444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0" rIns="72000" bIns="7200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69875"/>
            <a:r>
              <a:rPr lang="ru-RU" sz="1100" dirty="0" smtClean="0">
                <a:solidFill>
                  <a:schemeClr val="accent1"/>
                </a:solidFill>
              </a:rPr>
              <a:t>Эффективность </a:t>
            </a:r>
            <a:r>
              <a:rPr lang="ru-RU" sz="1100" dirty="0" err="1" smtClean="0">
                <a:solidFill>
                  <a:schemeClr val="accent1"/>
                </a:solidFill>
              </a:rPr>
              <a:t>использо</a:t>
            </a:r>
            <a:r>
              <a:rPr lang="en-US" sz="1100" dirty="0" smtClean="0">
                <a:solidFill>
                  <a:schemeClr val="accent1"/>
                </a:solidFill>
              </a:rPr>
              <a:t>-</a:t>
            </a:r>
            <a:r>
              <a:rPr lang="ru-RU" sz="1100" dirty="0" err="1" smtClean="0">
                <a:solidFill>
                  <a:schemeClr val="accent1"/>
                </a:solidFill>
              </a:rPr>
              <a:t>вания</a:t>
            </a:r>
            <a:r>
              <a:rPr lang="ru-RU" sz="1100" dirty="0" smtClean="0">
                <a:solidFill>
                  <a:schemeClr val="accent1"/>
                </a:solidFill>
              </a:rPr>
              <a:t> </a:t>
            </a:r>
            <a:r>
              <a:rPr lang="ru-RU" sz="1100" dirty="0">
                <a:solidFill>
                  <a:schemeClr val="accent1"/>
                </a:solidFill>
              </a:rPr>
              <a:t>оборудования</a:t>
            </a:r>
          </a:p>
          <a:p>
            <a:pPr lvl="1"/>
            <a:r>
              <a:rPr lang="ru-RU" sz="1100" dirty="0" smtClean="0"/>
              <a:t>А</a:t>
            </a:r>
            <a:r>
              <a:rPr lang="ru-RU" sz="1100" dirty="0"/>
              <a:t>. </a:t>
            </a:r>
            <a:r>
              <a:rPr lang="ru-RU" sz="1100" dirty="0" smtClean="0"/>
              <a:t>Отсутствие </a:t>
            </a:r>
            <a:r>
              <a:rPr lang="ru-RU" sz="1100" dirty="0"/>
              <a:t>единых </a:t>
            </a:r>
            <a:r>
              <a:rPr lang="ru-RU" sz="1100" dirty="0" smtClean="0"/>
              <a:t>норма</a:t>
            </a:r>
            <a:r>
              <a:rPr lang="en-US" sz="1100" dirty="0" smtClean="0"/>
              <a:t>-</a:t>
            </a:r>
            <a:r>
              <a:rPr lang="ru-RU" sz="1100" dirty="0" err="1" smtClean="0"/>
              <a:t>тивов</a:t>
            </a:r>
            <a:r>
              <a:rPr lang="ru-RU" sz="1100" dirty="0" smtClean="0"/>
              <a:t> </a:t>
            </a:r>
            <a:r>
              <a:rPr lang="ru-RU" sz="1100" dirty="0"/>
              <a:t>по </a:t>
            </a:r>
            <a:r>
              <a:rPr lang="ru-RU" sz="1100" dirty="0" smtClean="0"/>
              <a:t>времени работы и</a:t>
            </a:r>
            <a:r>
              <a:rPr lang="en-US" sz="1100" dirty="0" smtClean="0"/>
              <a:t> </a:t>
            </a:r>
            <a:r>
              <a:rPr lang="ru-RU" sz="1100" dirty="0" smtClean="0"/>
              <a:t>продолжительности </a:t>
            </a:r>
            <a:r>
              <a:rPr lang="ru-RU" sz="1100" dirty="0"/>
              <a:t>смен</a:t>
            </a:r>
          </a:p>
          <a:p>
            <a:pPr lvl="1"/>
            <a:r>
              <a:rPr lang="ru-RU" sz="1100" dirty="0"/>
              <a:t>Б. </a:t>
            </a:r>
            <a:r>
              <a:rPr lang="ru-RU" sz="1100" dirty="0" smtClean="0"/>
              <a:t>Увеличенное </a:t>
            </a:r>
            <a:r>
              <a:rPr lang="ru-RU" sz="1100" dirty="0"/>
              <a:t>время </a:t>
            </a:r>
            <a:r>
              <a:rPr lang="ru-RU" sz="1100" dirty="0" smtClean="0"/>
              <a:t>простоя </a:t>
            </a:r>
            <a:r>
              <a:rPr lang="ru-RU" sz="1100" dirty="0"/>
              <a:t>оборудования при </a:t>
            </a:r>
            <a:r>
              <a:rPr lang="ru-RU" sz="1100" dirty="0" smtClean="0"/>
              <a:t>текущих </a:t>
            </a:r>
            <a:r>
              <a:rPr lang="ru-RU" sz="1100" dirty="0"/>
              <a:t>контрактах </a:t>
            </a:r>
            <a:r>
              <a:rPr lang="ru-RU" sz="1100" dirty="0" smtClean="0"/>
              <a:t>с</a:t>
            </a:r>
            <a:r>
              <a:rPr lang="en-US" sz="1100" dirty="0" smtClean="0"/>
              <a:t> </a:t>
            </a:r>
            <a:r>
              <a:rPr lang="ru-RU" sz="1100" dirty="0" err="1" smtClean="0"/>
              <a:t>ГорМедТехникой</a:t>
            </a:r>
            <a:r>
              <a:rPr lang="ru-RU" sz="1100" dirty="0" smtClean="0"/>
              <a:t> </a:t>
            </a:r>
            <a:endParaRPr lang="ru-RU" sz="1100" dirty="0"/>
          </a:p>
          <a:p>
            <a:pPr lvl="1"/>
            <a:r>
              <a:rPr lang="ru-RU" sz="1100" dirty="0"/>
              <a:t>В. </a:t>
            </a:r>
            <a:r>
              <a:rPr lang="ru-RU" sz="1100" dirty="0" smtClean="0"/>
              <a:t>Несоответствие показателя </a:t>
            </a:r>
            <a:r>
              <a:rPr lang="ru-RU" sz="1100" dirty="0"/>
              <a:t>эффективности </a:t>
            </a:r>
            <a:r>
              <a:rPr lang="ru-RU" sz="1100" dirty="0" smtClean="0"/>
              <a:t>использования </a:t>
            </a:r>
            <a:r>
              <a:rPr lang="ru-RU" sz="1100" dirty="0" err="1" smtClean="0"/>
              <a:t>оборудо</a:t>
            </a:r>
            <a:r>
              <a:rPr lang="en-US" sz="1100" dirty="0" smtClean="0"/>
              <a:t>-</a:t>
            </a:r>
            <a:r>
              <a:rPr lang="ru-RU" sz="1100" dirty="0" smtClean="0"/>
              <a:t>вания</a:t>
            </a:r>
            <a:r>
              <a:rPr lang="ru-RU" sz="1100" baseline="30000" dirty="0" smtClean="0"/>
              <a:t>1</a:t>
            </a:r>
            <a:r>
              <a:rPr lang="ru-RU" sz="1100" dirty="0" smtClean="0"/>
              <a:t> </a:t>
            </a:r>
            <a:r>
              <a:rPr lang="ru-RU" sz="1100" dirty="0"/>
              <a:t>лучшим практикам</a:t>
            </a:r>
          </a:p>
          <a:p>
            <a:pPr lvl="1"/>
            <a:r>
              <a:rPr lang="ru-RU" sz="1100" dirty="0"/>
              <a:t>Г. Высокая доля </a:t>
            </a:r>
            <a:r>
              <a:rPr lang="ru-RU" sz="1100" dirty="0" smtClean="0"/>
              <a:t>непроизводительного </a:t>
            </a:r>
            <a:r>
              <a:rPr lang="ru-RU" sz="1100" dirty="0"/>
              <a:t>времени </a:t>
            </a:r>
            <a:r>
              <a:rPr lang="ru-RU" sz="1100" dirty="0" smtClean="0"/>
              <a:t>сотрудников</a:t>
            </a:r>
            <a:endParaRPr lang="en-US" sz="1100" dirty="0" smtClean="0"/>
          </a:p>
          <a:p>
            <a:pPr marL="266700"/>
            <a:r>
              <a:rPr lang="ru-RU" sz="1100" dirty="0">
                <a:solidFill>
                  <a:schemeClr val="accent1"/>
                </a:solidFill>
              </a:rPr>
              <a:t>Маршрутизация </a:t>
            </a:r>
            <a:r>
              <a:rPr lang="ru-RU" sz="1100" dirty="0" smtClean="0">
                <a:solidFill>
                  <a:schemeClr val="accent1"/>
                </a:solidFill>
              </a:rPr>
              <a:t>пациентов на</a:t>
            </a:r>
            <a:r>
              <a:rPr lang="en-US" sz="1100" dirty="0" smtClean="0">
                <a:solidFill>
                  <a:schemeClr val="accent1"/>
                </a:solidFill>
              </a:rPr>
              <a:t> </a:t>
            </a:r>
            <a:r>
              <a:rPr lang="ru-RU" sz="1100" dirty="0" smtClean="0">
                <a:solidFill>
                  <a:schemeClr val="accent1"/>
                </a:solidFill>
              </a:rPr>
              <a:t>исследования</a:t>
            </a:r>
            <a:endParaRPr lang="ru-RU" sz="1100" dirty="0">
              <a:solidFill>
                <a:schemeClr val="accent1"/>
              </a:solidFill>
            </a:endParaRPr>
          </a:p>
          <a:p>
            <a:pPr lvl="1"/>
            <a:r>
              <a:rPr lang="ru-RU" sz="1100" dirty="0"/>
              <a:t>А. Различная интенсивность исследований в мед. учреждениях</a:t>
            </a:r>
          </a:p>
          <a:p>
            <a:pPr lvl="1"/>
            <a:r>
              <a:rPr lang="ru-RU" sz="1100" dirty="0"/>
              <a:t>Б. Длительный срок фактического ожидания</a:t>
            </a:r>
          </a:p>
          <a:p>
            <a:pPr lvl="1"/>
            <a:r>
              <a:rPr lang="ru-RU" sz="1100" dirty="0" smtClean="0"/>
              <a:t>В. Отсутствие стимулов для маршрутизации </a:t>
            </a:r>
          </a:p>
          <a:p>
            <a:pPr lvl="1"/>
            <a:r>
              <a:rPr lang="ru-RU" sz="1100" dirty="0" smtClean="0"/>
              <a:t>Г. Отсутствие четких </a:t>
            </a:r>
            <a:r>
              <a:rPr lang="ru-RU" sz="1100" dirty="0" err="1" smtClean="0"/>
              <a:t>принци</a:t>
            </a:r>
            <a:r>
              <a:rPr lang="en-US" sz="1100" dirty="0" smtClean="0"/>
              <a:t>-</a:t>
            </a:r>
            <a:r>
              <a:rPr lang="ru-RU" sz="1100" dirty="0" err="1" smtClean="0"/>
              <a:t>пов</a:t>
            </a:r>
            <a:r>
              <a:rPr lang="ru-RU" sz="1100" dirty="0" smtClean="0"/>
              <a:t> маршрутизации между медицинскими учреждениями</a:t>
            </a:r>
            <a:endParaRPr lang="ru-RU" sz="1100" dirty="0"/>
          </a:p>
        </p:txBody>
      </p:sp>
      <p:sp>
        <p:nvSpPr>
          <p:cNvPr id="71" name="TextBox 70"/>
          <p:cNvSpPr txBox="1">
            <a:spLocks/>
          </p:cNvSpPr>
          <p:nvPr/>
        </p:nvSpPr>
        <p:spPr>
          <a:xfrm>
            <a:off x="6777038" y="4294428"/>
            <a:ext cx="2065337" cy="11610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lvl="1"/>
            <a:r>
              <a:rPr lang="ru-RU" sz="1100" dirty="0" smtClean="0"/>
              <a:t>2А. Недостаточная </a:t>
            </a:r>
            <a:r>
              <a:rPr lang="ru-RU" sz="1100" dirty="0"/>
              <a:t>информированность врачей-клиницистов о новых исследованиях и принципах направления на </a:t>
            </a:r>
            <a:r>
              <a:rPr lang="ru-RU" sz="1100" dirty="0" err="1"/>
              <a:t>МРТ</a:t>
            </a:r>
            <a:r>
              <a:rPr lang="ru-RU" sz="1100" dirty="0"/>
              <a:t>/</a:t>
            </a:r>
            <a:r>
              <a:rPr lang="ru-RU" sz="1100" dirty="0" err="1"/>
              <a:t>КТ</a:t>
            </a:r>
            <a:endParaRPr lang="ru-RU" sz="1100" dirty="0"/>
          </a:p>
        </p:txBody>
      </p:sp>
      <p:sp>
        <p:nvSpPr>
          <p:cNvPr id="72" name="TextBox 71"/>
          <p:cNvSpPr txBox="1">
            <a:spLocks/>
          </p:cNvSpPr>
          <p:nvPr/>
        </p:nvSpPr>
        <p:spPr>
          <a:xfrm>
            <a:off x="6777038" y="1842288"/>
            <a:ext cx="2065337" cy="11610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charset="0"/>
              <a:buChar char="▪"/>
              <a:defRPr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charset="0"/>
              <a:buChar char="▫"/>
              <a:defRPr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>
                <a:latin typeface="+mn-lt"/>
              </a:defRPr>
            </a:lvl9pPr>
          </a:lstStyle>
          <a:p>
            <a:pPr marL="269875"/>
            <a:r>
              <a:rPr lang="ru-RU" sz="1100" dirty="0">
                <a:solidFill>
                  <a:schemeClr val="accent1"/>
                </a:solidFill>
              </a:rPr>
              <a:t>Система </a:t>
            </a:r>
            <a:r>
              <a:rPr lang="ru-RU" sz="1100" dirty="0" err="1">
                <a:solidFill>
                  <a:schemeClr val="accent1"/>
                </a:solidFill>
              </a:rPr>
              <a:t>КПЭ</a:t>
            </a:r>
            <a:endParaRPr lang="ru-RU" sz="1100" dirty="0">
              <a:solidFill>
                <a:schemeClr val="accent1"/>
              </a:solidFill>
            </a:endParaRPr>
          </a:p>
          <a:p>
            <a:pPr lvl="1"/>
            <a:r>
              <a:rPr lang="ru-RU" sz="1100" dirty="0" smtClean="0"/>
              <a:t>Отсутствие </a:t>
            </a:r>
            <a:r>
              <a:rPr lang="ru-RU" sz="1100" dirty="0"/>
              <a:t>система </a:t>
            </a:r>
            <a:r>
              <a:rPr lang="ru-RU" sz="1100" dirty="0" err="1"/>
              <a:t>КПЭ</a:t>
            </a:r>
            <a:r>
              <a:rPr lang="ru-RU" sz="1100" dirty="0"/>
              <a:t> медицинского персонала, главных врачей, </a:t>
            </a:r>
            <a:r>
              <a:rPr lang="ru-RU" sz="1100" dirty="0" err="1"/>
              <a:t>зав.отделениями</a:t>
            </a:r>
            <a:r>
              <a:rPr lang="ru-RU" sz="1100" dirty="0"/>
              <a:t>, окружных специалистов</a:t>
            </a:r>
          </a:p>
        </p:txBody>
      </p:sp>
      <p:grpSp>
        <p:nvGrpSpPr>
          <p:cNvPr id="74" name="Group 73"/>
          <p:cNvGrpSpPr/>
          <p:nvPr/>
        </p:nvGrpSpPr>
        <p:grpSpPr>
          <a:xfrm>
            <a:off x="2421750" y="4546407"/>
            <a:ext cx="451758" cy="0"/>
            <a:chOff x="2184400" y="4308575"/>
            <a:chExt cx="596900" cy="0"/>
          </a:xfrm>
        </p:grpSpPr>
        <p:cxnSp>
          <p:nvCxnSpPr>
            <p:cNvPr id="75" name="Straight Arrow Connector 74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 w="412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Arrow Connector 75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7" name="Group 76"/>
          <p:cNvGrpSpPr/>
          <p:nvPr/>
        </p:nvGrpSpPr>
        <p:grpSpPr>
          <a:xfrm flipH="1">
            <a:off x="5399626" y="2721052"/>
            <a:ext cx="1359884" cy="58215"/>
            <a:chOff x="2184400" y="4308575"/>
            <a:chExt cx="596900" cy="0"/>
          </a:xfrm>
        </p:grpSpPr>
        <p:cxnSp>
          <p:nvCxnSpPr>
            <p:cNvPr id="78" name="Straight Arrow Connector 77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 w="412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Arrow Connector 79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1" name="Group 80"/>
          <p:cNvGrpSpPr/>
          <p:nvPr/>
        </p:nvGrpSpPr>
        <p:grpSpPr>
          <a:xfrm flipH="1">
            <a:off x="5922945" y="4801961"/>
            <a:ext cx="843483" cy="58215"/>
            <a:chOff x="2184400" y="4308575"/>
            <a:chExt cx="596900" cy="0"/>
          </a:xfrm>
        </p:grpSpPr>
        <p:cxnSp>
          <p:nvCxnSpPr>
            <p:cNvPr id="82" name="Straight Arrow Connector 81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 w="41275">
              <a:solidFill>
                <a:schemeClr val="bg1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3" name="Straight Arrow Connector 82"/>
            <p:cNvCxnSpPr/>
            <p:nvPr/>
          </p:nvCxnSpPr>
          <p:spPr>
            <a:xfrm>
              <a:off x="2184400" y="4308575"/>
              <a:ext cx="596900" cy="0"/>
            </a:xfrm>
            <a:prstGeom prst="straightConnector1">
              <a:avLst/>
            </a:prstGeom>
            <a:ln>
              <a:solidFill>
                <a:schemeClr val="accent6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84" name="Oval 15"/>
          <p:cNvSpPr txBox="1"/>
          <p:nvPr>
            <p:custDataLst>
              <p:tags r:id="rId3"/>
            </p:custDataLst>
          </p:nvPr>
        </p:nvSpPr>
        <p:spPr bwMode="gray">
          <a:xfrm>
            <a:off x="193834" y="1323059"/>
            <a:ext cx="161566" cy="1615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1</a:t>
            </a:r>
            <a:endParaRPr lang="en-US" sz="11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5" name="Oval 15"/>
          <p:cNvSpPr txBox="1"/>
          <p:nvPr>
            <p:custDataLst>
              <p:tags r:id="rId4"/>
            </p:custDataLst>
          </p:nvPr>
        </p:nvSpPr>
        <p:spPr bwMode="gray">
          <a:xfrm>
            <a:off x="6841253" y="1928244"/>
            <a:ext cx="161566" cy="1615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3</a:t>
            </a:r>
            <a:endParaRPr lang="en-US" sz="11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86" name="Oval 15"/>
          <p:cNvSpPr txBox="1"/>
          <p:nvPr>
            <p:custDataLst>
              <p:tags r:id="rId5"/>
            </p:custDataLst>
          </p:nvPr>
        </p:nvSpPr>
        <p:spPr bwMode="gray">
          <a:xfrm>
            <a:off x="193834" y="3999625"/>
            <a:ext cx="161566" cy="16156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1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2</a:t>
            </a:r>
            <a:endParaRPr lang="en-US" sz="11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0455862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181789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1" name="think-cell Slide" r:id="rId26" imgW="530" imgH="528" progId="TCLayout.ActiveDocument.1">
                  <p:embed/>
                </p:oleObj>
              </mc:Choice>
              <mc:Fallback>
                <p:oleObj name="think-cell Slide" r:id="rId26" imgW="530" imgH="52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100" b="1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7" name="TextBox 16"/>
          <p:cNvSpPr txBox="1">
            <a:spLocks/>
          </p:cNvSpPr>
          <p:nvPr/>
        </p:nvSpPr>
        <p:spPr>
          <a:xfrm>
            <a:off x="5859699" y="1720850"/>
            <a:ext cx="2889354" cy="6532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 smtClean="0"/>
              <a:t>Создание общего норматива по времени работы для всех радиологических отделений </a:t>
            </a:r>
            <a:endParaRPr lang="en-US" sz="1100" dirty="0"/>
          </a:p>
        </p:txBody>
      </p:sp>
      <p:sp>
        <p:nvSpPr>
          <p:cNvPr id="21" name="TextBox 20"/>
          <p:cNvSpPr txBox="1">
            <a:spLocks/>
          </p:cNvSpPr>
          <p:nvPr/>
        </p:nvSpPr>
        <p:spPr>
          <a:xfrm>
            <a:off x="5859699" y="2353763"/>
            <a:ext cx="2889354" cy="991810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 smtClean="0"/>
              <a:t>Упрощение процедуры закупок запчастей, быстрое реагирование на выход оборудования из строя, введение оплаты работ по КПЭ для подрядчиков и ГМТ</a:t>
            </a:r>
            <a:endParaRPr lang="en-US" sz="1100" dirty="0"/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5859699" y="3325813"/>
            <a:ext cx="2889354" cy="65325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100" dirty="0" smtClean="0"/>
              <a:t>Сокращение норматива по времени на 1 исследование, исходя из международных практик </a:t>
            </a:r>
            <a:endParaRPr lang="en-US" sz="1100" dirty="0"/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5859699" y="4122584"/>
            <a:ext cx="2889354" cy="1161087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0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2"/>
            <a:r>
              <a:rPr lang="ru-RU" sz="1100" dirty="0" smtClean="0"/>
              <a:t>Сокращение непроизводительного времени сотрудников в течение рабочей смены</a:t>
            </a:r>
          </a:p>
          <a:p>
            <a:pPr lvl="2"/>
            <a:r>
              <a:rPr lang="ru-RU" sz="1100" dirty="0" smtClean="0"/>
              <a:t>Увеличение числа направлений на исследования</a:t>
            </a:r>
          </a:p>
          <a:p>
            <a:pPr lvl="2"/>
            <a:r>
              <a:rPr lang="ru-RU" sz="1100" dirty="0" smtClean="0"/>
              <a:t>Маршрутизация пациентов</a:t>
            </a:r>
            <a:endParaRPr lang="en-US" sz="1100" dirty="0"/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095376" y="230188"/>
            <a:ext cx="7216774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Количество </a:t>
            </a:r>
            <a:r>
              <a:rPr lang="ru-RU" dirty="0" err="1"/>
              <a:t>КТ</a:t>
            </a:r>
            <a:r>
              <a:rPr lang="ru-RU" dirty="0"/>
              <a:t>-исследований в амбулаторных учреждениях составляет 16% от максимально возможного</a:t>
            </a:r>
          </a:p>
        </p:txBody>
      </p:sp>
      <p:sp>
        <p:nvSpPr>
          <p:cNvPr id="37" name="5. Source"/>
          <p:cNvSpPr>
            <a:spLocks noChangeArrowheads="1"/>
          </p:cNvSpPr>
          <p:nvPr/>
        </p:nvSpPr>
        <p:spPr bwMode="gray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az-Cyrl-AZ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ИСТОЧНИК: 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анализ сводного отчета за 4 квартал 2015</a:t>
            </a:r>
            <a:r>
              <a:rPr lang="en-US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 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г.; предоставленного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НПЦ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МР</a:t>
            </a:r>
            <a:endParaRPr lang="ru-RU" sz="1000" dirty="0">
              <a:solidFill>
                <a:schemeClr val="accent6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119019" y="1414463"/>
            <a:ext cx="8723400" cy="3916662"/>
          </a:xfrm>
          <a:prstGeom prst="rect">
            <a:avLst/>
          </a:pr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9F3FD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ru-RU" sz="1100" dirty="0" err="1">
              <a:solidFill>
                <a:schemeClr val="tx2"/>
              </a:solidFill>
            </a:endParaRPr>
          </a:p>
        </p:txBody>
      </p:sp>
      <p:cxnSp>
        <p:nvCxnSpPr>
          <p:cNvPr id="10" name="Straight Connector 9"/>
          <p:cNvCxnSpPr/>
          <p:nvPr>
            <p:custDataLst>
              <p:tags r:id="rId4"/>
            </p:custDataLst>
          </p:nvPr>
        </p:nvCxnSpPr>
        <p:spPr bwMode="gray">
          <a:xfrm>
            <a:off x="2581275" y="4333875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Connector 8"/>
          <p:cNvCxnSpPr/>
          <p:nvPr>
            <p:custDataLst>
              <p:tags r:id="rId5"/>
            </p:custDataLst>
          </p:nvPr>
        </p:nvCxnSpPr>
        <p:spPr bwMode="gray">
          <a:xfrm>
            <a:off x="2819400" y="3848100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Connector 7"/>
          <p:cNvCxnSpPr/>
          <p:nvPr>
            <p:custDataLst>
              <p:tags r:id="rId6"/>
            </p:custDataLst>
          </p:nvPr>
        </p:nvCxnSpPr>
        <p:spPr bwMode="gray">
          <a:xfrm>
            <a:off x="2819400" y="3352800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Straight Connector 4"/>
          <p:cNvCxnSpPr/>
          <p:nvPr>
            <p:custDataLst>
              <p:tags r:id="rId7"/>
            </p:custDataLst>
          </p:nvPr>
        </p:nvCxnSpPr>
        <p:spPr bwMode="gray">
          <a:xfrm>
            <a:off x="3590925" y="2371725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" name="Straight Connector 1"/>
          <p:cNvCxnSpPr/>
          <p:nvPr>
            <p:custDataLst>
              <p:tags r:id="rId8"/>
            </p:custDataLst>
          </p:nvPr>
        </p:nvCxnSpPr>
        <p:spPr bwMode="gray">
          <a:xfrm>
            <a:off x="4086225" y="1885950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Connector 6"/>
          <p:cNvCxnSpPr/>
          <p:nvPr>
            <p:custDataLst>
              <p:tags r:id="rId9"/>
            </p:custDataLst>
          </p:nvPr>
        </p:nvCxnSpPr>
        <p:spPr bwMode="gray">
          <a:xfrm>
            <a:off x="3390900" y="2867025"/>
            <a:ext cx="0" cy="142875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54" name="Object 53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3951052093"/>
              </p:ext>
            </p:extLst>
          </p:nvPr>
        </p:nvGraphicFramePr>
        <p:xfrm>
          <a:off x="2174875" y="1336675"/>
          <a:ext cx="2298700" cy="36703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102" name="Диаграмма" r:id="rId28" imgW="2298700" imgH="3670300" progId="MSGraph.Chart.8">
                  <p:embed followColorScheme="full"/>
                </p:oleObj>
              </mc:Choice>
              <mc:Fallback>
                <p:oleObj name="Диаграмма" r:id="rId28" imgW="2298700" imgH="36703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9"/>
                      <a:stretch>
                        <a:fillRect/>
                      </a:stretch>
                    </p:blipFill>
                    <p:spPr>
                      <a:xfrm>
                        <a:off x="2174875" y="1336675"/>
                        <a:ext cx="2298700" cy="36703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1" name="Text Placeholder 138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214313" y="4484688"/>
            <a:ext cx="150971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Проведенных по факту</a:t>
            </a:r>
            <a:b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</a:br>
            <a: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исследований</a:t>
            </a:r>
            <a:endParaRPr lang="ru-RU" sz="1100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0" name="Text Placeholder 137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214313" y="4078288"/>
            <a:ext cx="881063" cy="1682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Недозагрузка</a:t>
            </a:r>
            <a:endParaRPr lang="ru-RU" sz="11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8" name="Text Placeholder 139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214313" y="3419475"/>
            <a:ext cx="1844675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Нормативное число</a:t>
            </a:r>
            <a:b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</a:br>
            <a: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исследований по нормативу</a:t>
            </a:r>
            <a:b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</a:br>
            <a:r>
              <a:rPr lang="ru-RU" sz="1100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Росздравнадзора</a:t>
            </a:r>
            <a:endParaRPr lang="ru-RU" sz="1100" baseline="30000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7" name="Text Placeholder 13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14313" y="2522538"/>
            <a:ext cx="1398588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/>
              <a:t>Потери из-за простоя</a:t>
            </a:r>
            <a:br>
              <a:rPr lang="ru-RU" sz="1100" dirty="0" smtClean="0"/>
            </a:br>
            <a:r>
              <a:rPr lang="ru-RU" sz="1100" dirty="0" smtClean="0"/>
              <a:t>оборудования</a:t>
            </a:r>
            <a:r>
              <a:rPr lang="ru-RU" sz="1100" baseline="30000" dirty="0" smtClean="0"/>
              <a:t>3</a:t>
            </a:r>
            <a:endParaRPr lang="ru-RU" sz="1100" baseline="30000" dirty="0"/>
          </a:p>
        </p:txBody>
      </p:sp>
      <p:sp>
        <p:nvSpPr>
          <p:cNvPr id="56" name="Text Placeholder 130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14313" y="1541463"/>
            <a:ext cx="1643063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</a:rPr>
              <a:t>Максимально возможное</a:t>
            </a:r>
            <a:br>
              <a:rPr lang="ru-RU" sz="1100" dirty="0" smtClean="0">
                <a:solidFill>
                  <a:schemeClr val="accent1"/>
                </a:solidFill>
              </a:rPr>
            </a:br>
            <a:r>
              <a:rPr lang="ru-RU" sz="1100" dirty="0" smtClean="0">
                <a:solidFill>
                  <a:schemeClr val="accent1"/>
                </a:solidFill>
              </a:rPr>
              <a:t>кол-во исследований</a:t>
            </a:r>
            <a:r>
              <a:rPr lang="ru-RU" sz="1100" baseline="30000" dirty="0" smtClean="0">
                <a:solidFill>
                  <a:schemeClr val="accent1"/>
                </a:solidFill>
              </a:rPr>
              <a:t>1</a:t>
            </a:r>
            <a:endParaRPr lang="ru-RU" sz="1100" dirty="0" smtClean="0">
              <a:solidFill>
                <a:schemeClr val="accent1"/>
              </a:solidFill>
            </a:endParaRPr>
          </a:p>
        </p:txBody>
      </p:sp>
      <p:sp>
        <p:nvSpPr>
          <p:cNvPr id="59" name="Text Placeholder 135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14313" y="2928938"/>
            <a:ext cx="1509713" cy="5048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Потери из-за большего</a:t>
            </a:r>
            <a:b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нормативного времени</a:t>
            </a:r>
            <a:b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</a:br>
            <a:r>
              <a:rPr lang="ru-RU" sz="11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на 1 исследование</a:t>
            </a:r>
            <a:r>
              <a:rPr lang="en-US" sz="1100" b="1" baseline="30000" dirty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 </a:t>
            </a:r>
            <a:r>
              <a:rPr lang="ru-RU" sz="1100" b="1" baseline="30000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4</a:t>
            </a:r>
            <a:endParaRPr lang="ru-RU" sz="11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5" name="Text Placeholder 131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14313" y="2032000"/>
            <a:ext cx="1971675" cy="3365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+mn-cs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100" dirty="0" smtClean="0"/>
              <a:t>Потери из-за неполного числа</a:t>
            </a:r>
            <a:br>
              <a:rPr lang="ru-RU" sz="1100" dirty="0" smtClean="0"/>
            </a:br>
            <a:r>
              <a:rPr lang="ru-RU" sz="1100" dirty="0" smtClean="0"/>
              <a:t>рабочих дней</a:t>
            </a:r>
            <a:r>
              <a:rPr lang="ru-RU" sz="1100" dirty="0"/>
              <a:t> </a:t>
            </a:r>
            <a:r>
              <a:rPr lang="ru-RU" sz="1100" dirty="0" smtClean="0"/>
              <a:t>в неделю</a:t>
            </a:r>
            <a:r>
              <a:rPr lang="ru-RU" sz="1100" baseline="30000" dirty="0"/>
              <a:t>2</a:t>
            </a:r>
          </a:p>
        </p:txBody>
      </p:sp>
      <p:sp>
        <p:nvSpPr>
          <p:cNvPr id="64" name="4. Footnote"/>
          <p:cNvSpPr txBox="1">
            <a:spLocks noChangeArrowheads="1"/>
          </p:cNvSpPr>
          <p:nvPr/>
        </p:nvSpPr>
        <p:spPr bwMode="gray">
          <a:xfrm>
            <a:off x="119063" y="5359808"/>
            <a:ext cx="8405812" cy="107721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solidFill>
                  <a:schemeClr val="accent6"/>
                </a:solidFill>
                <a:latin typeface="+mn-lt"/>
                <a:cs typeface="Arial" panose="020B0604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>
                <a:sym typeface="+mn-lt"/>
              </a:rPr>
              <a:t>1</a:t>
            </a:r>
            <a:r>
              <a:rPr lang="en-US" dirty="0">
                <a:sym typeface="+mn-lt"/>
              </a:rPr>
              <a:t> </a:t>
            </a:r>
            <a:r>
              <a:rPr lang="ru-RU" dirty="0">
                <a:sym typeface="+mn-lt"/>
              </a:rPr>
              <a:t>Исходя из опыта Канады, за базу в 100% было взято максимальное число исследований=(число недель в квартале*рабочих дней </a:t>
            </a:r>
            <a:r>
              <a:rPr lang="ru-RU" dirty="0" smtClean="0">
                <a:sym typeface="+mn-lt"/>
              </a:rPr>
              <a:t>в неделю (7 </a:t>
            </a:r>
            <a:r>
              <a:rPr lang="ru-RU" dirty="0">
                <a:sym typeface="+mn-lt"/>
              </a:rPr>
              <a:t>в Канаде)*кол-во </a:t>
            </a:r>
            <a:r>
              <a:rPr lang="ru-RU" dirty="0" err="1">
                <a:sym typeface="+mn-lt"/>
              </a:rPr>
              <a:t>КТ</a:t>
            </a:r>
            <a:r>
              <a:rPr lang="ru-RU" dirty="0">
                <a:sym typeface="+mn-lt"/>
              </a:rPr>
              <a:t>-аппаратов на балансе в Москве(54 шт.)*норма исследований на аппарат в день (48 в Канаде))</a:t>
            </a:r>
          </a:p>
          <a:p>
            <a:r>
              <a:rPr lang="ru-RU" dirty="0">
                <a:sym typeface="+mn-lt"/>
              </a:rPr>
              <a:t>2 Скорректировано на 5,1-дневную рабочую неделю в 4 квартале 2015 </a:t>
            </a:r>
            <a:r>
              <a:rPr lang="ru-RU" dirty="0" smtClean="0">
                <a:sym typeface="+mn-lt"/>
              </a:rPr>
              <a:t>г. </a:t>
            </a:r>
            <a:r>
              <a:rPr lang="ru-RU" dirty="0">
                <a:sym typeface="+mn-lt"/>
              </a:rPr>
              <a:t>в Москве по средневзвешенному числу на 1 аппарат на балансе</a:t>
            </a:r>
          </a:p>
          <a:p>
            <a:r>
              <a:rPr lang="ru-RU" dirty="0">
                <a:sym typeface="+mn-lt"/>
              </a:rPr>
              <a:t>3 Скорректировано на суммарный простой оборудования в размере 569 </a:t>
            </a:r>
            <a:r>
              <a:rPr lang="ru-RU" dirty="0" err="1" smtClean="0">
                <a:sym typeface="+mn-lt"/>
              </a:rPr>
              <a:t>аппарато</a:t>
            </a:r>
            <a:r>
              <a:rPr lang="en-US" dirty="0" smtClean="0">
                <a:sym typeface="+mn-lt"/>
              </a:rPr>
              <a:t>-</a:t>
            </a:r>
            <a:r>
              <a:rPr lang="ru-RU" dirty="0" smtClean="0">
                <a:sym typeface="+mn-lt"/>
              </a:rPr>
              <a:t>дней </a:t>
            </a:r>
            <a:r>
              <a:rPr lang="ru-RU" dirty="0">
                <a:sym typeface="+mn-lt"/>
              </a:rPr>
              <a:t>за квартал </a:t>
            </a:r>
          </a:p>
          <a:p>
            <a:r>
              <a:rPr lang="ru-RU" dirty="0">
                <a:sym typeface="+mn-lt"/>
              </a:rPr>
              <a:t>4 Скорректировано на норматив Росздравнадзора в 23 исследованиях </a:t>
            </a:r>
            <a:r>
              <a:rPr lang="ru-RU" dirty="0" err="1">
                <a:sym typeface="+mn-lt"/>
              </a:rPr>
              <a:t>КТ</a:t>
            </a:r>
            <a:r>
              <a:rPr lang="ru-RU" dirty="0">
                <a:sym typeface="+mn-lt"/>
              </a:rPr>
              <a:t> в день (против 48 в Канаде)</a:t>
            </a:r>
          </a:p>
          <a:p>
            <a:r>
              <a:rPr lang="ru-RU" dirty="0">
                <a:sym typeface="+mn-lt"/>
              </a:rPr>
              <a:t>5 Рассчитан как 100% сокращение потерь от недозагрузки и простоя оборудования, и 50% от числа </a:t>
            </a:r>
            <a:r>
              <a:rPr lang="ru-RU" dirty="0" err="1">
                <a:sym typeface="+mn-lt"/>
              </a:rPr>
              <a:t>раб.дней</a:t>
            </a:r>
            <a:r>
              <a:rPr lang="ru-RU" dirty="0">
                <a:sym typeface="+mn-lt"/>
              </a:rPr>
              <a:t> в неделю и большего нормативного </a:t>
            </a:r>
            <a:r>
              <a:rPr lang="ru-RU" dirty="0" smtClean="0">
                <a:sym typeface="+mn-lt"/>
              </a:rPr>
              <a:t>времени                                                                                                                      6 </a:t>
            </a:r>
            <a:r>
              <a:rPr lang="ru-RU" dirty="0">
                <a:sym typeface="+mn-lt"/>
              </a:rPr>
              <a:t>Рассмотрены далее</a:t>
            </a:r>
          </a:p>
        </p:txBody>
      </p:sp>
      <p:grpSp>
        <p:nvGrpSpPr>
          <p:cNvPr id="63" name="ACET 11"/>
          <p:cNvGrpSpPr>
            <a:grpSpLocks/>
          </p:cNvGrpSpPr>
          <p:nvPr/>
        </p:nvGrpSpPr>
        <p:grpSpPr bwMode="gray">
          <a:xfrm>
            <a:off x="5859699" y="1479550"/>
            <a:ext cx="2889354" cy="187895"/>
            <a:chOff x="5019" y="1221"/>
            <a:chExt cx="2686" cy="146"/>
          </a:xfrm>
        </p:grpSpPr>
        <p:cxnSp>
          <p:nvCxnSpPr>
            <p:cNvPr id="65" name="AutoShape 249"/>
            <p:cNvCxnSpPr>
              <a:cxnSpLocks noChangeShapeType="1"/>
              <a:stCxn id="72" idx="4"/>
              <a:endCxn id="72" idx="6"/>
            </p:cNvCxnSpPr>
            <p:nvPr/>
          </p:nvCxnSpPr>
          <p:spPr bwMode="gray">
            <a:xfrm>
              <a:off x="5019" y="1367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2" name="AutoShape 250"/>
            <p:cNvSpPr>
              <a:spLocks noChangeArrowheads="1"/>
            </p:cNvSpPr>
            <p:nvPr/>
          </p:nvSpPr>
          <p:spPr bwMode="gray">
            <a:xfrm>
              <a:off x="5019" y="1221"/>
              <a:ext cx="2686" cy="14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1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Рычаги для оптимизации</a:t>
              </a:r>
              <a:r>
                <a:rPr lang="ru-RU" sz="1100" baseline="300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6</a:t>
              </a:r>
              <a:endParaRPr lang="de-DE" sz="1100" baseline="30000" noProof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51" name="Oval 12"/>
          <p:cNvSpPr txBox="1"/>
          <p:nvPr>
            <p:custDataLst>
              <p:tags r:id="rId18"/>
            </p:custDataLst>
          </p:nvPr>
        </p:nvSpPr>
        <p:spPr bwMode="gray">
          <a:xfrm>
            <a:off x="5901951" y="1812925"/>
            <a:ext cx="162264" cy="16226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>
            <a:defPPr>
              <a:defRPr lang="en-US"/>
            </a:defPPr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sz="1100" dirty="0">
                <a:sym typeface="+mn-lt"/>
              </a:rPr>
              <a:t>А</a:t>
            </a:r>
            <a:endParaRPr lang="en-US" sz="1100" dirty="0">
              <a:sym typeface="+mn-lt"/>
            </a:endParaRPr>
          </a:p>
        </p:txBody>
      </p:sp>
      <p:sp>
        <p:nvSpPr>
          <p:cNvPr id="67" name="Oval 12"/>
          <p:cNvSpPr txBox="1"/>
          <p:nvPr>
            <p:custDataLst>
              <p:tags r:id="rId19"/>
            </p:custDataLst>
          </p:nvPr>
        </p:nvSpPr>
        <p:spPr bwMode="gray">
          <a:xfrm>
            <a:off x="5901951" y="2543175"/>
            <a:ext cx="162264" cy="16226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>
            <a:defPPr>
              <a:defRPr lang="en-US"/>
            </a:defPPr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sz="1100" dirty="0">
                <a:sym typeface="+mn-lt"/>
              </a:rPr>
              <a:t>Б</a:t>
            </a:r>
            <a:endParaRPr lang="en-US" sz="1100" dirty="0">
              <a:sym typeface="+mn-lt"/>
            </a:endParaRPr>
          </a:p>
        </p:txBody>
      </p:sp>
      <p:sp>
        <p:nvSpPr>
          <p:cNvPr id="73" name="Oval 12"/>
          <p:cNvSpPr txBox="1"/>
          <p:nvPr>
            <p:custDataLst>
              <p:tags r:id="rId20"/>
            </p:custDataLst>
          </p:nvPr>
        </p:nvSpPr>
        <p:spPr bwMode="gray">
          <a:xfrm>
            <a:off x="5901951" y="3429000"/>
            <a:ext cx="162264" cy="16226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>
            <a:defPPr>
              <a:defRPr lang="en-US"/>
            </a:defPPr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sz="1100" dirty="0">
                <a:sym typeface="+mn-lt"/>
              </a:rPr>
              <a:t>В</a:t>
            </a:r>
            <a:endParaRPr lang="en-US" sz="1100" dirty="0">
              <a:sym typeface="+mn-lt"/>
            </a:endParaRPr>
          </a:p>
        </p:txBody>
      </p:sp>
      <p:sp>
        <p:nvSpPr>
          <p:cNvPr id="75" name="Oval 12"/>
          <p:cNvSpPr txBox="1"/>
          <p:nvPr>
            <p:custDataLst>
              <p:tags r:id="rId21"/>
            </p:custDataLst>
          </p:nvPr>
        </p:nvSpPr>
        <p:spPr bwMode="gray">
          <a:xfrm>
            <a:off x="5901951" y="4171611"/>
            <a:ext cx="162264" cy="16226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72000" tIns="72000" rIns="72000" bIns="72000" anchor="ctr"/>
          <a:lstStyle>
            <a:defPPr>
              <a:defRPr lang="en-US"/>
            </a:defPPr>
            <a:lvl1pPr algn="ctr">
              <a:defRPr sz="1000" b="1">
                <a:solidFill>
                  <a:schemeClr val="tx2"/>
                </a:solidFill>
              </a:defRPr>
            </a:lvl1pPr>
          </a:lstStyle>
          <a:p>
            <a:r>
              <a:rPr lang="ru-RU" sz="1100" dirty="0">
                <a:sym typeface="+mn-lt"/>
              </a:rPr>
              <a:t>Г</a:t>
            </a:r>
            <a:endParaRPr lang="en-US" sz="1100" dirty="0">
              <a:sym typeface="+mn-lt"/>
            </a:endParaRPr>
          </a:p>
        </p:txBody>
      </p:sp>
      <p:sp>
        <p:nvSpPr>
          <p:cNvPr id="93" name="Rectangle 16"/>
          <p:cNvSpPr txBox="1"/>
          <p:nvPr>
            <p:custDataLst>
              <p:tags r:id="rId22"/>
            </p:custDataLst>
          </p:nvPr>
        </p:nvSpPr>
        <p:spPr bwMode="gray">
          <a:xfrm>
            <a:off x="2577342" y="4491624"/>
            <a:ext cx="1115977" cy="323816"/>
          </a:xfrm>
          <a:prstGeom prst="rect">
            <a:avLst/>
          </a:prstGeom>
          <a:noFill/>
          <a:ln w="9525">
            <a:solidFill>
              <a:schemeClr val="accent1"/>
            </a:solidFill>
            <a:prstDash val="dash"/>
            <a:miter lim="800000"/>
            <a:headEnd/>
            <a:tailEnd/>
          </a:ln>
          <a:effectLst/>
          <a:extLst/>
        </p:spPr>
        <p:txBody>
          <a:bodyPr vert="horz" wrap="square" lIns="76200" tIns="76200" rIns="76200" bIns="76200" numCol="1" anchor="t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endParaRPr lang="en-US" sz="11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3748169" y="4485274"/>
            <a:ext cx="976943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</a:rPr>
              <a:t>70</a:t>
            </a:r>
            <a:r>
              <a:rPr lang="en-US" sz="1100" dirty="0" smtClean="0">
                <a:solidFill>
                  <a:schemeClr val="accent1"/>
                </a:solidFill>
              </a:rPr>
              <a:t>% - </a:t>
            </a:r>
            <a:r>
              <a:rPr lang="ru-RU" sz="1100" dirty="0" smtClean="0">
                <a:solidFill>
                  <a:schemeClr val="accent1"/>
                </a:solidFill>
              </a:rPr>
              <a:t>целевой уровень</a:t>
            </a:r>
            <a:r>
              <a:rPr lang="ru-RU" sz="1100" baseline="30000" dirty="0">
                <a:solidFill>
                  <a:schemeClr val="accent1"/>
                </a:solidFill>
              </a:rPr>
              <a:t>5</a:t>
            </a:r>
            <a:endParaRPr lang="en-US" sz="1100" baseline="30000" dirty="0">
              <a:solidFill>
                <a:schemeClr val="accent1"/>
              </a:solidFill>
            </a:endParaRPr>
          </a:p>
        </p:txBody>
      </p:sp>
      <p:sp>
        <p:nvSpPr>
          <p:cNvPr id="77" name="McK 1. On-page tracker"/>
          <p:cNvSpPr>
            <a:spLocks noChangeArrowheads="1"/>
          </p:cNvSpPr>
          <p:nvPr>
            <p:custDataLst>
              <p:tags r:id="rId23"/>
            </p:custDataLst>
          </p:nvPr>
        </p:nvSpPr>
        <p:spPr bwMode="auto">
          <a:xfrm>
            <a:off x="119064" y="2693"/>
            <a:ext cx="51141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69875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ЭФФЕКТИВНОСТЬ ИСПОЛЬЗОВАНИЯ ОБОРУДОВАНИЯ</a:t>
            </a:r>
          </a:p>
        </p:txBody>
      </p:sp>
      <p:sp>
        <p:nvSpPr>
          <p:cNvPr id="78" name="Oval 15"/>
          <p:cNvSpPr txBox="1"/>
          <p:nvPr>
            <p:custDataLst>
              <p:tags r:id="rId24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1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119063" y="1039653"/>
            <a:ext cx="8723400" cy="33855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  <a:cs typeface="+mn-cs"/>
              </a:rPr>
              <a:t>Потери максимальной эффективности в </a:t>
            </a:r>
            <a:r>
              <a:rPr lang="ru-RU" sz="1100" dirty="0" err="1" smtClean="0">
                <a:solidFill>
                  <a:schemeClr val="accent1"/>
                </a:solidFill>
                <a:cs typeface="+mn-cs"/>
              </a:rPr>
              <a:t>КТ</a:t>
            </a:r>
            <a:r>
              <a:rPr lang="ru-RU" sz="1100" dirty="0" smtClean="0">
                <a:solidFill>
                  <a:schemeClr val="accent1"/>
                </a:solidFill>
                <a:cs typeface="+mn-cs"/>
              </a:rPr>
              <a:t>-исследованиях в амбулаторных учреждениях</a:t>
            </a:r>
          </a:p>
          <a:p>
            <a:r>
              <a:rPr lang="ru-RU" sz="1100" dirty="0" smtClean="0">
                <a:cs typeface="+mn-cs"/>
              </a:rPr>
              <a:t>Проценты, за 4 квартал 2015 г. в амбулаторных учреждениях </a:t>
            </a:r>
            <a:r>
              <a:rPr lang="ru-RU" sz="1100" dirty="0" err="1" smtClean="0">
                <a:cs typeface="+mn-cs"/>
              </a:rPr>
              <a:t>ДЗМ</a:t>
            </a:r>
            <a:endParaRPr lang="en-US" sz="1100" dirty="0"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626888" y="4968969"/>
            <a:ext cx="3322529" cy="314702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dirty="0" smtClean="0">
                <a:cs typeface="+mn-cs"/>
              </a:rPr>
              <a:t>Для </a:t>
            </a:r>
            <a:r>
              <a:rPr lang="ru-RU" sz="1100" dirty="0" err="1" smtClean="0">
                <a:cs typeface="+mn-cs"/>
              </a:rPr>
              <a:t>МРТ</a:t>
            </a:r>
            <a:r>
              <a:rPr lang="ru-RU" sz="1100" dirty="0" smtClean="0">
                <a:cs typeface="+mn-cs"/>
              </a:rPr>
              <a:t>-исследований – аналогичная ситуация</a:t>
            </a:r>
            <a:endParaRPr lang="en-US" sz="1100" dirty="0">
              <a:cs typeface="+mn-cs"/>
            </a:endParaRPr>
          </a:p>
        </p:txBody>
      </p:sp>
      <p:cxnSp>
        <p:nvCxnSpPr>
          <p:cNvPr id="85" name="Straight Connector 84"/>
          <p:cNvCxnSpPr>
            <a:cxnSpLocks/>
          </p:cNvCxnSpPr>
          <p:nvPr/>
        </p:nvCxnSpPr>
        <p:spPr>
          <a:xfrm>
            <a:off x="187087" y="1961358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187087" y="2450441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Connector 93"/>
          <p:cNvCxnSpPr>
            <a:cxnSpLocks/>
          </p:cNvCxnSpPr>
          <p:nvPr/>
        </p:nvCxnSpPr>
        <p:spPr>
          <a:xfrm>
            <a:off x="187087" y="2939524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Connector 94"/>
          <p:cNvCxnSpPr>
            <a:cxnSpLocks/>
          </p:cNvCxnSpPr>
          <p:nvPr/>
        </p:nvCxnSpPr>
        <p:spPr>
          <a:xfrm>
            <a:off x="187087" y="3436227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Connector 95"/>
          <p:cNvCxnSpPr>
            <a:cxnSpLocks/>
          </p:cNvCxnSpPr>
          <p:nvPr/>
        </p:nvCxnSpPr>
        <p:spPr>
          <a:xfrm>
            <a:off x="187087" y="3917690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7" name="Straight Connector 96"/>
          <p:cNvCxnSpPr>
            <a:cxnSpLocks/>
          </p:cNvCxnSpPr>
          <p:nvPr/>
        </p:nvCxnSpPr>
        <p:spPr>
          <a:xfrm>
            <a:off x="187087" y="4406774"/>
            <a:ext cx="555259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2" name="Oval 51"/>
          <p:cNvSpPr>
            <a:spLocks/>
          </p:cNvSpPr>
          <p:nvPr/>
        </p:nvSpPr>
        <p:spPr>
          <a:xfrm>
            <a:off x="5162644" y="1562447"/>
            <a:ext cx="577036" cy="29051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r>
              <a:rPr lang="ru-RU" sz="1100" b="1" dirty="0">
                <a:solidFill>
                  <a:schemeClr val="tx2"/>
                </a:solidFill>
                <a:latin typeface="Arial" charset="0"/>
              </a:rPr>
              <a:t>238 464</a:t>
            </a:r>
          </a:p>
        </p:txBody>
      </p:sp>
      <p:sp>
        <p:nvSpPr>
          <p:cNvPr id="53" name="Oval 52"/>
          <p:cNvSpPr>
            <a:spLocks/>
          </p:cNvSpPr>
          <p:nvPr/>
        </p:nvSpPr>
        <p:spPr>
          <a:xfrm>
            <a:off x="5162644" y="3531702"/>
            <a:ext cx="577036" cy="29051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algn="ctr"/>
            <a:r>
              <a:rPr lang="ru-RU" sz="1100" b="1" dirty="0">
                <a:solidFill>
                  <a:schemeClr val="tx2"/>
                </a:solidFill>
              </a:rPr>
              <a:t>69 739</a:t>
            </a:r>
          </a:p>
        </p:txBody>
      </p:sp>
      <p:sp>
        <p:nvSpPr>
          <p:cNvPr id="62" name="Oval 61"/>
          <p:cNvSpPr>
            <a:spLocks/>
          </p:cNvSpPr>
          <p:nvPr/>
        </p:nvSpPr>
        <p:spPr>
          <a:xfrm>
            <a:off x="5162644" y="4509295"/>
            <a:ext cx="577036" cy="290513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round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noAutofit/>
          </a:bodyPr>
          <a:lstStyle/>
          <a:p>
            <a:pPr algn="ctr"/>
            <a:r>
              <a:rPr lang="ru-RU" sz="1100" b="1" dirty="0">
                <a:solidFill>
                  <a:schemeClr val="tx2"/>
                </a:solidFill>
              </a:rPr>
              <a:t>38 262</a:t>
            </a:r>
          </a:p>
        </p:txBody>
      </p:sp>
      <p:grpSp>
        <p:nvGrpSpPr>
          <p:cNvPr id="68" name="Group 67"/>
          <p:cNvGrpSpPr/>
          <p:nvPr/>
        </p:nvGrpSpPr>
        <p:grpSpPr>
          <a:xfrm>
            <a:off x="6750435" y="814963"/>
            <a:ext cx="2091984" cy="212366"/>
            <a:chOff x="-13960636" y="711954"/>
            <a:chExt cx="22826361" cy="212366"/>
          </a:xfrm>
        </p:grpSpPr>
        <p:sp>
          <p:nvSpPr>
            <p:cNvPr id="69" name="StickerRectangle"/>
            <p:cNvSpPr>
              <a:spLocks noChangeArrowheads="1"/>
            </p:cNvSpPr>
            <p:nvPr/>
          </p:nvSpPr>
          <p:spPr bwMode="gray">
            <a:xfrm>
              <a:off x="-13960636" y="711954"/>
              <a:ext cx="22826361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err="1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КТ-АМБУЛАТОР</a:t>
              </a:r>
              <a:r>
                <a:rPr lang="ru-RU" sz="1200" dirty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НОЕ ЗВЕНО</a:t>
              </a:r>
              <a:endParaRPr lang="en-US" sz="1200" dirty="0">
                <a:solidFill>
                  <a:srgbClr val="808080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  <p:cxnSp>
          <p:nvCxnSpPr>
            <p:cNvPr id="70" name="AutoShape 31"/>
            <p:cNvCxnSpPr>
              <a:cxnSpLocks noChangeShapeType="1"/>
              <a:stCxn id="69" idx="2"/>
              <a:endCxn id="69" idx="4"/>
            </p:cNvCxnSpPr>
            <p:nvPr/>
          </p:nvCxnSpPr>
          <p:spPr bwMode="gray">
            <a:xfrm>
              <a:off x="-13960636" y="711954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71" name="AutoShape 32"/>
            <p:cNvCxnSpPr>
              <a:cxnSpLocks noChangeShapeType="1"/>
              <a:stCxn id="69" idx="4"/>
              <a:endCxn id="69" idx="6"/>
            </p:cNvCxnSpPr>
            <p:nvPr/>
          </p:nvCxnSpPr>
          <p:spPr bwMode="gray">
            <a:xfrm>
              <a:off x="-13960636" y="924320"/>
              <a:ext cx="22826361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33" name="Group 32"/>
          <p:cNvGrpSpPr/>
          <p:nvPr/>
        </p:nvGrpSpPr>
        <p:grpSpPr>
          <a:xfrm>
            <a:off x="6865736" y="1035926"/>
            <a:ext cx="1976683" cy="307777"/>
            <a:chOff x="6883032" y="930275"/>
            <a:chExt cx="1976683" cy="307777"/>
          </a:xfrm>
        </p:grpSpPr>
        <p:sp>
          <p:nvSpPr>
            <p:cNvPr id="44" name="Oval 43"/>
            <p:cNvSpPr/>
            <p:nvPr/>
          </p:nvSpPr>
          <p:spPr>
            <a:xfrm>
              <a:off x="6883032" y="930275"/>
              <a:ext cx="321681" cy="169608"/>
            </a:xfrm>
            <a:prstGeom prst="ellipse">
              <a:avLst/>
            </a:prstGeom>
            <a:solidFill>
              <a:schemeClr val="bg1"/>
            </a:solidFill>
            <a:ln w="19050">
              <a:solidFill>
                <a:schemeClr val="tx2"/>
              </a:solidFill>
              <a:round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algn="ctr"/>
              <a:r>
                <a:rPr lang="ru-RU" sz="1000" b="1" dirty="0">
                  <a:solidFill>
                    <a:schemeClr val="tx2"/>
                  </a:solidFill>
                  <a:latin typeface="Arial" charset="0"/>
                </a:rPr>
                <a:t>ХХ</a:t>
              </a:r>
            </a:p>
          </p:txBody>
        </p:sp>
        <p:sp>
          <p:nvSpPr>
            <p:cNvPr id="45" name="Rectangle 13"/>
            <p:cNvSpPr txBox="1"/>
            <p:nvPr/>
          </p:nvSpPr>
          <p:spPr>
            <a:xfrm>
              <a:off x="7283081" y="930275"/>
              <a:ext cx="1576634" cy="30777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000" dirty="0" smtClean="0">
                  <a:solidFill>
                    <a:schemeClr val="accent1"/>
                  </a:solidFill>
                </a:rPr>
                <a:t>Количество исследований</a:t>
              </a:r>
              <a:endParaRPr lang="en-US" sz="1000" dirty="0" smtClean="0">
                <a:solidFill>
                  <a:schemeClr val="accent1"/>
                </a:solidFill>
              </a:endParaRPr>
            </a:p>
            <a:p>
              <a:r>
                <a:rPr lang="ru-RU" sz="1000" dirty="0" smtClean="0"/>
                <a:t>шт. за 4 квартал 2015 г.</a:t>
              </a:r>
              <a:endParaRPr lang="ru-RU" sz="1000" dirty="0"/>
            </a:p>
          </p:txBody>
        </p:sp>
      </p:grpSp>
      <p:cxnSp>
        <p:nvCxnSpPr>
          <p:cNvPr id="36" name="Straight Connector 35"/>
          <p:cNvCxnSpPr/>
          <p:nvPr/>
        </p:nvCxnSpPr>
        <p:spPr>
          <a:xfrm flipH="1">
            <a:off x="4215606" y="2211058"/>
            <a:ext cx="1644093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9" name="Straight Connector 98"/>
          <p:cNvCxnSpPr/>
          <p:nvPr/>
        </p:nvCxnSpPr>
        <p:spPr>
          <a:xfrm flipH="1">
            <a:off x="4215606" y="2710458"/>
            <a:ext cx="1644093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Connector 99"/>
          <p:cNvCxnSpPr/>
          <p:nvPr/>
        </p:nvCxnSpPr>
        <p:spPr>
          <a:xfrm flipH="1">
            <a:off x="4215606" y="4195178"/>
            <a:ext cx="1644093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Freeform 39"/>
          <p:cNvSpPr/>
          <p:nvPr/>
        </p:nvSpPr>
        <p:spPr>
          <a:xfrm>
            <a:off x="3558540" y="3152776"/>
            <a:ext cx="2301240" cy="283778"/>
          </a:xfrm>
          <a:custGeom>
            <a:avLst/>
            <a:gdLst>
              <a:gd name="connsiteX0" fmla="*/ 2301240 w 2301240"/>
              <a:gd name="connsiteY0" fmla="*/ 236220 h 236220"/>
              <a:gd name="connsiteX1" fmla="*/ 2240280 w 2301240"/>
              <a:gd name="connsiteY1" fmla="*/ 236220 h 236220"/>
              <a:gd name="connsiteX2" fmla="*/ 2240280 w 2301240"/>
              <a:gd name="connsiteY2" fmla="*/ 0 h 236220"/>
              <a:gd name="connsiteX3" fmla="*/ 0 w 2301240"/>
              <a:gd name="connsiteY3" fmla="*/ 0 h 23622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301240" h="236220">
                <a:moveTo>
                  <a:pt x="2301240" y="236220"/>
                </a:moveTo>
                <a:lnTo>
                  <a:pt x="2240280" y="236220"/>
                </a:lnTo>
                <a:lnTo>
                  <a:pt x="2240280" y="0"/>
                </a:lnTo>
                <a:lnTo>
                  <a:pt x="0" y="0"/>
                </a:lnTo>
              </a:path>
            </a:pathLst>
          </a:custGeom>
          <a:noFill/>
          <a:ln w="9525">
            <a:solidFill>
              <a:schemeClr val="accent6"/>
            </a:solidFill>
            <a:tail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42" name="Straight Connector 41"/>
          <p:cNvCxnSpPr/>
          <p:nvPr/>
        </p:nvCxnSpPr>
        <p:spPr>
          <a:xfrm flipV="1">
            <a:off x="2606675" y="4767859"/>
            <a:ext cx="0" cy="20111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229383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661611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119" name="think-cell Slide" r:id="rId41" imgW="306" imgH="306" progId="TCLayout.ActiveDocument.1">
                  <p:embed/>
                </p:oleObj>
              </mc:Choice>
              <mc:Fallback>
                <p:oleObj name="think-cell Slide" r:id="rId41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099133" y="230188"/>
            <a:ext cx="7213017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Б. Время на ремонт оборудования можно сократить за счет прямых контрактов с поставщиками и перехода на контракты "Все включено"</a:t>
            </a:r>
          </a:p>
        </p:txBody>
      </p:sp>
      <p:sp>
        <p:nvSpPr>
          <p:cNvPr id="223" name="McK 5. Source"/>
          <p:cNvSpPr>
            <a:spLocks noChangeArrowheads="1"/>
          </p:cNvSpPr>
          <p:nvPr/>
        </p:nvSpPr>
        <p:spPr bwMode="auto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ИСТОЧНИК: интервью с сотрудниками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НПЦ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Р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зав.отделениями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, врачами; анализ рабочей группы</a:t>
            </a:r>
          </a:p>
        </p:txBody>
      </p:sp>
      <p:sp>
        <p:nvSpPr>
          <p:cNvPr id="318" name="Rectangle 317"/>
          <p:cNvSpPr>
            <a:spLocks/>
          </p:cNvSpPr>
          <p:nvPr/>
        </p:nvSpPr>
        <p:spPr>
          <a:xfrm>
            <a:off x="119063" y="1328466"/>
            <a:ext cx="5853112" cy="5104506"/>
          </a:xfrm>
          <a:prstGeom prst="rect">
            <a:avLst/>
          </a:prstGeom>
          <a:noFill/>
          <a:ln w="19050" cmpd="sng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9F3FD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ru-RU" sz="1000" dirty="0" err="1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13" name="DirArrow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5386033" y="3794994"/>
            <a:ext cx="1543050" cy="17145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wrap="none" anchor="ctr"/>
          <a:lstStyle/>
          <a:p>
            <a:endParaRPr lang="en-US" sz="100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351453" y="844288"/>
            <a:ext cx="1490922" cy="212366"/>
            <a:chOff x="5355857" y="711954"/>
            <a:chExt cx="3509868" cy="212366"/>
          </a:xfrm>
        </p:grpSpPr>
        <p:sp>
          <p:nvSpPr>
            <p:cNvPr id="56" name="StickerRectangle"/>
            <p:cNvSpPr>
              <a:spLocks noChangeArrowheads="1"/>
            </p:cNvSpPr>
            <p:nvPr/>
          </p:nvSpPr>
          <p:spPr bwMode="gray">
            <a:xfrm>
              <a:off x="5355857" y="711954"/>
              <a:ext cx="3509868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err="1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ПРЕДВАРИТЕЛЬНО</a:t>
              </a:r>
              <a:endParaRPr lang="en-US" sz="1200" dirty="0">
                <a:solidFill>
                  <a:srgbClr val="808080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  <p:cxnSp>
          <p:nvCxnSpPr>
            <p:cNvPr id="57" name="AutoShape 31"/>
            <p:cNvCxnSpPr>
              <a:cxnSpLocks noChangeShapeType="1"/>
              <a:stCxn id="56" idx="2"/>
              <a:endCxn id="56" idx="4"/>
            </p:cNvCxnSpPr>
            <p:nvPr/>
          </p:nvCxnSpPr>
          <p:spPr bwMode="gray">
            <a:xfrm>
              <a:off x="5355857" y="711954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58" name="AutoShape 32"/>
            <p:cNvCxnSpPr>
              <a:cxnSpLocks noChangeShapeType="1"/>
              <a:stCxn id="56" idx="4"/>
              <a:endCxn id="56" idx="6"/>
            </p:cNvCxnSpPr>
            <p:nvPr/>
          </p:nvCxnSpPr>
          <p:spPr bwMode="gray">
            <a:xfrm>
              <a:off x="5355857" y="924320"/>
              <a:ext cx="3509868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319" name="Bracket 319"/>
          <p:cNvSpPr>
            <a:spLocks/>
          </p:cNvSpPr>
          <p:nvPr>
            <p:custDataLst>
              <p:tags r:id="rId4"/>
            </p:custDataLst>
          </p:nvPr>
        </p:nvSpPr>
        <p:spPr bwMode="gray">
          <a:xfrm rot="10800000">
            <a:off x="1176460" y="1441940"/>
            <a:ext cx="180990" cy="3083233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2" fmla="*/ 65 w 815"/>
              <a:gd name="connsiteY2" fmla="*/ 1190429 h 1190429"/>
              <a:gd name="connsiteX0" fmla="*/ 0 w 815"/>
              <a:gd name="connsiteY0" fmla="*/ 1190429 h 2028629"/>
              <a:gd name="connsiteX1" fmla="*/ 815 w 815"/>
              <a:gd name="connsiteY1" fmla="*/ 0 h 2028629"/>
              <a:gd name="connsiteX2" fmla="*/ 65 w 815"/>
              <a:gd name="connsiteY2" fmla="*/ 1190429 h 2028629"/>
              <a:gd name="connsiteX3" fmla="*/ 65 w 815"/>
              <a:gd name="connsiteY3" fmla="*/ 2028629 h 2028629"/>
              <a:gd name="connsiteX0" fmla="*/ 0 w 815"/>
              <a:gd name="connsiteY0" fmla="*/ 1190429 h 2104829"/>
              <a:gd name="connsiteX1" fmla="*/ 815 w 815"/>
              <a:gd name="connsiteY1" fmla="*/ 0 h 2104829"/>
              <a:gd name="connsiteX2" fmla="*/ 65 w 815"/>
              <a:gd name="connsiteY2" fmla="*/ 1190429 h 2104829"/>
              <a:gd name="connsiteX3" fmla="*/ 65 w 815"/>
              <a:gd name="connsiteY3" fmla="*/ 2028629 h 2104829"/>
              <a:gd name="connsiteX4" fmla="*/ 115 w 815"/>
              <a:gd name="connsiteY4" fmla="*/ 2104829 h 2104829"/>
              <a:gd name="connsiteX0" fmla="*/ 0 w 815"/>
              <a:gd name="connsiteY0" fmla="*/ 1190429 h 2181029"/>
              <a:gd name="connsiteX1" fmla="*/ 815 w 815"/>
              <a:gd name="connsiteY1" fmla="*/ 0 h 2181029"/>
              <a:gd name="connsiteX2" fmla="*/ 65 w 815"/>
              <a:gd name="connsiteY2" fmla="*/ 1190429 h 2181029"/>
              <a:gd name="connsiteX3" fmla="*/ 65 w 815"/>
              <a:gd name="connsiteY3" fmla="*/ 2028629 h 2181029"/>
              <a:gd name="connsiteX4" fmla="*/ 115 w 815"/>
              <a:gd name="connsiteY4" fmla="*/ 2104829 h 2181029"/>
              <a:gd name="connsiteX5" fmla="*/ 65 w 815"/>
              <a:gd name="connsiteY5" fmla="*/ 2181029 h 21810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41268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90599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0 w 114"/>
              <a:gd name="connsiteY5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0 w 114"/>
              <a:gd name="connsiteY4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65 w 65"/>
              <a:gd name="connsiteY2" fmla="*/ 841268 h 1828800"/>
              <a:gd name="connsiteX3" fmla="*/ 0 w 65"/>
              <a:gd name="connsiteY3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0 w 65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0 w 1242649"/>
              <a:gd name="connsiteY0" fmla="*/ 0 h 564923"/>
              <a:gd name="connsiteX1" fmla="*/ 1242649 w 1242649"/>
              <a:gd name="connsiteY1" fmla="*/ 564923 h 564923"/>
              <a:gd name="connsiteX0" fmla="*/ 0 w 1242649"/>
              <a:gd name="connsiteY0" fmla="*/ 0 h 564923"/>
              <a:gd name="connsiteX1" fmla="*/ 1242649 w 1242649"/>
              <a:gd name="connsiteY1" fmla="*/ 564923 h 564923"/>
              <a:gd name="connsiteX2" fmla="*/ 103189 w 1242649"/>
              <a:gd name="connsiteY2" fmla="*/ 0 h 564923"/>
              <a:gd name="connsiteX0" fmla="*/ 0 w 1242649"/>
              <a:gd name="connsiteY0" fmla="*/ 0 h 852518"/>
              <a:gd name="connsiteX1" fmla="*/ 1242649 w 1242649"/>
              <a:gd name="connsiteY1" fmla="*/ 564923 h 852518"/>
              <a:gd name="connsiteX2" fmla="*/ 103189 w 1242649"/>
              <a:gd name="connsiteY2" fmla="*/ 0 h 852518"/>
              <a:gd name="connsiteX3" fmla="*/ 103189 w 1242649"/>
              <a:gd name="connsiteY3" fmla="*/ 852518 h 852518"/>
              <a:gd name="connsiteX0" fmla="*/ 0 w 1242649"/>
              <a:gd name="connsiteY0" fmla="*/ 0 h 930019"/>
              <a:gd name="connsiteX1" fmla="*/ 1242649 w 1242649"/>
              <a:gd name="connsiteY1" fmla="*/ 564923 h 930019"/>
              <a:gd name="connsiteX2" fmla="*/ 103189 w 1242649"/>
              <a:gd name="connsiteY2" fmla="*/ 0 h 930019"/>
              <a:gd name="connsiteX3" fmla="*/ 103189 w 1242649"/>
              <a:gd name="connsiteY3" fmla="*/ 852518 h 930019"/>
              <a:gd name="connsiteX4" fmla="*/ 182564 w 1242649"/>
              <a:gd name="connsiteY4" fmla="*/ 930019 h 930019"/>
              <a:gd name="connsiteX0" fmla="*/ 0 w 1242649"/>
              <a:gd name="connsiteY0" fmla="*/ 0 h 1007521"/>
              <a:gd name="connsiteX1" fmla="*/ 1242649 w 1242649"/>
              <a:gd name="connsiteY1" fmla="*/ 564923 h 1007521"/>
              <a:gd name="connsiteX2" fmla="*/ 103189 w 1242649"/>
              <a:gd name="connsiteY2" fmla="*/ 0 h 1007521"/>
              <a:gd name="connsiteX3" fmla="*/ 103189 w 1242649"/>
              <a:gd name="connsiteY3" fmla="*/ 852518 h 1007521"/>
              <a:gd name="connsiteX4" fmla="*/ 182564 w 1242649"/>
              <a:gd name="connsiteY4" fmla="*/ 930019 h 1007521"/>
              <a:gd name="connsiteX5" fmla="*/ 103189 w 1242649"/>
              <a:gd name="connsiteY5" fmla="*/ 1007521 h 1007521"/>
              <a:gd name="connsiteX0" fmla="*/ 0 w 1242649"/>
              <a:gd name="connsiteY0" fmla="*/ 0 h 1860040"/>
              <a:gd name="connsiteX1" fmla="*/ 1242649 w 1242649"/>
              <a:gd name="connsiteY1" fmla="*/ 564923 h 1860040"/>
              <a:gd name="connsiteX2" fmla="*/ 103189 w 1242649"/>
              <a:gd name="connsiteY2" fmla="*/ 0 h 1860040"/>
              <a:gd name="connsiteX3" fmla="*/ 103189 w 1242649"/>
              <a:gd name="connsiteY3" fmla="*/ 852518 h 1860040"/>
              <a:gd name="connsiteX4" fmla="*/ 182564 w 1242649"/>
              <a:gd name="connsiteY4" fmla="*/ 930019 h 1860040"/>
              <a:gd name="connsiteX5" fmla="*/ 103189 w 1242649"/>
              <a:gd name="connsiteY5" fmla="*/ 1007521 h 1860040"/>
              <a:gd name="connsiteX6" fmla="*/ 103189 w 1242649"/>
              <a:gd name="connsiteY6" fmla="*/ 1860040 h 1860040"/>
              <a:gd name="connsiteX0" fmla="*/ 0 w 1242649"/>
              <a:gd name="connsiteY0" fmla="*/ 0 h 1860040"/>
              <a:gd name="connsiteX1" fmla="*/ 1242649 w 1242649"/>
              <a:gd name="connsiteY1" fmla="*/ 564923 h 1860040"/>
              <a:gd name="connsiteX2" fmla="*/ 103189 w 1242649"/>
              <a:gd name="connsiteY2" fmla="*/ 0 h 1860040"/>
              <a:gd name="connsiteX3" fmla="*/ 103189 w 1242649"/>
              <a:gd name="connsiteY3" fmla="*/ 852518 h 1860040"/>
              <a:gd name="connsiteX4" fmla="*/ 182564 w 1242649"/>
              <a:gd name="connsiteY4" fmla="*/ 930019 h 1860040"/>
              <a:gd name="connsiteX5" fmla="*/ 103189 w 1242649"/>
              <a:gd name="connsiteY5" fmla="*/ 1007521 h 1860040"/>
              <a:gd name="connsiteX6" fmla="*/ 103189 w 1242649"/>
              <a:gd name="connsiteY6" fmla="*/ 1860040 h 1860040"/>
              <a:gd name="connsiteX7" fmla="*/ 1 w 1242649"/>
              <a:gd name="connsiteY7" fmla="*/ 1860040 h 1860040"/>
              <a:gd name="connsiteX0" fmla="*/ 0 w 1242648"/>
              <a:gd name="connsiteY0" fmla="*/ 0 h 1860041"/>
              <a:gd name="connsiteX1" fmla="*/ 1242648 w 1242648"/>
              <a:gd name="connsiteY1" fmla="*/ 564924 h 1860041"/>
              <a:gd name="connsiteX2" fmla="*/ 103188 w 1242648"/>
              <a:gd name="connsiteY2" fmla="*/ 1 h 1860041"/>
              <a:gd name="connsiteX3" fmla="*/ 103188 w 1242648"/>
              <a:gd name="connsiteY3" fmla="*/ 852519 h 1860041"/>
              <a:gd name="connsiteX4" fmla="*/ 182563 w 1242648"/>
              <a:gd name="connsiteY4" fmla="*/ 930020 h 1860041"/>
              <a:gd name="connsiteX5" fmla="*/ 103188 w 1242648"/>
              <a:gd name="connsiteY5" fmla="*/ 1007522 h 1860041"/>
              <a:gd name="connsiteX6" fmla="*/ 103188 w 1242648"/>
              <a:gd name="connsiteY6" fmla="*/ 1860041 h 1860041"/>
              <a:gd name="connsiteX7" fmla="*/ 0 w 1242648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1 h 1860041"/>
              <a:gd name="connsiteX3" fmla="*/ 103188 w 182563"/>
              <a:gd name="connsiteY3" fmla="*/ 852519 h 1860041"/>
              <a:gd name="connsiteX4" fmla="*/ 182563 w 182563"/>
              <a:gd name="connsiteY4" fmla="*/ 930020 h 1860041"/>
              <a:gd name="connsiteX5" fmla="*/ 103188 w 182563"/>
              <a:gd name="connsiteY5" fmla="*/ 1007522 h 1860041"/>
              <a:gd name="connsiteX6" fmla="*/ 103188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03188 w 182563"/>
              <a:gd name="connsiteY3" fmla="*/ 852519 h 1860041"/>
              <a:gd name="connsiteX4" fmla="*/ 182563 w 182563"/>
              <a:gd name="connsiteY4" fmla="*/ 930020 h 1860041"/>
              <a:gd name="connsiteX5" fmla="*/ 103188 w 182563"/>
              <a:gd name="connsiteY5" fmla="*/ 1007522 h 1860041"/>
              <a:gd name="connsiteX6" fmla="*/ 103188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82563 w 182563"/>
              <a:gd name="connsiteY4" fmla="*/ 930020 h 1860041"/>
              <a:gd name="connsiteX5" fmla="*/ 103188 w 182563"/>
              <a:gd name="connsiteY5" fmla="*/ 1007522 h 1860041"/>
              <a:gd name="connsiteX6" fmla="*/ 103188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007522 h 1860041"/>
              <a:gd name="connsiteX6" fmla="*/ 103188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860041 h 1860041"/>
              <a:gd name="connsiteX6" fmla="*/ 103188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860041 h 1860041"/>
              <a:gd name="connsiteX6" fmla="*/ 0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3187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860041 h 1860041"/>
              <a:gd name="connsiteX6" fmla="*/ 0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4045 w 182563"/>
              <a:gd name="connsiteY1" fmla="*/ 0 h 1860041"/>
              <a:gd name="connsiteX2" fmla="*/ 103188 w 182563"/>
              <a:gd name="connsiteY2" fmla="*/ 85251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860041 h 1860041"/>
              <a:gd name="connsiteX6" fmla="*/ 0 w 182563"/>
              <a:gd name="connsiteY6" fmla="*/ 1860041 h 1860041"/>
              <a:gd name="connsiteX7" fmla="*/ 0 w 182563"/>
              <a:gd name="connsiteY7" fmla="*/ 1860041 h 1860041"/>
              <a:gd name="connsiteX0" fmla="*/ 0 w 182563"/>
              <a:gd name="connsiteY0" fmla="*/ 0 h 1860041"/>
              <a:gd name="connsiteX1" fmla="*/ 104045 w 182563"/>
              <a:gd name="connsiteY1" fmla="*/ 0 h 1860041"/>
              <a:gd name="connsiteX2" fmla="*/ 104045 w 182563"/>
              <a:gd name="connsiteY2" fmla="*/ 854479 h 1860041"/>
              <a:gd name="connsiteX3" fmla="*/ 182563 w 182563"/>
              <a:gd name="connsiteY3" fmla="*/ 930021 h 1860041"/>
              <a:gd name="connsiteX4" fmla="*/ 103188 w 182563"/>
              <a:gd name="connsiteY4" fmla="*/ 1007522 h 1860041"/>
              <a:gd name="connsiteX5" fmla="*/ 103188 w 182563"/>
              <a:gd name="connsiteY5" fmla="*/ 1860041 h 1860041"/>
              <a:gd name="connsiteX6" fmla="*/ 0 w 182563"/>
              <a:gd name="connsiteY6" fmla="*/ 1860041 h 1860041"/>
              <a:gd name="connsiteX7" fmla="*/ 0 w 182563"/>
              <a:gd name="connsiteY7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3188 w 184080"/>
              <a:gd name="connsiteY4" fmla="*/ 1007522 h 1860041"/>
              <a:gd name="connsiteX5" fmla="*/ 103188 w 184080"/>
              <a:gd name="connsiteY5" fmla="*/ 1860041 h 1860041"/>
              <a:gd name="connsiteX6" fmla="*/ 0 w 184080"/>
              <a:gd name="connsiteY6" fmla="*/ 1860041 h 1860041"/>
              <a:gd name="connsiteX7" fmla="*/ 0 w 184080"/>
              <a:gd name="connsiteY7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4045 w 184080"/>
              <a:gd name="connsiteY4" fmla="*/ 1005562 h 1860041"/>
              <a:gd name="connsiteX5" fmla="*/ 103188 w 184080"/>
              <a:gd name="connsiteY5" fmla="*/ 1860041 h 1860041"/>
              <a:gd name="connsiteX6" fmla="*/ 0 w 184080"/>
              <a:gd name="connsiteY6" fmla="*/ 1860041 h 1860041"/>
              <a:gd name="connsiteX7" fmla="*/ 0 w 184080"/>
              <a:gd name="connsiteY7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4045 w 184080"/>
              <a:gd name="connsiteY4" fmla="*/ 1005562 h 1860041"/>
              <a:gd name="connsiteX5" fmla="*/ 104045 w 184080"/>
              <a:gd name="connsiteY5" fmla="*/ 1860041 h 1860041"/>
              <a:gd name="connsiteX6" fmla="*/ 0 w 184080"/>
              <a:gd name="connsiteY6" fmla="*/ 1860041 h 1860041"/>
              <a:gd name="connsiteX7" fmla="*/ 0 w 184080"/>
              <a:gd name="connsiteY7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4045 w 184080"/>
              <a:gd name="connsiteY4" fmla="*/ 1005562 h 1860041"/>
              <a:gd name="connsiteX5" fmla="*/ 104045 w 184080"/>
              <a:gd name="connsiteY5" fmla="*/ 1860041 h 1860041"/>
              <a:gd name="connsiteX6" fmla="*/ 0 w 184080"/>
              <a:gd name="connsiteY6" fmla="*/ 1860041 h 1860041"/>
              <a:gd name="connsiteX7" fmla="*/ 0 w 184080"/>
              <a:gd name="connsiteY7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4045 w 184080"/>
              <a:gd name="connsiteY4" fmla="*/ 1005562 h 1860041"/>
              <a:gd name="connsiteX5" fmla="*/ 104045 w 184080"/>
              <a:gd name="connsiteY5" fmla="*/ 1860041 h 1860041"/>
              <a:gd name="connsiteX6" fmla="*/ 0 w 184080"/>
              <a:gd name="connsiteY6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104045 w 184080"/>
              <a:gd name="connsiteY4" fmla="*/ 1005562 h 1860041"/>
              <a:gd name="connsiteX5" fmla="*/ 0 w 184080"/>
              <a:gd name="connsiteY5" fmla="*/ 1860041 h 1860041"/>
              <a:gd name="connsiteX0" fmla="*/ 0 w 184080"/>
              <a:gd name="connsiteY0" fmla="*/ 0 h 1860041"/>
              <a:gd name="connsiteX1" fmla="*/ 104045 w 184080"/>
              <a:gd name="connsiteY1" fmla="*/ 0 h 1860041"/>
              <a:gd name="connsiteX2" fmla="*/ 104045 w 184080"/>
              <a:gd name="connsiteY2" fmla="*/ 854479 h 1860041"/>
              <a:gd name="connsiteX3" fmla="*/ 184080 w 184080"/>
              <a:gd name="connsiteY3" fmla="*/ 930021 h 1860041"/>
              <a:gd name="connsiteX4" fmla="*/ 0 w 184080"/>
              <a:gd name="connsiteY4" fmla="*/ 1860041 h 1860041"/>
              <a:gd name="connsiteX0" fmla="*/ 0 w 104045"/>
              <a:gd name="connsiteY0" fmla="*/ 0 h 1860041"/>
              <a:gd name="connsiteX1" fmla="*/ 104045 w 104045"/>
              <a:gd name="connsiteY1" fmla="*/ 0 h 1860041"/>
              <a:gd name="connsiteX2" fmla="*/ 104045 w 104045"/>
              <a:gd name="connsiteY2" fmla="*/ 854479 h 1860041"/>
              <a:gd name="connsiteX3" fmla="*/ 0 w 104045"/>
              <a:gd name="connsiteY3" fmla="*/ 1860041 h 1860041"/>
              <a:gd name="connsiteX0" fmla="*/ 0 w 104045"/>
              <a:gd name="connsiteY0" fmla="*/ 0 h 1860041"/>
              <a:gd name="connsiteX1" fmla="*/ 104045 w 104045"/>
              <a:gd name="connsiteY1" fmla="*/ 0 h 1860041"/>
              <a:gd name="connsiteX2" fmla="*/ 0 w 104045"/>
              <a:gd name="connsiteY2" fmla="*/ 1860041 h 1860041"/>
              <a:gd name="connsiteX0" fmla="*/ 0 w 0"/>
              <a:gd name="connsiteY0" fmla="*/ 0 h 1860041"/>
              <a:gd name="connsiteX1" fmla="*/ 0 w 0"/>
              <a:gd name="connsiteY1" fmla="*/ 1860041 h 1860041"/>
              <a:gd name="connsiteX0" fmla="*/ 0 w 763509"/>
              <a:gd name="connsiteY0" fmla="*/ 0 h 1374490"/>
              <a:gd name="connsiteX1" fmla="*/ 763509 w 763509"/>
              <a:gd name="connsiteY1" fmla="*/ 1374490 h 1374490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3" fmla="*/ 103189 w 763509"/>
              <a:gd name="connsiteY3" fmla="*/ 533051 h 1374491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3" fmla="*/ 103189 w 763509"/>
              <a:gd name="connsiteY3" fmla="*/ 533051 h 1374491"/>
              <a:gd name="connsiteX4" fmla="*/ 182564 w 763509"/>
              <a:gd name="connsiteY4" fmla="*/ 581510 h 1374491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3" fmla="*/ 103189 w 763509"/>
              <a:gd name="connsiteY3" fmla="*/ 533051 h 1374491"/>
              <a:gd name="connsiteX4" fmla="*/ 182564 w 763509"/>
              <a:gd name="connsiteY4" fmla="*/ 581510 h 1374491"/>
              <a:gd name="connsiteX5" fmla="*/ 103189 w 763509"/>
              <a:gd name="connsiteY5" fmla="*/ 629969 h 1374491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3" fmla="*/ 103189 w 763509"/>
              <a:gd name="connsiteY3" fmla="*/ 533051 h 1374491"/>
              <a:gd name="connsiteX4" fmla="*/ 182564 w 763509"/>
              <a:gd name="connsiteY4" fmla="*/ 581510 h 1374491"/>
              <a:gd name="connsiteX5" fmla="*/ 103189 w 763509"/>
              <a:gd name="connsiteY5" fmla="*/ 629969 h 1374491"/>
              <a:gd name="connsiteX6" fmla="*/ 103189 w 763509"/>
              <a:gd name="connsiteY6" fmla="*/ 1163019 h 1374491"/>
              <a:gd name="connsiteX0" fmla="*/ 0 w 763509"/>
              <a:gd name="connsiteY0" fmla="*/ 1 h 1374491"/>
              <a:gd name="connsiteX1" fmla="*/ 763509 w 763509"/>
              <a:gd name="connsiteY1" fmla="*/ 1374491 h 1374491"/>
              <a:gd name="connsiteX2" fmla="*/ 103189 w 763509"/>
              <a:gd name="connsiteY2" fmla="*/ 0 h 1374491"/>
              <a:gd name="connsiteX3" fmla="*/ 103189 w 763509"/>
              <a:gd name="connsiteY3" fmla="*/ 533051 h 1374491"/>
              <a:gd name="connsiteX4" fmla="*/ 182564 w 763509"/>
              <a:gd name="connsiteY4" fmla="*/ 581510 h 1374491"/>
              <a:gd name="connsiteX5" fmla="*/ 103189 w 763509"/>
              <a:gd name="connsiteY5" fmla="*/ 629969 h 1374491"/>
              <a:gd name="connsiteX6" fmla="*/ 103189 w 763509"/>
              <a:gd name="connsiteY6" fmla="*/ 1163019 h 1374491"/>
              <a:gd name="connsiteX7" fmla="*/ 1 w 763509"/>
              <a:gd name="connsiteY7" fmla="*/ 1163019 h 1374491"/>
              <a:gd name="connsiteX0" fmla="*/ 0 w 763508"/>
              <a:gd name="connsiteY0" fmla="*/ 1 h 1374491"/>
              <a:gd name="connsiteX1" fmla="*/ 763508 w 763508"/>
              <a:gd name="connsiteY1" fmla="*/ 1374491 h 1374491"/>
              <a:gd name="connsiteX2" fmla="*/ 103188 w 763508"/>
              <a:gd name="connsiteY2" fmla="*/ 0 h 1374491"/>
              <a:gd name="connsiteX3" fmla="*/ 103188 w 763508"/>
              <a:gd name="connsiteY3" fmla="*/ 533051 h 1374491"/>
              <a:gd name="connsiteX4" fmla="*/ 182563 w 763508"/>
              <a:gd name="connsiteY4" fmla="*/ 581510 h 1374491"/>
              <a:gd name="connsiteX5" fmla="*/ 103188 w 763508"/>
              <a:gd name="connsiteY5" fmla="*/ 629969 h 1374491"/>
              <a:gd name="connsiteX6" fmla="*/ 103188 w 763508"/>
              <a:gd name="connsiteY6" fmla="*/ 1163019 h 1374491"/>
              <a:gd name="connsiteX7" fmla="*/ 0 w 763508"/>
              <a:gd name="connsiteY7" fmla="*/ 1163019 h 1374491"/>
              <a:gd name="connsiteX0" fmla="*/ 0 w 182563"/>
              <a:gd name="connsiteY0" fmla="*/ 1 h 1163019"/>
              <a:gd name="connsiteX1" fmla="*/ 103187 w 182563"/>
              <a:gd name="connsiteY1" fmla="*/ 1 h 1163019"/>
              <a:gd name="connsiteX2" fmla="*/ 103188 w 182563"/>
              <a:gd name="connsiteY2" fmla="*/ 0 h 1163019"/>
              <a:gd name="connsiteX3" fmla="*/ 103188 w 182563"/>
              <a:gd name="connsiteY3" fmla="*/ 533051 h 1163019"/>
              <a:gd name="connsiteX4" fmla="*/ 182563 w 182563"/>
              <a:gd name="connsiteY4" fmla="*/ 581510 h 1163019"/>
              <a:gd name="connsiteX5" fmla="*/ 103188 w 182563"/>
              <a:gd name="connsiteY5" fmla="*/ 629969 h 1163019"/>
              <a:gd name="connsiteX6" fmla="*/ 103188 w 182563"/>
              <a:gd name="connsiteY6" fmla="*/ 1163019 h 1163019"/>
              <a:gd name="connsiteX7" fmla="*/ 0 w 182563"/>
              <a:gd name="connsiteY7" fmla="*/ 1163019 h 1163019"/>
              <a:gd name="connsiteX0" fmla="*/ 0 w 182563"/>
              <a:gd name="connsiteY0" fmla="*/ 0 h 1163018"/>
              <a:gd name="connsiteX1" fmla="*/ 103187 w 182563"/>
              <a:gd name="connsiteY1" fmla="*/ 0 h 1163018"/>
              <a:gd name="connsiteX2" fmla="*/ 103188 w 182563"/>
              <a:gd name="connsiteY2" fmla="*/ 533050 h 1163018"/>
              <a:gd name="connsiteX3" fmla="*/ 103188 w 182563"/>
              <a:gd name="connsiteY3" fmla="*/ 533050 h 1163018"/>
              <a:gd name="connsiteX4" fmla="*/ 182563 w 182563"/>
              <a:gd name="connsiteY4" fmla="*/ 581509 h 1163018"/>
              <a:gd name="connsiteX5" fmla="*/ 103188 w 182563"/>
              <a:gd name="connsiteY5" fmla="*/ 629968 h 1163018"/>
              <a:gd name="connsiteX6" fmla="*/ 103188 w 182563"/>
              <a:gd name="connsiteY6" fmla="*/ 1163018 h 1163018"/>
              <a:gd name="connsiteX7" fmla="*/ 0 w 182563"/>
              <a:gd name="connsiteY7" fmla="*/ 1163018 h 1163018"/>
              <a:gd name="connsiteX0" fmla="*/ 0 w 182563"/>
              <a:gd name="connsiteY0" fmla="*/ 0 h 1163018"/>
              <a:gd name="connsiteX1" fmla="*/ 103187 w 182563"/>
              <a:gd name="connsiteY1" fmla="*/ 0 h 1163018"/>
              <a:gd name="connsiteX2" fmla="*/ 103188 w 182563"/>
              <a:gd name="connsiteY2" fmla="*/ 533050 h 1163018"/>
              <a:gd name="connsiteX3" fmla="*/ 182563 w 182563"/>
              <a:gd name="connsiteY3" fmla="*/ 581509 h 1163018"/>
              <a:gd name="connsiteX4" fmla="*/ 182563 w 182563"/>
              <a:gd name="connsiteY4" fmla="*/ 581509 h 1163018"/>
              <a:gd name="connsiteX5" fmla="*/ 103188 w 182563"/>
              <a:gd name="connsiteY5" fmla="*/ 629968 h 1163018"/>
              <a:gd name="connsiteX6" fmla="*/ 103188 w 182563"/>
              <a:gd name="connsiteY6" fmla="*/ 1163018 h 1163018"/>
              <a:gd name="connsiteX7" fmla="*/ 0 w 182563"/>
              <a:gd name="connsiteY7" fmla="*/ 1163018 h 1163018"/>
              <a:gd name="connsiteX0" fmla="*/ 0 w 182563"/>
              <a:gd name="connsiteY0" fmla="*/ 0 h 1163018"/>
              <a:gd name="connsiteX1" fmla="*/ 103187 w 182563"/>
              <a:gd name="connsiteY1" fmla="*/ 0 h 1163018"/>
              <a:gd name="connsiteX2" fmla="*/ 103188 w 182563"/>
              <a:gd name="connsiteY2" fmla="*/ 533050 h 1163018"/>
              <a:gd name="connsiteX3" fmla="*/ 182563 w 182563"/>
              <a:gd name="connsiteY3" fmla="*/ 581509 h 1163018"/>
              <a:gd name="connsiteX4" fmla="*/ 103188 w 182563"/>
              <a:gd name="connsiteY4" fmla="*/ 629968 h 1163018"/>
              <a:gd name="connsiteX5" fmla="*/ 103188 w 182563"/>
              <a:gd name="connsiteY5" fmla="*/ 629968 h 1163018"/>
              <a:gd name="connsiteX6" fmla="*/ 103188 w 182563"/>
              <a:gd name="connsiteY6" fmla="*/ 1163018 h 1163018"/>
              <a:gd name="connsiteX7" fmla="*/ 0 w 182563"/>
              <a:gd name="connsiteY7" fmla="*/ 1163018 h 1163018"/>
              <a:gd name="connsiteX0" fmla="*/ 0 w 182563"/>
              <a:gd name="connsiteY0" fmla="*/ 0 h 1163019"/>
              <a:gd name="connsiteX1" fmla="*/ 103187 w 182563"/>
              <a:gd name="connsiteY1" fmla="*/ 0 h 1163019"/>
              <a:gd name="connsiteX2" fmla="*/ 103188 w 182563"/>
              <a:gd name="connsiteY2" fmla="*/ 533050 h 1163019"/>
              <a:gd name="connsiteX3" fmla="*/ 182563 w 182563"/>
              <a:gd name="connsiteY3" fmla="*/ 581509 h 1163019"/>
              <a:gd name="connsiteX4" fmla="*/ 103188 w 182563"/>
              <a:gd name="connsiteY4" fmla="*/ 629968 h 1163019"/>
              <a:gd name="connsiteX5" fmla="*/ 103188 w 182563"/>
              <a:gd name="connsiteY5" fmla="*/ 1163019 h 1163019"/>
              <a:gd name="connsiteX6" fmla="*/ 103188 w 182563"/>
              <a:gd name="connsiteY6" fmla="*/ 1163018 h 1163019"/>
              <a:gd name="connsiteX7" fmla="*/ 0 w 182563"/>
              <a:gd name="connsiteY7" fmla="*/ 1163018 h 1163019"/>
              <a:gd name="connsiteX0" fmla="*/ 0 w 182563"/>
              <a:gd name="connsiteY0" fmla="*/ 0 h 1163019"/>
              <a:gd name="connsiteX1" fmla="*/ 103187 w 182563"/>
              <a:gd name="connsiteY1" fmla="*/ 0 h 1163019"/>
              <a:gd name="connsiteX2" fmla="*/ 103188 w 182563"/>
              <a:gd name="connsiteY2" fmla="*/ 533050 h 1163019"/>
              <a:gd name="connsiteX3" fmla="*/ 182563 w 182563"/>
              <a:gd name="connsiteY3" fmla="*/ 581509 h 1163019"/>
              <a:gd name="connsiteX4" fmla="*/ 103188 w 182563"/>
              <a:gd name="connsiteY4" fmla="*/ 629968 h 1163019"/>
              <a:gd name="connsiteX5" fmla="*/ 103188 w 182563"/>
              <a:gd name="connsiteY5" fmla="*/ 1163019 h 1163019"/>
              <a:gd name="connsiteX6" fmla="*/ 0 w 182563"/>
              <a:gd name="connsiteY6" fmla="*/ 1163018 h 1163019"/>
              <a:gd name="connsiteX7" fmla="*/ 0 w 182563"/>
              <a:gd name="connsiteY7" fmla="*/ 1163018 h 1163019"/>
              <a:gd name="connsiteX0" fmla="*/ 0 w 182563"/>
              <a:gd name="connsiteY0" fmla="*/ 0 h 1163019"/>
              <a:gd name="connsiteX1" fmla="*/ 103187 w 182563"/>
              <a:gd name="connsiteY1" fmla="*/ 0 h 1163019"/>
              <a:gd name="connsiteX2" fmla="*/ 103188 w 182563"/>
              <a:gd name="connsiteY2" fmla="*/ 533050 h 1163019"/>
              <a:gd name="connsiteX3" fmla="*/ 182563 w 182563"/>
              <a:gd name="connsiteY3" fmla="*/ 581509 h 1163019"/>
              <a:gd name="connsiteX4" fmla="*/ 103188 w 182563"/>
              <a:gd name="connsiteY4" fmla="*/ 629968 h 1163019"/>
              <a:gd name="connsiteX5" fmla="*/ 103188 w 182563"/>
              <a:gd name="connsiteY5" fmla="*/ 1163019 h 1163019"/>
              <a:gd name="connsiteX6" fmla="*/ 0 w 182563"/>
              <a:gd name="connsiteY6" fmla="*/ 1163018 h 1163019"/>
              <a:gd name="connsiteX7" fmla="*/ 0 w 182563"/>
              <a:gd name="connsiteY7" fmla="*/ 1163018 h 1163019"/>
              <a:gd name="connsiteX0" fmla="*/ 0 w 182563"/>
              <a:gd name="connsiteY0" fmla="*/ 0 h 1163019"/>
              <a:gd name="connsiteX1" fmla="*/ 63963 w 182563"/>
              <a:gd name="connsiteY1" fmla="*/ 0 h 1163019"/>
              <a:gd name="connsiteX2" fmla="*/ 103188 w 182563"/>
              <a:gd name="connsiteY2" fmla="*/ 533050 h 1163019"/>
              <a:gd name="connsiteX3" fmla="*/ 182563 w 182563"/>
              <a:gd name="connsiteY3" fmla="*/ 581509 h 1163019"/>
              <a:gd name="connsiteX4" fmla="*/ 103188 w 182563"/>
              <a:gd name="connsiteY4" fmla="*/ 629968 h 1163019"/>
              <a:gd name="connsiteX5" fmla="*/ 103188 w 182563"/>
              <a:gd name="connsiteY5" fmla="*/ 1163019 h 1163019"/>
              <a:gd name="connsiteX6" fmla="*/ 0 w 182563"/>
              <a:gd name="connsiteY6" fmla="*/ 1163018 h 1163019"/>
              <a:gd name="connsiteX7" fmla="*/ 0 w 182563"/>
              <a:gd name="connsiteY7" fmla="*/ 1163018 h 1163019"/>
              <a:gd name="connsiteX0" fmla="*/ 0 w 182563"/>
              <a:gd name="connsiteY0" fmla="*/ 0 h 1163019"/>
              <a:gd name="connsiteX1" fmla="*/ 63963 w 182563"/>
              <a:gd name="connsiteY1" fmla="*/ 0 h 1163019"/>
              <a:gd name="connsiteX2" fmla="*/ 63963 w 182563"/>
              <a:gd name="connsiteY2" fmla="*/ 552472 h 1163019"/>
              <a:gd name="connsiteX3" fmla="*/ 182563 w 182563"/>
              <a:gd name="connsiteY3" fmla="*/ 581509 h 1163019"/>
              <a:gd name="connsiteX4" fmla="*/ 103188 w 182563"/>
              <a:gd name="connsiteY4" fmla="*/ 629968 h 1163019"/>
              <a:gd name="connsiteX5" fmla="*/ 103188 w 182563"/>
              <a:gd name="connsiteY5" fmla="*/ 1163019 h 1163019"/>
              <a:gd name="connsiteX6" fmla="*/ 0 w 182563"/>
              <a:gd name="connsiteY6" fmla="*/ 1163018 h 1163019"/>
              <a:gd name="connsiteX7" fmla="*/ 0 w 182563"/>
              <a:gd name="connsiteY7" fmla="*/ 1163018 h 1163019"/>
              <a:gd name="connsiteX0" fmla="*/ 0 w 113166"/>
              <a:gd name="connsiteY0" fmla="*/ 0 h 1163019"/>
              <a:gd name="connsiteX1" fmla="*/ 63963 w 113166"/>
              <a:gd name="connsiteY1" fmla="*/ 0 h 1163019"/>
              <a:gd name="connsiteX2" fmla="*/ 63963 w 113166"/>
              <a:gd name="connsiteY2" fmla="*/ 552472 h 1163019"/>
              <a:gd name="connsiteX3" fmla="*/ 113166 w 113166"/>
              <a:gd name="connsiteY3" fmla="*/ 581509 h 1163019"/>
              <a:gd name="connsiteX4" fmla="*/ 103188 w 113166"/>
              <a:gd name="connsiteY4" fmla="*/ 629968 h 1163019"/>
              <a:gd name="connsiteX5" fmla="*/ 103188 w 113166"/>
              <a:gd name="connsiteY5" fmla="*/ 1163019 h 1163019"/>
              <a:gd name="connsiteX6" fmla="*/ 0 w 113166"/>
              <a:gd name="connsiteY6" fmla="*/ 1163018 h 1163019"/>
              <a:gd name="connsiteX7" fmla="*/ 0 w 113166"/>
              <a:gd name="connsiteY7" fmla="*/ 1163018 h 1163019"/>
              <a:gd name="connsiteX0" fmla="*/ 0 w 113166"/>
              <a:gd name="connsiteY0" fmla="*/ 0 h 1163019"/>
              <a:gd name="connsiteX1" fmla="*/ 63963 w 113166"/>
              <a:gd name="connsiteY1" fmla="*/ 0 h 1163019"/>
              <a:gd name="connsiteX2" fmla="*/ 63963 w 113166"/>
              <a:gd name="connsiteY2" fmla="*/ 552472 h 1163019"/>
              <a:gd name="connsiteX3" fmla="*/ 113166 w 113166"/>
              <a:gd name="connsiteY3" fmla="*/ 581509 h 1163019"/>
              <a:gd name="connsiteX4" fmla="*/ 63963 w 113166"/>
              <a:gd name="connsiteY4" fmla="*/ 610547 h 1163019"/>
              <a:gd name="connsiteX5" fmla="*/ 103188 w 113166"/>
              <a:gd name="connsiteY5" fmla="*/ 1163019 h 1163019"/>
              <a:gd name="connsiteX6" fmla="*/ 0 w 113166"/>
              <a:gd name="connsiteY6" fmla="*/ 1163018 h 1163019"/>
              <a:gd name="connsiteX7" fmla="*/ 0 w 113166"/>
              <a:gd name="connsiteY7" fmla="*/ 1163018 h 1163019"/>
              <a:gd name="connsiteX0" fmla="*/ 0 w 113166"/>
              <a:gd name="connsiteY0" fmla="*/ 0 h 1163019"/>
              <a:gd name="connsiteX1" fmla="*/ 63963 w 113166"/>
              <a:gd name="connsiteY1" fmla="*/ 0 h 1163019"/>
              <a:gd name="connsiteX2" fmla="*/ 63963 w 113166"/>
              <a:gd name="connsiteY2" fmla="*/ 552472 h 1163019"/>
              <a:gd name="connsiteX3" fmla="*/ 113166 w 113166"/>
              <a:gd name="connsiteY3" fmla="*/ 581509 h 1163019"/>
              <a:gd name="connsiteX4" fmla="*/ 63963 w 113166"/>
              <a:gd name="connsiteY4" fmla="*/ 610547 h 1163019"/>
              <a:gd name="connsiteX5" fmla="*/ 63963 w 113166"/>
              <a:gd name="connsiteY5" fmla="*/ 1163019 h 1163019"/>
              <a:gd name="connsiteX6" fmla="*/ 0 w 113166"/>
              <a:gd name="connsiteY6" fmla="*/ 1163018 h 1163019"/>
              <a:gd name="connsiteX7" fmla="*/ 0 w 113166"/>
              <a:gd name="connsiteY7" fmla="*/ 1163018 h 1163019"/>
              <a:gd name="connsiteX0" fmla="*/ 0 w 113166"/>
              <a:gd name="connsiteY0" fmla="*/ 0 h 1163019"/>
              <a:gd name="connsiteX1" fmla="*/ 63963 w 113166"/>
              <a:gd name="connsiteY1" fmla="*/ 0 h 1163019"/>
              <a:gd name="connsiteX2" fmla="*/ 63963 w 113166"/>
              <a:gd name="connsiteY2" fmla="*/ 552472 h 1163019"/>
              <a:gd name="connsiteX3" fmla="*/ 113166 w 113166"/>
              <a:gd name="connsiteY3" fmla="*/ 581509 h 1163019"/>
              <a:gd name="connsiteX4" fmla="*/ 63963 w 113166"/>
              <a:gd name="connsiteY4" fmla="*/ 610547 h 1163019"/>
              <a:gd name="connsiteX5" fmla="*/ 63963 w 113166"/>
              <a:gd name="connsiteY5" fmla="*/ 1163019 h 1163019"/>
              <a:gd name="connsiteX6" fmla="*/ 0 w 113166"/>
              <a:gd name="connsiteY6" fmla="*/ 1163019 h 1163019"/>
              <a:gd name="connsiteX7" fmla="*/ 0 w 113166"/>
              <a:gd name="connsiteY7" fmla="*/ 1163018 h 1163019"/>
              <a:gd name="connsiteX0" fmla="*/ 0 w 113166"/>
              <a:gd name="connsiteY0" fmla="*/ 0 h 1163019"/>
              <a:gd name="connsiteX1" fmla="*/ 63963 w 113166"/>
              <a:gd name="connsiteY1" fmla="*/ 0 h 1163019"/>
              <a:gd name="connsiteX2" fmla="*/ 63963 w 113166"/>
              <a:gd name="connsiteY2" fmla="*/ 552472 h 1163019"/>
              <a:gd name="connsiteX3" fmla="*/ 113166 w 113166"/>
              <a:gd name="connsiteY3" fmla="*/ 581509 h 1163019"/>
              <a:gd name="connsiteX4" fmla="*/ 63963 w 113166"/>
              <a:gd name="connsiteY4" fmla="*/ 610547 h 1163019"/>
              <a:gd name="connsiteX5" fmla="*/ 63963 w 113166"/>
              <a:gd name="connsiteY5" fmla="*/ 1163019 h 1163019"/>
              <a:gd name="connsiteX6" fmla="*/ 0 w 113166"/>
              <a:gd name="connsiteY6" fmla="*/ 1163018 h 1163019"/>
              <a:gd name="connsiteX0" fmla="*/ 0 w 113166"/>
              <a:gd name="connsiteY0" fmla="*/ 0 h 1163018"/>
              <a:gd name="connsiteX1" fmla="*/ 63963 w 113166"/>
              <a:gd name="connsiteY1" fmla="*/ 0 h 1163018"/>
              <a:gd name="connsiteX2" fmla="*/ 63963 w 113166"/>
              <a:gd name="connsiteY2" fmla="*/ 552472 h 1163018"/>
              <a:gd name="connsiteX3" fmla="*/ 113166 w 113166"/>
              <a:gd name="connsiteY3" fmla="*/ 581509 h 1163018"/>
              <a:gd name="connsiteX4" fmla="*/ 63963 w 113166"/>
              <a:gd name="connsiteY4" fmla="*/ 610547 h 1163018"/>
              <a:gd name="connsiteX5" fmla="*/ 0 w 113166"/>
              <a:gd name="connsiteY5" fmla="*/ 1163018 h 1163018"/>
              <a:gd name="connsiteX0" fmla="*/ 0 w 113166"/>
              <a:gd name="connsiteY0" fmla="*/ 0 h 1163018"/>
              <a:gd name="connsiteX1" fmla="*/ 63963 w 113166"/>
              <a:gd name="connsiteY1" fmla="*/ 0 h 1163018"/>
              <a:gd name="connsiteX2" fmla="*/ 63963 w 113166"/>
              <a:gd name="connsiteY2" fmla="*/ 552472 h 1163018"/>
              <a:gd name="connsiteX3" fmla="*/ 113166 w 113166"/>
              <a:gd name="connsiteY3" fmla="*/ 581509 h 1163018"/>
              <a:gd name="connsiteX4" fmla="*/ 0 w 113166"/>
              <a:gd name="connsiteY4" fmla="*/ 1163018 h 1163018"/>
              <a:gd name="connsiteX0" fmla="*/ 0 w 63963"/>
              <a:gd name="connsiteY0" fmla="*/ 0 h 1163018"/>
              <a:gd name="connsiteX1" fmla="*/ 63963 w 63963"/>
              <a:gd name="connsiteY1" fmla="*/ 0 h 1163018"/>
              <a:gd name="connsiteX2" fmla="*/ 63963 w 63963"/>
              <a:gd name="connsiteY2" fmla="*/ 552472 h 1163018"/>
              <a:gd name="connsiteX3" fmla="*/ 0 w 63963"/>
              <a:gd name="connsiteY3" fmla="*/ 1163018 h 1163018"/>
              <a:gd name="connsiteX0" fmla="*/ 0 w 63963"/>
              <a:gd name="connsiteY0" fmla="*/ 0 h 1163018"/>
              <a:gd name="connsiteX1" fmla="*/ 63963 w 63963"/>
              <a:gd name="connsiteY1" fmla="*/ 0 h 1163018"/>
              <a:gd name="connsiteX2" fmla="*/ 0 w 63963"/>
              <a:gd name="connsiteY2" fmla="*/ 1163018 h 1163018"/>
              <a:gd name="connsiteX0" fmla="*/ 0 w 0"/>
              <a:gd name="connsiteY0" fmla="*/ 0 h 1163018"/>
              <a:gd name="connsiteX1" fmla="*/ 0 w 0"/>
              <a:gd name="connsiteY1" fmla="*/ 1163018 h 1163018"/>
              <a:gd name="connsiteX0" fmla="*/ 126448 w 126448"/>
              <a:gd name="connsiteY0" fmla="*/ 0 h 1209846"/>
              <a:gd name="connsiteX1" fmla="*/ 0 w 126448"/>
              <a:gd name="connsiteY1" fmla="*/ 1209846 h 1209846"/>
              <a:gd name="connsiteX0" fmla="*/ 126448 w 229635"/>
              <a:gd name="connsiteY0" fmla="*/ 0 h 1209846"/>
              <a:gd name="connsiteX1" fmla="*/ 0 w 229635"/>
              <a:gd name="connsiteY1" fmla="*/ 1209846 h 1209846"/>
              <a:gd name="connsiteX2" fmla="*/ 229635 w 229635"/>
              <a:gd name="connsiteY2" fmla="*/ 0 h 1209846"/>
              <a:gd name="connsiteX0" fmla="*/ 126448 w 229635"/>
              <a:gd name="connsiteY0" fmla="*/ 0 h 1209846"/>
              <a:gd name="connsiteX1" fmla="*/ 0 w 229635"/>
              <a:gd name="connsiteY1" fmla="*/ 1209846 h 1209846"/>
              <a:gd name="connsiteX2" fmla="*/ 229635 w 229635"/>
              <a:gd name="connsiteY2" fmla="*/ 0 h 1209846"/>
              <a:gd name="connsiteX3" fmla="*/ 229635 w 229635"/>
              <a:gd name="connsiteY3" fmla="*/ 310417 h 1209846"/>
              <a:gd name="connsiteX0" fmla="*/ 126448 w 309010"/>
              <a:gd name="connsiteY0" fmla="*/ 0 h 1209846"/>
              <a:gd name="connsiteX1" fmla="*/ 0 w 309010"/>
              <a:gd name="connsiteY1" fmla="*/ 1209846 h 1209846"/>
              <a:gd name="connsiteX2" fmla="*/ 229635 w 309010"/>
              <a:gd name="connsiteY2" fmla="*/ 0 h 1209846"/>
              <a:gd name="connsiteX3" fmla="*/ 229635 w 309010"/>
              <a:gd name="connsiteY3" fmla="*/ 310417 h 1209846"/>
              <a:gd name="connsiteX4" fmla="*/ 309010 w 309010"/>
              <a:gd name="connsiteY4" fmla="*/ 338637 h 1209846"/>
              <a:gd name="connsiteX0" fmla="*/ 126448 w 309010"/>
              <a:gd name="connsiteY0" fmla="*/ 0 h 1209846"/>
              <a:gd name="connsiteX1" fmla="*/ 0 w 309010"/>
              <a:gd name="connsiteY1" fmla="*/ 1209846 h 1209846"/>
              <a:gd name="connsiteX2" fmla="*/ 229635 w 309010"/>
              <a:gd name="connsiteY2" fmla="*/ 0 h 1209846"/>
              <a:gd name="connsiteX3" fmla="*/ 229635 w 309010"/>
              <a:gd name="connsiteY3" fmla="*/ 310417 h 1209846"/>
              <a:gd name="connsiteX4" fmla="*/ 309010 w 309010"/>
              <a:gd name="connsiteY4" fmla="*/ 338637 h 1209846"/>
              <a:gd name="connsiteX5" fmla="*/ 229634 w 309010"/>
              <a:gd name="connsiteY5" fmla="*/ 366857 h 1209846"/>
              <a:gd name="connsiteX0" fmla="*/ 126448 w 309010"/>
              <a:gd name="connsiteY0" fmla="*/ 0 h 1209846"/>
              <a:gd name="connsiteX1" fmla="*/ 0 w 309010"/>
              <a:gd name="connsiteY1" fmla="*/ 1209846 h 1209846"/>
              <a:gd name="connsiteX2" fmla="*/ 229635 w 309010"/>
              <a:gd name="connsiteY2" fmla="*/ 0 h 1209846"/>
              <a:gd name="connsiteX3" fmla="*/ 229635 w 309010"/>
              <a:gd name="connsiteY3" fmla="*/ 310417 h 1209846"/>
              <a:gd name="connsiteX4" fmla="*/ 309010 w 309010"/>
              <a:gd name="connsiteY4" fmla="*/ 338637 h 1209846"/>
              <a:gd name="connsiteX5" fmla="*/ 229634 w 309010"/>
              <a:gd name="connsiteY5" fmla="*/ 366857 h 1209846"/>
              <a:gd name="connsiteX6" fmla="*/ 229634 w 309010"/>
              <a:gd name="connsiteY6" fmla="*/ 677275 h 1209846"/>
              <a:gd name="connsiteX0" fmla="*/ 126448 w 309010"/>
              <a:gd name="connsiteY0" fmla="*/ 0 h 1209846"/>
              <a:gd name="connsiteX1" fmla="*/ 0 w 309010"/>
              <a:gd name="connsiteY1" fmla="*/ 1209846 h 1209846"/>
              <a:gd name="connsiteX2" fmla="*/ 229635 w 309010"/>
              <a:gd name="connsiteY2" fmla="*/ 0 h 1209846"/>
              <a:gd name="connsiteX3" fmla="*/ 229635 w 309010"/>
              <a:gd name="connsiteY3" fmla="*/ 310417 h 1209846"/>
              <a:gd name="connsiteX4" fmla="*/ 309010 w 309010"/>
              <a:gd name="connsiteY4" fmla="*/ 338637 h 1209846"/>
              <a:gd name="connsiteX5" fmla="*/ 229634 w 309010"/>
              <a:gd name="connsiteY5" fmla="*/ 366857 h 1209846"/>
              <a:gd name="connsiteX6" fmla="*/ 229634 w 309010"/>
              <a:gd name="connsiteY6" fmla="*/ 677275 h 1209846"/>
              <a:gd name="connsiteX7" fmla="*/ 126447 w 309010"/>
              <a:gd name="connsiteY7" fmla="*/ 677275 h 1209846"/>
              <a:gd name="connsiteX0" fmla="*/ 126447 w 309010"/>
              <a:gd name="connsiteY0" fmla="*/ 0 h 1209846"/>
              <a:gd name="connsiteX1" fmla="*/ 0 w 309010"/>
              <a:gd name="connsiteY1" fmla="*/ 1209846 h 1209846"/>
              <a:gd name="connsiteX2" fmla="*/ 229635 w 309010"/>
              <a:gd name="connsiteY2" fmla="*/ 0 h 1209846"/>
              <a:gd name="connsiteX3" fmla="*/ 229635 w 309010"/>
              <a:gd name="connsiteY3" fmla="*/ 310417 h 1209846"/>
              <a:gd name="connsiteX4" fmla="*/ 309010 w 309010"/>
              <a:gd name="connsiteY4" fmla="*/ 338637 h 1209846"/>
              <a:gd name="connsiteX5" fmla="*/ 229634 w 309010"/>
              <a:gd name="connsiteY5" fmla="*/ 366857 h 1209846"/>
              <a:gd name="connsiteX6" fmla="*/ 229634 w 309010"/>
              <a:gd name="connsiteY6" fmla="*/ 677275 h 1209846"/>
              <a:gd name="connsiteX7" fmla="*/ 126447 w 309010"/>
              <a:gd name="connsiteY7" fmla="*/ 677275 h 1209846"/>
              <a:gd name="connsiteX0" fmla="*/ 0 w 182563"/>
              <a:gd name="connsiteY0" fmla="*/ 0 h 677275"/>
              <a:gd name="connsiteX1" fmla="*/ 103187 w 182563"/>
              <a:gd name="connsiteY1" fmla="*/ 0 h 677275"/>
              <a:gd name="connsiteX2" fmla="*/ 103188 w 182563"/>
              <a:gd name="connsiteY2" fmla="*/ 0 h 677275"/>
              <a:gd name="connsiteX3" fmla="*/ 103188 w 182563"/>
              <a:gd name="connsiteY3" fmla="*/ 310417 h 677275"/>
              <a:gd name="connsiteX4" fmla="*/ 182563 w 182563"/>
              <a:gd name="connsiteY4" fmla="*/ 338637 h 677275"/>
              <a:gd name="connsiteX5" fmla="*/ 103187 w 182563"/>
              <a:gd name="connsiteY5" fmla="*/ 366857 h 677275"/>
              <a:gd name="connsiteX6" fmla="*/ 103187 w 182563"/>
              <a:gd name="connsiteY6" fmla="*/ 677275 h 677275"/>
              <a:gd name="connsiteX7" fmla="*/ 0 w 182563"/>
              <a:gd name="connsiteY7" fmla="*/ 677275 h 677275"/>
              <a:gd name="connsiteX0" fmla="*/ 0 w 182563"/>
              <a:gd name="connsiteY0" fmla="*/ 0 h 677275"/>
              <a:gd name="connsiteX1" fmla="*/ 103187 w 182563"/>
              <a:gd name="connsiteY1" fmla="*/ 0 h 677275"/>
              <a:gd name="connsiteX2" fmla="*/ 103187 w 182563"/>
              <a:gd name="connsiteY2" fmla="*/ 310417 h 677275"/>
              <a:gd name="connsiteX3" fmla="*/ 103188 w 182563"/>
              <a:gd name="connsiteY3" fmla="*/ 310417 h 677275"/>
              <a:gd name="connsiteX4" fmla="*/ 182563 w 182563"/>
              <a:gd name="connsiteY4" fmla="*/ 338637 h 677275"/>
              <a:gd name="connsiteX5" fmla="*/ 103187 w 182563"/>
              <a:gd name="connsiteY5" fmla="*/ 366857 h 677275"/>
              <a:gd name="connsiteX6" fmla="*/ 103187 w 182563"/>
              <a:gd name="connsiteY6" fmla="*/ 677275 h 677275"/>
              <a:gd name="connsiteX7" fmla="*/ 0 w 182563"/>
              <a:gd name="connsiteY7" fmla="*/ 677275 h 677275"/>
              <a:gd name="connsiteX0" fmla="*/ 0 w 182563"/>
              <a:gd name="connsiteY0" fmla="*/ 0 h 677275"/>
              <a:gd name="connsiteX1" fmla="*/ 103187 w 182563"/>
              <a:gd name="connsiteY1" fmla="*/ 0 h 677275"/>
              <a:gd name="connsiteX2" fmla="*/ 103187 w 182563"/>
              <a:gd name="connsiteY2" fmla="*/ 310417 h 677275"/>
              <a:gd name="connsiteX3" fmla="*/ 182562 w 182563"/>
              <a:gd name="connsiteY3" fmla="*/ 338637 h 677275"/>
              <a:gd name="connsiteX4" fmla="*/ 182563 w 182563"/>
              <a:gd name="connsiteY4" fmla="*/ 338637 h 677275"/>
              <a:gd name="connsiteX5" fmla="*/ 103187 w 182563"/>
              <a:gd name="connsiteY5" fmla="*/ 366857 h 677275"/>
              <a:gd name="connsiteX6" fmla="*/ 103187 w 182563"/>
              <a:gd name="connsiteY6" fmla="*/ 677275 h 677275"/>
              <a:gd name="connsiteX7" fmla="*/ 0 w 182563"/>
              <a:gd name="connsiteY7" fmla="*/ 677275 h 677275"/>
              <a:gd name="connsiteX0" fmla="*/ 0 w 182562"/>
              <a:gd name="connsiteY0" fmla="*/ 0 h 677275"/>
              <a:gd name="connsiteX1" fmla="*/ 103187 w 182562"/>
              <a:gd name="connsiteY1" fmla="*/ 0 h 677275"/>
              <a:gd name="connsiteX2" fmla="*/ 103187 w 182562"/>
              <a:gd name="connsiteY2" fmla="*/ 310417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366857 h 677275"/>
              <a:gd name="connsiteX6" fmla="*/ 103187 w 182562"/>
              <a:gd name="connsiteY6" fmla="*/ 677275 h 677275"/>
              <a:gd name="connsiteX7" fmla="*/ 0 w 182562"/>
              <a:gd name="connsiteY7" fmla="*/ 677275 h 677275"/>
              <a:gd name="connsiteX0" fmla="*/ 0 w 182562"/>
              <a:gd name="connsiteY0" fmla="*/ 0 h 677275"/>
              <a:gd name="connsiteX1" fmla="*/ 103187 w 182562"/>
              <a:gd name="connsiteY1" fmla="*/ 0 h 677275"/>
              <a:gd name="connsiteX2" fmla="*/ 103187 w 182562"/>
              <a:gd name="connsiteY2" fmla="*/ 310417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677275 h 677275"/>
              <a:gd name="connsiteX6" fmla="*/ 103187 w 182562"/>
              <a:gd name="connsiteY6" fmla="*/ 677275 h 677275"/>
              <a:gd name="connsiteX7" fmla="*/ 0 w 182562"/>
              <a:gd name="connsiteY7" fmla="*/ 677275 h 677275"/>
              <a:gd name="connsiteX0" fmla="*/ 0 w 182562"/>
              <a:gd name="connsiteY0" fmla="*/ 0 h 677275"/>
              <a:gd name="connsiteX1" fmla="*/ 103187 w 182562"/>
              <a:gd name="connsiteY1" fmla="*/ 0 h 677275"/>
              <a:gd name="connsiteX2" fmla="*/ 103187 w 182562"/>
              <a:gd name="connsiteY2" fmla="*/ 310417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677275 h 677275"/>
              <a:gd name="connsiteX6" fmla="*/ 0 w 182562"/>
              <a:gd name="connsiteY6" fmla="*/ 677275 h 677275"/>
              <a:gd name="connsiteX7" fmla="*/ 0 w 182562"/>
              <a:gd name="connsiteY7" fmla="*/ 677275 h 677275"/>
              <a:gd name="connsiteX0" fmla="*/ 0 w 182562"/>
              <a:gd name="connsiteY0" fmla="*/ 0 h 677275"/>
              <a:gd name="connsiteX1" fmla="*/ 103187 w 182562"/>
              <a:gd name="connsiteY1" fmla="*/ 0 h 677275"/>
              <a:gd name="connsiteX2" fmla="*/ 103187 w 182562"/>
              <a:gd name="connsiteY2" fmla="*/ 310417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677275 h 677275"/>
              <a:gd name="connsiteX6" fmla="*/ 0 w 182562"/>
              <a:gd name="connsiteY6" fmla="*/ 677275 h 677275"/>
              <a:gd name="connsiteX7" fmla="*/ 0 w 182562"/>
              <a:gd name="connsiteY7" fmla="*/ 677275 h 677275"/>
              <a:gd name="connsiteX0" fmla="*/ 0 w 182562"/>
              <a:gd name="connsiteY0" fmla="*/ 0 h 677275"/>
              <a:gd name="connsiteX1" fmla="*/ 59572 w 182562"/>
              <a:gd name="connsiteY1" fmla="*/ 0 h 677275"/>
              <a:gd name="connsiteX2" fmla="*/ 103187 w 182562"/>
              <a:gd name="connsiteY2" fmla="*/ 310417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677275 h 677275"/>
              <a:gd name="connsiteX6" fmla="*/ 0 w 182562"/>
              <a:gd name="connsiteY6" fmla="*/ 677275 h 677275"/>
              <a:gd name="connsiteX7" fmla="*/ 0 w 182562"/>
              <a:gd name="connsiteY7" fmla="*/ 677275 h 677275"/>
              <a:gd name="connsiteX0" fmla="*/ 0 w 182562"/>
              <a:gd name="connsiteY0" fmla="*/ 0 h 677275"/>
              <a:gd name="connsiteX1" fmla="*/ 59572 w 182562"/>
              <a:gd name="connsiteY1" fmla="*/ 0 h 677275"/>
              <a:gd name="connsiteX2" fmla="*/ 59572 w 182562"/>
              <a:gd name="connsiteY2" fmla="*/ 322889 h 677275"/>
              <a:gd name="connsiteX3" fmla="*/ 182562 w 182562"/>
              <a:gd name="connsiteY3" fmla="*/ 338637 h 677275"/>
              <a:gd name="connsiteX4" fmla="*/ 103187 w 182562"/>
              <a:gd name="connsiteY4" fmla="*/ 366857 h 677275"/>
              <a:gd name="connsiteX5" fmla="*/ 103187 w 182562"/>
              <a:gd name="connsiteY5" fmla="*/ 677275 h 677275"/>
              <a:gd name="connsiteX6" fmla="*/ 0 w 182562"/>
              <a:gd name="connsiteY6" fmla="*/ 677275 h 677275"/>
              <a:gd name="connsiteX7" fmla="*/ 0 w 182562"/>
              <a:gd name="connsiteY7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103187 w 105398"/>
              <a:gd name="connsiteY4" fmla="*/ 366857 h 677275"/>
              <a:gd name="connsiteX5" fmla="*/ 103187 w 105398"/>
              <a:gd name="connsiteY5" fmla="*/ 677275 h 677275"/>
              <a:gd name="connsiteX6" fmla="*/ 0 w 105398"/>
              <a:gd name="connsiteY6" fmla="*/ 677275 h 677275"/>
              <a:gd name="connsiteX7" fmla="*/ 0 w 105398"/>
              <a:gd name="connsiteY7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59572 w 105398"/>
              <a:gd name="connsiteY4" fmla="*/ 354386 h 677275"/>
              <a:gd name="connsiteX5" fmla="*/ 103187 w 105398"/>
              <a:gd name="connsiteY5" fmla="*/ 677275 h 677275"/>
              <a:gd name="connsiteX6" fmla="*/ 0 w 105398"/>
              <a:gd name="connsiteY6" fmla="*/ 677275 h 677275"/>
              <a:gd name="connsiteX7" fmla="*/ 0 w 105398"/>
              <a:gd name="connsiteY7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59572 w 105398"/>
              <a:gd name="connsiteY4" fmla="*/ 354386 h 677275"/>
              <a:gd name="connsiteX5" fmla="*/ 59572 w 105398"/>
              <a:gd name="connsiteY5" fmla="*/ 677275 h 677275"/>
              <a:gd name="connsiteX6" fmla="*/ 0 w 105398"/>
              <a:gd name="connsiteY6" fmla="*/ 677275 h 677275"/>
              <a:gd name="connsiteX7" fmla="*/ 0 w 105398"/>
              <a:gd name="connsiteY7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59572 w 105398"/>
              <a:gd name="connsiteY4" fmla="*/ 354386 h 677275"/>
              <a:gd name="connsiteX5" fmla="*/ 59572 w 105398"/>
              <a:gd name="connsiteY5" fmla="*/ 677275 h 677275"/>
              <a:gd name="connsiteX6" fmla="*/ 0 w 105398"/>
              <a:gd name="connsiteY6" fmla="*/ 677275 h 677275"/>
              <a:gd name="connsiteX7" fmla="*/ 0 w 105398"/>
              <a:gd name="connsiteY7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59572 w 105398"/>
              <a:gd name="connsiteY4" fmla="*/ 354386 h 677275"/>
              <a:gd name="connsiteX5" fmla="*/ 59572 w 105398"/>
              <a:gd name="connsiteY5" fmla="*/ 677275 h 677275"/>
              <a:gd name="connsiteX6" fmla="*/ 0 w 105398"/>
              <a:gd name="connsiteY6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59572 w 105398"/>
              <a:gd name="connsiteY4" fmla="*/ 354386 h 677275"/>
              <a:gd name="connsiteX5" fmla="*/ 0 w 105398"/>
              <a:gd name="connsiteY5" fmla="*/ 677275 h 677275"/>
              <a:gd name="connsiteX0" fmla="*/ 0 w 105398"/>
              <a:gd name="connsiteY0" fmla="*/ 0 h 677275"/>
              <a:gd name="connsiteX1" fmla="*/ 59572 w 105398"/>
              <a:gd name="connsiteY1" fmla="*/ 0 h 677275"/>
              <a:gd name="connsiteX2" fmla="*/ 59572 w 105398"/>
              <a:gd name="connsiteY2" fmla="*/ 322889 h 677275"/>
              <a:gd name="connsiteX3" fmla="*/ 105398 w 105398"/>
              <a:gd name="connsiteY3" fmla="*/ 338638 h 677275"/>
              <a:gd name="connsiteX4" fmla="*/ 0 w 105398"/>
              <a:gd name="connsiteY4" fmla="*/ 677275 h 677275"/>
              <a:gd name="connsiteX0" fmla="*/ 0 w 59572"/>
              <a:gd name="connsiteY0" fmla="*/ 0 h 677275"/>
              <a:gd name="connsiteX1" fmla="*/ 59572 w 59572"/>
              <a:gd name="connsiteY1" fmla="*/ 0 h 677275"/>
              <a:gd name="connsiteX2" fmla="*/ 59572 w 59572"/>
              <a:gd name="connsiteY2" fmla="*/ 322889 h 677275"/>
              <a:gd name="connsiteX3" fmla="*/ 0 w 59572"/>
              <a:gd name="connsiteY3" fmla="*/ 677275 h 677275"/>
              <a:gd name="connsiteX0" fmla="*/ 0 w 59572"/>
              <a:gd name="connsiteY0" fmla="*/ 0 h 677275"/>
              <a:gd name="connsiteX1" fmla="*/ 59572 w 59572"/>
              <a:gd name="connsiteY1" fmla="*/ 0 h 677275"/>
              <a:gd name="connsiteX2" fmla="*/ 0 w 59572"/>
              <a:gd name="connsiteY2" fmla="*/ 677275 h 677275"/>
              <a:gd name="connsiteX0" fmla="*/ 0 w 0"/>
              <a:gd name="connsiteY0" fmla="*/ 0 h 677275"/>
              <a:gd name="connsiteX1" fmla="*/ 0 w 0"/>
              <a:gd name="connsiteY1" fmla="*/ 677275 h 677275"/>
              <a:gd name="connsiteX0" fmla="*/ 230977 w 230977"/>
              <a:gd name="connsiteY0" fmla="*/ 0 h 728012"/>
              <a:gd name="connsiteX1" fmla="*/ 0 w 230977"/>
              <a:gd name="connsiteY1" fmla="*/ 728012 h 728012"/>
              <a:gd name="connsiteX0" fmla="*/ 230977 w 334164"/>
              <a:gd name="connsiteY0" fmla="*/ 0 h 728012"/>
              <a:gd name="connsiteX1" fmla="*/ 0 w 334164"/>
              <a:gd name="connsiteY1" fmla="*/ 728012 h 728012"/>
              <a:gd name="connsiteX2" fmla="*/ 334164 w 334164"/>
              <a:gd name="connsiteY2" fmla="*/ 0 h 728012"/>
              <a:gd name="connsiteX0" fmla="*/ 230977 w 334164"/>
              <a:gd name="connsiteY0" fmla="*/ 0 h 728012"/>
              <a:gd name="connsiteX1" fmla="*/ 0 w 334164"/>
              <a:gd name="connsiteY1" fmla="*/ 728012 h 728012"/>
              <a:gd name="connsiteX2" fmla="*/ 334164 w 334164"/>
              <a:gd name="connsiteY2" fmla="*/ 0 h 728012"/>
              <a:gd name="connsiteX3" fmla="*/ 334163 w 334164"/>
              <a:gd name="connsiteY3" fmla="*/ 184122 h 728012"/>
              <a:gd name="connsiteX0" fmla="*/ 230977 w 413538"/>
              <a:gd name="connsiteY0" fmla="*/ 0 h 728012"/>
              <a:gd name="connsiteX1" fmla="*/ 0 w 413538"/>
              <a:gd name="connsiteY1" fmla="*/ 728012 h 728012"/>
              <a:gd name="connsiteX2" fmla="*/ 334164 w 413538"/>
              <a:gd name="connsiteY2" fmla="*/ 0 h 728012"/>
              <a:gd name="connsiteX3" fmla="*/ 334163 w 413538"/>
              <a:gd name="connsiteY3" fmla="*/ 184122 h 728012"/>
              <a:gd name="connsiteX4" fmla="*/ 413538 w 413538"/>
              <a:gd name="connsiteY4" fmla="*/ 200861 h 728012"/>
              <a:gd name="connsiteX0" fmla="*/ 230977 w 413538"/>
              <a:gd name="connsiteY0" fmla="*/ 0 h 728012"/>
              <a:gd name="connsiteX1" fmla="*/ 0 w 413538"/>
              <a:gd name="connsiteY1" fmla="*/ 728012 h 728012"/>
              <a:gd name="connsiteX2" fmla="*/ 334164 w 413538"/>
              <a:gd name="connsiteY2" fmla="*/ 0 h 728012"/>
              <a:gd name="connsiteX3" fmla="*/ 334163 w 413538"/>
              <a:gd name="connsiteY3" fmla="*/ 184122 h 728012"/>
              <a:gd name="connsiteX4" fmla="*/ 413538 w 413538"/>
              <a:gd name="connsiteY4" fmla="*/ 200861 h 728012"/>
              <a:gd name="connsiteX5" fmla="*/ 334163 w 413538"/>
              <a:gd name="connsiteY5" fmla="*/ 217599 h 728012"/>
              <a:gd name="connsiteX0" fmla="*/ 230977 w 413538"/>
              <a:gd name="connsiteY0" fmla="*/ 0 h 728012"/>
              <a:gd name="connsiteX1" fmla="*/ 0 w 413538"/>
              <a:gd name="connsiteY1" fmla="*/ 728012 h 728012"/>
              <a:gd name="connsiteX2" fmla="*/ 334164 w 413538"/>
              <a:gd name="connsiteY2" fmla="*/ 0 h 728012"/>
              <a:gd name="connsiteX3" fmla="*/ 334163 w 413538"/>
              <a:gd name="connsiteY3" fmla="*/ 184122 h 728012"/>
              <a:gd name="connsiteX4" fmla="*/ 413538 w 413538"/>
              <a:gd name="connsiteY4" fmla="*/ 200861 h 728012"/>
              <a:gd name="connsiteX5" fmla="*/ 334163 w 413538"/>
              <a:gd name="connsiteY5" fmla="*/ 217599 h 728012"/>
              <a:gd name="connsiteX6" fmla="*/ 334163 w 413538"/>
              <a:gd name="connsiteY6" fmla="*/ 401721 h 728012"/>
              <a:gd name="connsiteX0" fmla="*/ 230977 w 413538"/>
              <a:gd name="connsiteY0" fmla="*/ 0 h 728012"/>
              <a:gd name="connsiteX1" fmla="*/ 0 w 413538"/>
              <a:gd name="connsiteY1" fmla="*/ 728012 h 728012"/>
              <a:gd name="connsiteX2" fmla="*/ 334164 w 413538"/>
              <a:gd name="connsiteY2" fmla="*/ 0 h 728012"/>
              <a:gd name="connsiteX3" fmla="*/ 334163 w 413538"/>
              <a:gd name="connsiteY3" fmla="*/ 184122 h 728012"/>
              <a:gd name="connsiteX4" fmla="*/ 413538 w 413538"/>
              <a:gd name="connsiteY4" fmla="*/ 200861 h 728012"/>
              <a:gd name="connsiteX5" fmla="*/ 334163 w 413538"/>
              <a:gd name="connsiteY5" fmla="*/ 217599 h 728012"/>
              <a:gd name="connsiteX6" fmla="*/ 334163 w 413538"/>
              <a:gd name="connsiteY6" fmla="*/ 401721 h 728012"/>
              <a:gd name="connsiteX7" fmla="*/ 230976 w 413538"/>
              <a:gd name="connsiteY7" fmla="*/ 401721 h 728012"/>
              <a:gd name="connsiteX0" fmla="*/ 230976 w 413538"/>
              <a:gd name="connsiteY0" fmla="*/ 0 h 728012"/>
              <a:gd name="connsiteX1" fmla="*/ 0 w 413538"/>
              <a:gd name="connsiteY1" fmla="*/ 728012 h 728012"/>
              <a:gd name="connsiteX2" fmla="*/ 334164 w 413538"/>
              <a:gd name="connsiteY2" fmla="*/ 0 h 728012"/>
              <a:gd name="connsiteX3" fmla="*/ 334163 w 413538"/>
              <a:gd name="connsiteY3" fmla="*/ 184122 h 728012"/>
              <a:gd name="connsiteX4" fmla="*/ 413538 w 413538"/>
              <a:gd name="connsiteY4" fmla="*/ 200861 h 728012"/>
              <a:gd name="connsiteX5" fmla="*/ 334163 w 413538"/>
              <a:gd name="connsiteY5" fmla="*/ 217599 h 728012"/>
              <a:gd name="connsiteX6" fmla="*/ 334163 w 413538"/>
              <a:gd name="connsiteY6" fmla="*/ 401721 h 728012"/>
              <a:gd name="connsiteX7" fmla="*/ 230976 w 413538"/>
              <a:gd name="connsiteY7" fmla="*/ 401721 h 728012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8 w 182562"/>
              <a:gd name="connsiteY2" fmla="*/ 0 h 401721"/>
              <a:gd name="connsiteX3" fmla="*/ 103187 w 182562"/>
              <a:gd name="connsiteY3" fmla="*/ 184122 h 401721"/>
              <a:gd name="connsiteX4" fmla="*/ 182562 w 182562"/>
              <a:gd name="connsiteY4" fmla="*/ 200861 h 401721"/>
              <a:gd name="connsiteX5" fmla="*/ 103187 w 182562"/>
              <a:gd name="connsiteY5" fmla="*/ 217599 h 401721"/>
              <a:gd name="connsiteX6" fmla="*/ 103187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03187 w 182562"/>
              <a:gd name="connsiteY3" fmla="*/ 184122 h 401721"/>
              <a:gd name="connsiteX4" fmla="*/ 182562 w 182562"/>
              <a:gd name="connsiteY4" fmla="*/ 200861 h 401721"/>
              <a:gd name="connsiteX5" fmla="*/ 103187 w 182562"/>
              <a:gd name="connsiteY5" fmla="*/ 217599 h 401721"/>
              <a:gd name="connsiteX6" fmla="*/ 103187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82562 w 182562"/>
              <a:gd name="connsiteY4" fmla="*/ 200861 h 401721"/>
              <a:gd name="connsiteX5" fmla="*/ 103187 w 182562"/>
              <a:gd name="connsiteY5" fmla="*/ 217599 h 401721"/>
              <a:gd name="connsiteX6" fmla="*/ 103187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217599 h 401721"/>
              <a:gd name="connsiteX6" fmla="*/ 103187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401721 h 401721"/>
              <a:gd name="connsiteX6" fmla="*/ 103187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401721 h 401721"/>
              <a:gd name="connsiteX6" fmla="*/ 0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10318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401721 h 401721"/>
              <a:gd name="connsiteX6" fmla="*/ 0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60677 w 182562"/>
              <a:gd name="connsiteY1" fmla="*/ 0 h 401721"/>
              <a:gd name="connsiteX2" fmla="*/ 103187 w 182562"/>
              <a:gd name="connsiteY2" fmla="*/ 184122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401721 h 401721"/>
              <a:gd name="connsiteX6" fmla="*/ 0 w 182562"/>
              <a:gd name="connsiteY6" fmla="*/ 401721 h 401721"/>
              <a:gd name="connsiteX7" fmla="*/ 0 w 182562"/>
              <a:gd name="connsiteY7" fmla="*/ 401721 h 401721"/>
              <a:gd name="connsiteX0" fmla="*/ 0 w 182562"/>
              <a:gd name="connsiteY0" fmla="*/ 0 h 401721"/>
              <a:gd name="connsiteX1" fmla="*/ 60677 w 182562"/>
              <a:gd name="connsiteY1" fmla="*/ 0 h 401721"/>
              <a:gd name="connsiteX2" fmla="*/ 60677 w 182562"/>
              <a:gd name="connsiteY2" fmla="*/ 191346 h 401721"/>
              <a:gd name="connsiteX3" fmla="*/ 182562 w 182562"/>
              <a:gd name="connsiteY3" fmla="*/ 200861 h 401721"/>
              <a:gd name="connsiteX4" fmla="*/ 103187 w 182562"/>
              <a:gd name="connsiteY4" fmla="*/ 217599 h 401721"/>
              <a:gd name="connsiteX5" fmla="*/ 103187 w 182562"/>
              <a:gd name="connsiteY5" fmla="*/ 401721 h 401721"/>
              <a:gd name="connsiteX6" fmla="*/ 0 w 182562"/>
              <a:gd name="connsiteY6" fmla="*/ 401721 h 401721"/>
              <a:gd name="connsiteX7" fmla="*/ 0 w 182562"/>
              <a:gd name="connsiteY7" fmla="*/ 401721 h 401721"/>
              <a:gd name="connsiteX0" fmla="*/ 0 w 107353"/>
              <a:gd name="connsiteY0" fmla="*/ 0 h 401721"/>
              <a:gd name="connsiteX1" fmla="*/ 60677 w 107353"/>
              <a:gd name="connsiteY1" fmla="*/ 0 h 401721"/>
              <a:gd name="connsiteX2" fmla="*/ 60677 w 107353"/>
              <a:gd name="connsiteY2" fmla="*/ 191346 h 401721"/>
              <a:gd name="connsiteX3" fmla="*/ 107353 w 107353"/>
              <a:gd name="connsiteY3" fmla="*/ 200861 h 401721"/>
              <a:gd name="connsiteX4" fmla="*/ 103187 w 107353"/>
              <a:gd name="connsiteY4" fmla="*/ 217599 h 401721"/>
              <a:gd name="connsiteX5" fmla="*/ 103187 w 107353"/>
              <a:gd name="connsiteY5" fmla="*/ 401721 h 401721"/>
              <a:gd name="connsiteX6" fmla="*/ 0 w 107353"/>
              <a:gd name="connsiteY6" fmla="*/ 401721 h 401721"/>
              <a:gd name="connsiteX7" fmla="*/ 0 w 107353"/>
              <a:gd name="connsiteY7" fmla="*/ 401721 h 401721"/>
              <a:gd name="connsiteX0" fmla="*/ 0 w 107353"/>
              <a:gd name="connsiteY0" fmla="*/ 0 h 401721"/>
              <a:gd name="connsiteX1" fmla="*/ 60677 w 107353"/>
              <a:gd name="connsiteY1" fmla="*/ 0 h 401721"/>
              <a:gd name="connsiteX2" fmla="*/ 60677 w 107353"/>
              <a:gd name="connsiteY2" fmla="*/ 191346 h 401721"/>
              <a:gd name="connsiteX3" fmla="*/ 107353 w 107353"/>
              <a:gd name="connsiteY3" fmla="*/ 200861 h 401721"/>
              <a:gd name="connsiteX4" fmla="*/ 60677 w 107353"/>
              <a:gd name="connsiteY4" fmla="*/ 210375 h 401721"/>
              <a:gd name="connsiteX5" fmla="*/ 103187 w 107353"/>
              <a:gd name="connsiteY5" fmla="*/ 401721 h 401721"/>
              <a:gd name="connsiteX6" fmla="*/ 0 w 107353"/>
              <a:gd name="connsiteY6" fmla="*/ 401721 h 401721"/>
              <a:gd name="connsiteX7" fmla="*/ 0 w 107353"/>
              <a:gd name="connsiteY7" fmla="*/ 401721 h 401721"/>
              <a:gd name="connsiteX0" fmla="*/ 0 w 107353"/>
              <a:gd name="connsiteY0" fmla="*/ 0 h 401721"/>
              <a:gd name="connsiteX1" fmla="*/ 60677 w 107353"/>
              <a:gd name="connsiteY1" fmla="*/ 0 h 401721"/>
              <a:gd name="connsiteX2" fmla="*/ 60677 w 107353"/>
              <a:gd name="connsiteY2" fmla="*/ 191346 h 401721"/>
              <a:gd name="connsiteX3" fmla="*/ 107353 w 107353"/>
              <a:gd name="connsiteY3" fmla="*/ 200861 h 401721"/>
              <a:gd name="connsiteX4" fmla="*/ 60677 w 107353"/>
              <a:gd name="connsiteY4" fmla="*/ 210375 h 401721"/>
              <a:gd name="connsiteX5" fmla="*/ 60677 w 107353"/>
              <a:gd name="connsiteY5" fmla="*/ 401721 h 401721"/>
              <a:gd name="connsiteX6" fmla="*/ 0 w 107353"/>
              <a:gd name="connsiteY6" fmla="*/ 401721 h 401721"/>
              <a:gd name="connsiteX7" fmla="*/ 0 w 107353"/>
              <a:gd name="connsiteY7" fmla="*/ 401721 h 401721"/>
              <a:gd name="connsiteX0" fmla="*/ 0 w 107353"/>
              <a:gd name="connsiteY0" fmla="*/ 0 h 401721"/>
              <a:gd name="connsiteX1" fmla="*/ 60677 w 107353"/>
              <a:gd name="connsiteY1" fmla="*/ 0 h 401721"/>
              <a:gd name="connsiteX2" fmla="*/ 60677 w 107353"/>
              <a:gd name="connsiteY2" fmla="*/ 191346 h 401721"/>
              <a:gd name="connsiteX3" fmla="*/ 107353 w 107353"/>
              <a:gd name="connsiteY3" fmla="*/ 200861 h 401721"/>
              <a:gd name="connsiteX4" fmla="*/ 60677 w 107353"/>
              <a:gd name="connsiteY4" fmla="*/ 210375 h 401721"/>
              <a:gd name="connsiteX5" fmla="*/ 60677 w 107353"/>
              <a:gd name="connsiteY5" fmla="*/ 401721 h 401721"/>
              <a:gd name="connsiteX6" fmla="*/ 0 w 107353"/>
              <a:gd name="connsiteY6" fmla="*/ 401721 h 401721"/>
              <a:gd name="connsiteX7" fmla="*/ 0 w 107353"/>
              <a:gd name="connsiteY7" fmla="*/ 401721 h 4017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07353" h="401721">
                <a:moveTo>
                  <a:pt x="0" y="0"/>
                </a:moveTo>
                <a:lnTo>
                  <a:pt x="60677" y="0"/>
                </a:lnTo>
                <a:lnTo>
                  <a:pt x="60677" y="191346"/>
                </a:lnTo>
                <a:lnTo>
                  <a:pt x="107353" y="200861"/>
                </a:lnTo>
                <a:lnTo>
                  <a:pt x="60677" y="210375"/>
                </a:lnTo>
                <a:lnTo>
                  <a:pt x="60677" y="401721"/>
                </a:lnTo>
                <a:lnTo>
                  <a:pt x="0" y="401721"/>
                </a:lnTo>
                <a:lnTo>
                  <a:pt x="0" y="401721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00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323" name="Bracket 319"/>
          <p:cNvSpPr>
            <a:spLocks/>
          </p:cNvSpPr>
          <p:nvPr>
            <p:custDataLst>
              <p:tags r:id="rId5"/>
            </p:custDataLst>
          </p:nvPr>
        </p:nvSpPr>
        <p:spPr bwMode="gray">
          <a:xfrm rot="10800000">
            <a:off x="1176457" y="5122677"/>
            <a:ext cx="180989" cy="1244112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2" fmla="*/ 65 w 815"/>
              <a:gd name="connsiteY2" fmla="*/ 1190429 h 1190429"/>
              <a:gd name="connsiteX0" fmla="*/ 0 w 815"/>
              <a:gd name="connsiteY0" fmla="*/ 1190429 h 2028629"/>
              <a:gd name="connsiteX1" fmla="*/ 815 w 815"/>
              <a:gd name="connsiteY1" fmla="*/ 0 h 2028629"/>
              <a:gd name="connsiteX2" fmla="*/ 65 w 815"/>
              <a:gd name="connsiteY2" fmla="*/ 1190429 h 2028629"/>
              <a:gd name="connsiteX3" fmla="*/ 65 w 815"/>
              <a:gd name="connsiteY3" fmla="*/ 2028629 h 2028629"/>
              <a:gd name="connsiteX0" fmla="*/ 0 w 815"/>
              <a:gd name="connsiteY0" fmla="*/ 1190429 h 2104829"/>
              <a:gd name="connsiteX1" fmla="*/ 815 w 815"/>
              <a:gd name="connsiteY1" fmla="*/ 0 h 2104829"/>
              <a:gd name="connsiteX2" fmla="*/ 65 w 815"/>
              <a:gd name="connsiteY2" fmla="*/ 1190429 h 2104829"/>
              <a:gd name="connsiteX3" fmla="*/ 65 w 815"/>
              <a:gd name="connsiteY3" fmla="*/ 2028629 h 2104829"/>
              <a:gd name="connsiteX4" fmla="*/ 115 w 815"/>
              <a:gd name="connsiteY4" fmla="*/ 2104829 h 2104829"/>
              <a:gd name="connsiteX0" fmla="*/ 0 w 815"/>
              <a:gd name="connsiteY0" fmla="*/ 1190429 h 2181029"/>
              <a:gd name="connsiteX1" fmla="*/ 815 w 815"/>
              <a:gd name="connsiteY1" fmla="*/ 0 h 2181029"/>
              <a:gd name="connsiteX2" fmla="*/ 65 w 815"/>
              <a:gd name="connsiteY2" fmla="*/ 1190429 h 2181029"/>
              <a:gd name="connsiteX3" fmla="*/ 65 w 815"/>
              <a:gd name="connsiteY3" fmla="*/ 2028629 h 2181029"/>
              <a:gd name="connsiteX4" fmla="*/ 115 w 815"/>
              <a:gd name="connsiteY4" fmla="*/ 2104829 h 2181029"/>
              <a:gd name="connsiteX5" fmla="*/ 65 w 815"/>
              <a:gd name="connsiteY5" fmla="*/ 2181029 h 21810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41268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90599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0 w 114"/>
              <a:gd name="connsiteY5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0 w 114"/>
              <a:gd name="connsiteY4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65 w 65"/>
              <a:gd name="connsiteY2" fmla="*/ 841268 h 1828800"/>
              <a:gd name="connsiteX3" fmla="*/ 0 w 65"/>
              <a:gd name="connsiteY3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0 w 65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635702 w 635702"/>
              <a:gd name="connsiteY0" fmla="*/ 0 h 2475792"/>
              <a:gd name="connsiteX1" fmla="*/ 0 w 635702"/>
              <a:gd name="connsiteY1" fmla="*/ 2475792 h 2475792"/>
              <a:gd name="connsiteX0" fmla="*/ 635702 w 738889"/>
              <a:gd name="connsiteY0" fmla="*/ 0 h 2475792"/>
              <a:gd name="connsiteX1" fmla="*/ 0 w 738889"/>
              <a:gd name="connsiteY1" fmla="*/ 2475792 h 2475792"/>
              <a:gd name="connsiteX2" fmla="*/ 738889 w 738889"/>
              <a:gd name="connsiteY2" fmla="*/ 0 h 2475792"/>
              <a:gd name="connsiteX0" fmla="*/ 635702 w 738889"/>
              <a:gd name="connsiteY0" fmla="*/ 0 h 2475792"/>
              <a:gd name="connsiteX1" fmla="*/ 0 w 738889"/>
              <a:gd name="connsiteY1" fmla="*/ 2475792 h 2475792"/>
              <a:gd name="connsiteX2" fmla="*/ 738889 w 738889"/>
              <a:gd name="connsiteY2" fmla="*/ 0 h 2475792"/>
              <a:gd name="connsiteX3" fmla="*/ 738889 w 738889"/>
              <a:gd name="connsiteY3" fmla="*/ 853087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7" fmla="*/ 635701 w 818264"/>
              <a:gd name="connsiteY7" fmla="*/ 1861280 h 2475792"/>
              <a:gd name="connsiteX0" fmla="*/ 635701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7" fmla="*/ 635701 w 818264"/>
              <a:gd name="connsiteY7" fmla="*/ 1861280 h 2475792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8 w 182563"/>
              <a:gd name="connsiteY2" fmla="*/ 0 h 1861280"/>
              <a:gd name="connsiteX3" fmla="*/ 103188 w 182563"/>
              <a:gd name="connsiteY3" fmla="*/ 853087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7 w 182563"/>
              <a:gd name="connsiteY2" fmla="*/ 853087 h 1861280"/>
              <a:gd name="connsiteX3" fmla="*/ 103188 w 182563"/>
              <a:gd name="connsiteY3" fmla="*/ 853087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7 w 182563"/>
              <a:gd name="connsiteY2" fmla="*/ 853087 h 1861280"/>
              <a:gd name="connsiteX3" fmla="*/ 182562 w 182563"/>
              <a:gd name="connsiteY3" fmla="*/ 930640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008193 h 1861280"/>
              <a:gd name="connsiteX6" fmla="*/ 103187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103187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4115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4115 w 182562"/>
              <a:gd name="connsiteY1" fmla="*/ 0 h 1861280"/>
              <a:gd name="connsiteX2" fmla="*/ 104115 w 182562"/>
              <a:gd name="connsiteY2" fmla="*/ 854998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3187 w 184204"/>
              <a:gd name="connsiteY4" fmla="*/ 1008193 h 1861280"/>
              <a:gd name="connsiteX5" fmla="*/ 103187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3187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0 w 184204"/>
              <a:gd name="connsiteY5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0 w 184204"/>
              <a:gd name="connsiteY4" fmla="*/ 1861280 h 1861280"/>
              <a:gd name="connsiteX0" fmla="*/ 0 w 104115"/>
              <a:gd name="connsiteY0" fmla="*/ 0 h 1861280"/>
              <a:gd name="connsiteX1" fmla="*/ 104115 w 104115"/>
              <a:gd name="connsiteY1" fmla="*/ 0 h 1861280"/>
              <a:gd name="connsiteX2" fmla="*/ 104115 w 104115"/>
              <a:gd name="connsiteY2" fmla="*/ 854998 h 1861280"/>
              <a:gd name="connsiteX3" fmla="*/ 0 w 104115"/>
              <a:gd name="connsiteY3" fmla="*/ 1861280 h 1861280"/>
              <a:gd name="connsiteX0" fmla="*/ 0 w 104115"/>
              <a:gd name="connsiteY0" fmla="*/ 0 h 1861280"/>
              <a:gd name="connsiteX1" fmla="*/ 104115 w 104115"/>
              <a:gd name="connsiteY1" fmla="*/ 0 h 1861280"/>
              <a:gd name="connsiteX2" fmla="*/ 0 w 104115"/>
              <a:gd name="connsiteY2" fmla="*/ 1861280 h 1861280"/>
              <a:gd name="connsiteX0" fmla="*/ 0 w 0"/>
              <a:gd name="connsiteY0" fmla="*/ 0 h 1861280"/>
              <a:gd name="connsiteX1" fmla="*/ 0 w 0"/>
              <a:gd name="connsiteY1" fmla="*/ 1861280 h 1861280"/>
              <a:gd name="connsiteX0" fmla="*/ 2702803 w 2702803"/>
              <a:gd name="connsiteY0" fmla="*/ 0 h 5899250"/>
              <a:gd name="connsiteX1" fmla="*/ 0 w 2702803"/>
              <a:gd name="connsiteY1" fmla="*/ 5899250 h 5899250"/>
              <a:gd name="connsiteX0" fmla="*/ 2702803 w 2805991"/>
              <a:gd name="connsiteY0" fmla="*/ 0 h 5899250"/>
              <a:gd name="connsiteX1" fmla="*/ 0 w 2805991"/>
              <a:gd name="connsiteY1" fmla="*/ 5899250 h 5899250"/>
              <a:gd name="connsiteX2" fmla="*/ 2805991 w 2805991"/>
              <a:gd name="connsiteY2" fmla="*/ 1 h 5899250"/>
              <a:gd name="connsiteX0" fmla="*/ 2702803 w 2805991"/>
              <a:gd name="connsiteY0" fmla="*/ 0 h 5899250"/>
              <a:gd name="connsiteX1" fmla="*/ 0 w 2805991"/>
              <a:gd name="connsiteY1" fmla="*/ 5899250 h 5899250"/>
              <a:gd name="connsiteX2" fmla="*/ 2805991 w 2805991"/>
              <a:gd name="connsiteY2" fmla="*/ 1 h 5899250"/>
              <a:gd name="connsiteX3" fmla="*/ 2805991 w 2805991"/>
              <a:gd name="connsiteY3" fmla="*/ 1252267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6" fmla="*/ 2805990 w 2885366"/>
              <a:gd name="connsiteY6" fmla="*/ 2732217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6" fmla="*/ 2805990 w 2885366"/>
              <a:gd name="connsiteY6" fmla="*/ 2732217 h 5899250"/>
              <a:gd name="connsiteX7" fmla="*/ 2702802 w 2885366"/>
              <a:gd name="connsiteY7" fmla="*/ 2732217 h 5899250"/>
              <a:gd name="connsiteX0" fmla="*/ 2702802 w 2885366"/>
              <a:gd name="connsiteY0" fmla="*/ 0 h 5899249"/>
              <a:gd name="connsiteX1" fmla="*/ 0 w 2885366"/>
              <a:gd name="connsiteY1" fmla="*/ 5899249 h 5899249"/>
              <a:gd name="connsiteX2" fmla="*/ 2805991 w 2885366"/>
              <a:gd name="connsiteY2" fmla="*/ 0 h 5899249"/>
              <a:gd name="connsiteX3" fmla="*/ 2805991 w 2885366"/>
              <a:gd name="connsiteY3" fmla="*/ 1252266 h 5899249"/>
              <a:gd name="connsiteX4" fmla="*/ 2885366 w 2885366"/>
              <a:gd name="connsiteY4" fmla="*/ 1366108 h 5899249"/>
              <a:gd name="connsiteX5" fmla="*/ 2805990 w 2885366"/>
              <a:gd name="connsiteY5" fmla="*/ 1479950 h 5899249"/>
              <a:gd name="connsiteX6" fmla="*/ 2805990 w 2885366"/>
              <a:gd name="connsiteY6" fmla="*/ 2732216 h 5899249"/>
              <a:gd name="connsiteX7" fmla="*/ 2702802 w 2885366"/>
              <a:gd name="connsiteY7" fmla="*/ 2732216 h 5899249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9 w 182564"/>
              <a:gd name="connsiteY2" fmla="*/ 1 h 2732217"/>
              <a:gd name="connsiteX3" fmla="*/ 103189 w 182564"/>
              <a:gd name="connsiteY3" fmla="*/ 1252267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8 w 182564"/>
              <a:gd name="connsiteY2" fmla="*/ 1252267 h 2732217"/>
              <a:gd name="connsiteX3" fmla="*/ 103189 w 182564"/>
              <a:gd name="connsiteY3" fmla="*/ 1252267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8 w 182564"/>
              <a:gd name="connsiteY2" fmla="*/ 1252267 h 2732217"/>
              <a:gd name="connsiteX3" fmla="*/ 182563 w 182564"/>
              <a:gd name="connsiteY3" fmla="*/ 1366109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8 w 182563"/>
              <a:gd name="connsiteY5" fmla="*/ 1479951 h 2732217"/>
              <a:gd name="connsiteX6" fmla="*/ 103188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03188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50166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50166 w 182563"/>
              <a:gd name="connsiteY1" fmla="*/ 0 h 2732217"/>
              <a:gd name="connsiteX2" fmla="*/ 150166 w 182563"/>
              <a:gd name="connsiteY2" fmla="*/ 1205960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03188 w 265678"/>
              <a:gd name="connsiteY4" fmla="*/ 1479952 h 2732217"/>
              <a:gd name="connsiteX5" fmla="*/ 103189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03189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0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0 w 265678"/>
              <a:gd name="connsiteY6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0 w 265678"/>
              <a:gd name="connsiteY5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0 w 265678"/>
              <a:gd name="connsiteY4" fmla="*/ 2732217 h 2732217"/>
              <a:gd name="connsiteX0" fmla="*/ 0 w 150166"/>
              <a:gd name="connsiteY0" fmla="*/ 0 h 2732217"/>
              <a:gd name="connsiteX1" fmla="*/ 150166 w 150166"/>
              <a:gd name="connsiteY1" fmla="*/ 0 h 2732217"/>
              <a:gd name="connsiteX2" fmla="*/ 150166 w 150166"/>
              <a:gd name="connsiteY2" fmla="*/ 1205960 h 2732217"/>
              <a:gd name="connsiteX3" fmla="*/ 0 w 150166"/>
              <a:gd name="connsiteY3" fmla="*/ 2732217 h 2732217"/>
              <a:gd name="connsiteX0" fmla="*/ 0 w 150166"/>
              <a:gd name="connsiteY0" fmla="*/ 0 h 2732217"/>
              <a:gd name="connsiteX1" fmla="*/ 150166 w 150166"/>
              <a:gd name="connsiteY1" fmla="*/ 0 h 2732217"/>
              <a:gd name="connsiteX2" fmla="*/ 0 w 150166"/>
              <a:gd name="connsiteY2" fmla="*/ 2732217 h 2732217"/>
              <a:gd name="connsiteX0" fmla="*/ 0 w 0"/>
              <a:gd name="connsiteY0" fmla="*/ 0 h 2732217"/>
              <a:gd name="connsiteX1" fmla="*/ 0 w 0"/>
              <a:gd name="connsiteY1" fmla="*/ 2732217 h 2732217"/>
              <a:gd name="connsiteX0" fmla="*/ 3880344 w 3880344"/>
              <a:gd name="connsiteY0" fmla="*/ 0 h 13092616"/>
              <a:gd name="connsiteX1" fmla="*/ 0 w 3880344"/>
              <a:gd name="connsiteY1" fmla="*/ 13092616 h 13092616"/>
              <a:gd name="connsiteX0" fmla="*/ 3880344 w 3983531"/>
              <a:gd name="connsiteY0" fmla="*/ 0 h 13092616"/>
              <a:gd name="connsiteX1" fmla="*/ 0 w 3983531"/>
              <a:gd name="connsiteY1" fmla="*/ 13092616 h 13092616"/>
              <a:gd name="connsiteX2" fmla="*/ 3983531 w 3983531"/>
              <a:gd name="connsiteY2" fmla="*/ 0 h 13092616"/>
              <a:gd name="connsiteX0" fmla="*/ 3880344 w 3983531"/>
              <a:gd name="connsiteY0" fmla="*/ 0 h 13092616"/>
              <a:gd name="connsiteX1" fmla="*/ 0 w 3983531"/>
              <a:gd name="connsiteY1" fmla="*/ 13092616 h 13092616"/>
              <a:gd name="connsiteX2" fmla="*/ 3983531 w 3983531"/>
              <a:gd name="connsiteY2" fmla="*/ 0 h 13092616"/>
              <a:gd name="connsiteX3" fmla="*/ 3983531 w 3983531"/>
              <a:gd name="connsiteY3" fmla="*/ 2237968 h 13092616"/>
              <a:gd name="connsiteX0" fmla="*/ 3880344 w 4062906"/>
              <a:gd name="connsiteY0" fmla="*/ 0 h 13092616"/>
              <a:gd name="connsiteX1" fmla="*/ 0 w 4062906"/>
              <a:gd name="connsiteY1" fmla="*/ 13092616 h 13092616"/>
              <a:gd name="connsiteX2" fmla="*/ 3983531 w 4062906"/>
              <a:gd name="connsiteY2" fmla="*/ 0 h 13092616"/>
              <a:gd name="connsiteX3" fmla="*/ 3983531 w 4062906"/>
              <a:gd name="connsiteY3" fmla="*/ 2237968 h 13092616"/>
              <a:gd name="connsiteX4" fmla="*/ 4062906 w 4062906"/>
              <a:gd name="connsiteY4" fmla="*/ 2441420 h 13092616"/>
              <a:gd name="connsiteX0" fmla="*/ 3880344 w 4062906"/>
              <a:gd name="connsiteY0" fmla="*/ 0 h 13092616"/>
              <a:gd name="connsiteX1" fmla="*/ 0 w 4062906"/>
              <a:gd name="connsiteY1" fmla="*/ 13092616 h 13092616"/>
              <a:gd name="connsiteX2" fmla="*/ 3983531 w 4062906"/>
              <a:gd name="connsiteY2" fmla="*/ 0 h 13092616"/>
              <a:gd name="connsiteX3" fmla="*/ 3983531 w 4062906"/>
              <a:gd name="connsiteY3" fmla="*/ 2237968 h 13092616"/>
              <a:gd name="connsiteX4" fmla="*/ 4062906 w 4062906"/>
              <a:gd name="connsiteY4" fmla="*/ 2441420 h 13092616"/>
              <a:gd name="connsiteX5" fmla="*/ 3983530 w 4062906"/>
              <a:gd name="connsiteY5" fmla="*/ 2644872 h 13092616"/>
              <a:gd name="connsiteX0" fmla="*/ 3880344 w 4062906"/>
              <a:gd name="connsiteY0" fmla="*/ 0 h 13092616"/>
              <a:gd name="connsiteX1" fmla="*/ 0 w 4062906"/>
              <a:gd name="connsiteY1" fmla="*/ 13092616 h 13092616"/>
              <a:gd name="connsiteX2" fmla="*/ 3983531 w 4062906"/>
              <a:gd name="connsiteY2" fmla="*/ 0 h 13092616"/>
              <a:gd name="connsiteX3" fmla="*/ 3983531 w 4062906"/>
              <a:gd name="connsiteY3" fmla="*/ 2237968 h 13092616"/>
              <a:gd name="connsiteX4" fmla="*/ 4062906 w 4062906"/>
              <a:gd name="connsiteY4" fmla="*/ 2441420 h 13092616"/>
              <a:gd name="connsiteX5" fmla="*/ 3983530 w 4062906"/>
              <a:gd name="connsiteY5" fmla="*/ 2644872 h 13092616"/>
              <a:gd name="connsiteX6" fmla="*/ 3983530 w 4062906"/>
              <a:gd name="connsiteY6" fmla="*/ 4882840 h 13092616"/>
              <a:gd name="connsiteX0" fmla="*/ 3880344 w 4062906"/>
              <a:gd name="connsiteY0" fmla="*/ 0 h 13092616"/>
              <a:gd name="connsiteX1" fmla="*/ 0 w 4062906"/>
              <a:gd name="connsiteY1" fmla="*/ 13092616 h 13092616"/>
              <a:gd name="connsiteX2" fmla="*/ 3983531 w 4062906"/>
              <a:gd name="connsiteY2" fmla="*/ 0 h 13092616"/>
              <a:gd name="connsiteX3" fmla="*/ 3983531 w 4062906"/>
              <a:gd name="connsiteY3" fmla="*/ 2237968 h 13092616"/>
              <a:gd name="connsiteX4" fmla="*/ 4062906 w 4062906"/>
              <a:gd name="connsiteY4" fmla="*/ 2441420 h 13092616"/>
              <a:gd name="connsiteX5" fmla="*/ 3983530 w 4062906"/>
              <a:gd name="connsiteY5" fmla="*/ 2644872 h 13092616"/>
              <a:gd name="connsiteX6" fmla="*/ 3983530 w 4062906"/>
              <a:gd name="connsiteY6" fmla="*/ 4882840 h 13092616"/>
              <a:gd name="connsiteX7" fmla="*/ 3880343 w 4062906"/>
              <a:gd name="connsiteY7" fmla="*/ 4882840 h 13092616"/>
              <a:gd name="connsiteX0" fmla="*/ 3880343 w 4062906"/>
              <a:gd name="connsiteY0" fmla="*/ 0 h 13092616"/>
              <a:gd name="connsiteX1" fmla="*/ 0 w 4062906"/>
              <a:gd name="connsiteY1" fmla="*/ 13092616 h 13092616"/>
              <a:gd name="connsiteX2" fmla="*/ 3983531 w 4062906"/>
              <a:gd name="connsiteY2" fmla="*/ 0 h 13092616"/>
              <a:gd name="connsiteX3" fmla="*/ 3983531 w 4062906"/>
              <a:gd name="connsiteY3" fmla="*/ 2237968 h 13092616"/>
              <a:gd name="connsiteX4" fmla="*/ 4062906 w 4062906"/>
              <a:gd name="connsiteY4" fmla="*/ 2441420 h 13092616"/>
              <a:gd name="connsiteX5" fmla="*/ 3983530 w 4062906"/>
              <a:gd name="connsiteY5" fmla="*/ 2644872 h 13092616"/>
              <a:gd name="connsiteX6" fmla="*/ 3983530 w 4062906"/>
              <a:gd name="connsiteY6" fmla="*/ 4882840 h 13092616"/>
              <a:gd name="connsiteX7" fmla="*/ 3880343 w 4062906"/>
              <a:gd name="connsiteY7" fmla="*/ 4882840 h 13092616"/>
              <a:gd name="connsiteX0" fmla="*/ 0 w 182563"/>
              <a:gd name="connsiteY0" fmla="*/ 0 h 4882840"/>
              <a:gd name="connsiteX1" fmla="*/ 103187 w 182563"/>
              <a:gd name="connsiteY1" fmla="*/ 0 h 4882840"/>
              <a:gd name="connsiteX2" fmla="*/ 103188 w 182563"/>
              <a:gd name="connsiteY2" fmla="*/ 0 h 4882840"/>
              <a:gd name="connsiteX3" fmla="*/ 103188 w 182563"/>
              <a:gd name="connsiteY3" fmla="*/ 2237968 h 4882840"/>
              <a:gd name="connsiteX4" fmla="*/ 182563 w 182563"/>
              <a:gd name="connsiteY4" fmla="*/ 2441420 h 4882840"/>
              <a:gd name="connsiteX5" fmla="*/ 103187 w 182563"/>
              <a:gd name="connsiteY5" fmla="*/ 2644872 h 4882840"/>
              <a:gd name="connsiteX6" fmla="*/ 103187 w 182563"/>
              <a:gd name="connsiteY6" fmla="*/ 4882840 h 4882840"/>
              <a:gd name="connsiteX7" fmla="*/ 0 w 182563"/>
              <a:gd name="connsiteY7" fmla="*/ 4882840 h 4882840"/>
              <a:gd name="connsiteX0" fmla="*/ 0 w 182563"/>
              <a:gd name="connsiteY0" fmla="*/ 0 h 4882840"/>
              <a:gd name="connsiteX1" fmla="*/ 103187 w 182563"/>
              <a:gd name="connsiteY1" fmla="*/ 0 h 4882840"/>
              <a:gd name="connsiteX2" fmla="*/ 103187 w 182563"/>
              <a:gd name="connsiteY2" fmla="*/ 2237968 h 4882840"/>
              <a:gd name="connsiteX3" fmla="*/ 103188 w 182563"/>
              <a:gd name="connsiteY3" fmla="*/ 2237968 h 4882840"/>
              <a:gd name="connsiteX4" fmla="*/ 182563 w 182563"/>
              <a:gd name="connsiteY4" fmla="*/ 2441420 h 4882840"/>
              <a:gd name="connsiteX5" fmla="*/ 103187 w 182563"/>
              <a:gd name="connsiteY5" fmla="*/ 2644872 h 4882840"/>
              <a:gd name="connsiteX6" fmla="*/ 103187 w 182563"/>
              <a:gd name="connsiteY6" fmla="*/ 4882840 h 4882840"/>
              <a:gd name="connsiteX7" fmla="*/ 0 w 182563"/>
              <a:gd name="connsiteY7" fmla="*/ 4882840 h 4882840"/>
              <a:gd name="connsiteX0" fmla="*/ 0 w 182563"/>
              <a:gd name="connsiteY0" fmla="*/ 0 h 4882840"/>
              <a:gd name="connsiteX1" fmla="*/ 103187 w 182563"/>
              <a:gd name="connsiteY1" fmla="*/ 0 h 4882840"/>
              <a:gd name="connsiteX2" fmla="*/ 103187 w 182563"/>
              <a:gd name="connsiteY2" fmla="*/ 2237968 h 4882840"/>
              <a:gd name="connsiteX3" fmla="*/ 182562 w 182563"/>
              <a:gd name="connsiteY3" fmla="*/ 2441420 h 4882840"/>
              <a:gd name="connsiteX4" fmla="*/ 182563 w 182563"/>
              <a:gd name="connsiteY4" fmla="*/ 2441420 h 4882840"/>
              <a:gd name="connsiteX5" fmla="*/ 103187 w 182563"/>
              <a:gd name="connsiteY5" fmla="*/ 2644872 h 4882840"/>
              <a:gd name="connsiteX6" fmla="*/ 103187 w 182563"/>
              <a:gd name="connsiteY6" fmla="*/ 4882840 h 4882840"/>
              <a:gd name="connsiteX7" fmla="*/ 0 w 182563"/>
              <a:gd name="connsiteY7" fmla="*/ 4882840 h 4882840"/>
              <a:gd name="connsiteX0" fmla="*/ 0 w 182562"/>
              <a:gd name="connsiteY0" fmla="*/ 0 h 4882840"/>
              <a:gd name="connsiteX1" fmla="*/ 103187 w 182562"/>
              <a:gd name="connsiteY1" fmla="*/ 0 h 4882840"/>
              <a:gd name="connsiteX2" fmla="*/ 103187 w 182562"/>
              <a:gd name="connsiteY2" fmla="*/ 2237968 h 4882840"/>
              <a:gd name="connsiteX3" fmla="*/ 182562 w 182562"/>
              <a:gd name="connsiteY3" fmla="*/ 2441420 h 4882840"/>
              <a:gd name="connsiteX4" fmla="*/ 103187 w 182562"/>
              <a:gd name="connsiteY4" fmla="*/ 2644872 h 4882840"/>
              <a:gd name="connsiteX5" fmla="*/ 103187 w 182562"/>
              <a:gd name="connsiteY5" fmla="*/ 2644872 h 4882840"/>
              <a:gd name="connsiteX6" fmla="*/ 103187 w 182562"/>
              <a:gd name="connsiteY6" fmla="*/ 4882840 h 4882840"/>
              <a:gd name="connsiteX7" fmla="*/ 0 w 182562"/>
              <a:gd name="connsiteY7" fmla="*/ 4882840 h 4882840"/>
              <a:gd name="connsiteX0" fmla="*/ 0 w 182562"/>
              <a:gd name="connsiteY0" fmla="*/ 0 h 4882840"/>
              <a:gd name="connsiteX1" fmla="*/ 103187 w 182562"/>
              <a:gd name="connsiteY1" fmla="*/ 0 h 4882840"/>
              <a:gd name="connsiteX2" fmla="*/ 103187 w 182562"/>
              <a:gd name="connsiteY2" fmla="*/ 2237968 h 4882840"/>
              <a:gd name="connsiteX3" fmla="*/ 182562 w 182562"/>
              <a:gd name="connsiteY3" fmla="*/ 2441420 h 4882840"/>
              <a:gd name="connsiteX4" fmla="*/ 103187 w 182562"/>
              <a:gd name="connsiteY4" fmla="*/ 2644872 h 4882840"/>
              <a:gd name="connsiteX5" fmla="*/ 103187 w 182562"/>
              <a:gd name="connsiteY5" fmla="*/ 4882840 h 4882840"/>
              <a:gd name="connsiteX6" fmla="*/ 103187 w 182562"/>
              <a:gd name="connsiteY6" fmla="*/ 4882840 h 4882840"/>
              <a:gd name="connsiteX7" fmla="*/ 0 w 182562"/>
              <a:gd name="connsiteY7" fmla="*/ 4882840 h 4882840"/>
              <a:gd name="connsiteX0" fmla="*/ 0 w 182562"/>
              <a:gd name="connsiteY0" fmla="*/ 0 h 4882840"/>
              <a:gd name="connsiteX1" fmla="*/ 103187 w 182562"/>
              <a:gd name="connsiteY1" fmla="*/ 0 h 4882840"/>
              <a:gd name="connsiteX2" fmla="*/ 103187 w 182562"/>
              <a:gd name="connsiteY2" fmla="*/ 2237968 h 4882840"/>
              <a:gd name="connsiteX3" fmla="*/ 182562 w 182562"/>
              <a:gd name="connsiteY3" fmla="*/ 2441420 h 4882840"/>
              <a:gd name="connsiteX4" fmla="*/ 103187 w 182562"/>
              <a:gd name="connsiteY4" fmla="*/ 2644872 h 4882840"/>
              <a:gd name="connsiteX5" fmla="*/ 103187 w 182562"/>
              <a:gd name="connsiteY5" fmla="*/ 4882840 h 4882840"/>
              <a:gd name="connsiteX6" fmla="*/ 0 w 182562"/>
              <a:gd name="connsiteY6" fmla="*/ 4882840 h 4882840"/>
              <a:gd name="connsiteX7" fmla="*/ 0 w 182562"/>
              <a:gd name="connsiteY7" fmla="*/ 4882840 h 4882840"/>
              <a:gd name="connsiteX0" fmla="*/ 0 w 182562"/>
              <a:gd name="connsiteY0" fmla="*/ 0 h 4882840"/>
              <a:gd name="connsiteX1" fmla="*/ 103187 w 182562"/>
              <a:gd name="connsiteY1" fmla="*/ 0 h 4882840"/>
              <a:gd name="connsiteX2" fmla="*/ 103187 w 182562"/>
              <a:gd name="connsiteY2" fmla="*/ 2237968 h 4882840"/>
              <a:gd name="connsiteX3" fmla="*/ 182562 w 182562"/>
              <a:gd name="connsiteY3" fmla="*/ 2441420 h 4882840"/>
              <a:gd name="connsiteX4" fmla="*/ 103187 w 182562"/>
              <a:gd name="connsiteY4" fmla="*/ 2644872 h 4882840"/>
              <a:gd name="connsiteX5" fmla="*/ 103187 w 182562"/>
              <a:gd name="connsiteY5" fmla="*/ 4882840 h 4882840"/>
              <a:gd name="connsiteX6" fmla="*/ 0 w 182562"/>
              <a:gd name="connsiteY6" fmla="*/ 4882840 h 4882840"/>
              <a:gd name="connsiteX7" fmla="*/ 0 w 182562"/>
              <a:gd name="connsiteY7" fmla="*/ 4882840 h 4882840"/>
              <a:gd name="connsiteX0" fmla="*/ 0 w 182821"/>
              <a:gd name="connsiteY0" fmla="*/ 0 h 4882840"/>
              <a:gd name="connsiteX1" fmla="*/ 182821 w 182821"/>
              <a:gd name="connsiteY1" fmla="*/ 0 h 4882840"/>
              <a:gd name="connsiteX2" fmla="*/ 103187 w 182821"/>
              <a:gd name="connsiteY2" fmla="*/ 2237968 h 4882840"/>
              <a:gd name="connsiteX3" fmla="*/ 182562 w 182821"/>
              <a:gd name="connsiteY3" fmla="*/ 2441420 h 4882840"/>
              <a:gd name="connsiteX4" fmla="*/ 103187 w 182821"/>
              <a:gd name="connsiteY4" fmla="*/ 2644872 h 4882840"/>
              <a:gd name="connsiteX5" fmla="*/ 103187 w 182821"/>
              <a:gd name="connsiteY5" fmla="*/ 4882840 h 4882840"/>
              <a:gd name="connsiteX6" fmla="*/ 0 w 182821"/>
              <a:gd name="connsiteY6" fmla="*/ 4882840 h 4882840"/>
              <a:gd name="connsiteX7" fmla="*/ 0 w 182821"/>
              <a:gd name="connsiteY7" fmla="*/ 4882840 h 4882840"/>
              <a:gd name="connsiteX0" fmla="*/ 0 w 182821"/>
              <a:gd name="connsiteY0" fmla="*/ 0 h 4882840"/>
              <a:gd name="connsiteX1" fmla="*/ 182821 w 182821"/>
              <a:gd name="connsiteY1" fmla="*/ 0 h 4882840"/>
              <a:gd name="connsiteX2" fmla="*/ 182819 w 182821"/>
              <a:gd name="connsiteY2" fmla="*/ 2092974 h 4882840"/>
              <a:gd name="connsiteX3" fmla="*/ 182562 w 182821"/>
              <a:gd name="connsiteY3" fmla="*/ 2441420 h 4882840"/>
              <a:gd name="connsiteX4" fmla="*/ 103187 w 182821"/>
              <a:gd name="connsiteY4" fmla="*/ 2644872 h 4882840"/>
              <a:gd name="connsiteX5" fmla="*/ 103187 w 182821"/>
              <a:gd name="connsiteY5" fmla="*/ 4882840 h 4882840"/>
              <a:gd name="connsiteX6" fmla="*/ 0 w 182821"/>
              <a:gd name="connsiteY6" fmla="*/ 4882840 h 4882840"/>
              <a:gd name="connsiteX7" fmla="*/ 0 w 182821"/>
              <a:gd name="connsiteY7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103187 w 323451"/>
              <a:gd name="connsiteY4" fmla="*/ 2644872 h 4882840"/>
              <a:gd name="connsiteX5" fmla="*/ 103187 w 323451"/>
              <a:gd name="connsiteY5" fmla="*/ 4882840 h 4882840"/>
              <a:gd name="connsiteX6" fmla="*/ 0 w 323451"/>
              <a:gd name="connsiteY6" fmla="*/ 4882840 h 4882840"/>
              <a:gd name="connsiteX7" fmla="*/ 0 w 323451"/>
              <a:gd name="connsiteY7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182819 w 323451"/>
              <a:gd name="connsiteY4" fmla="*/ 2789866 h 4882840"/>
              <a:gd name="connsiteX5" fmla="*/ 103187 w 323451"/>
              <a:gd name="connsiteY5" fmla="*/ 4882840 h 4882840"/>
              <a:gd name="connsiteX6" fmla="*/ 0 w 323451"/>
              <a:gd name="connsiteY6" fmla="*/ 4882840 h 4882840"/>
              <a:gd name="connsiteX7" fmla="*/ 0 w 323451"/>
              <a:gd name="connsiteY7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182819 w 323451"/>
              <a:gd name="connsiteY4" fmla="*/ 2789866 h 4882840"/>
              <a:gd name="connsiteX5" fmla="*/ 182819 w 323451"/>
              <a:gd name="connsiteY5" fmla="*/ 4882840 h 4882840"/>
              <a:gd name="connsiteX6" fmla="*/ 0 w 323451"/>
              <a:gd name="connsiteY6" fmla="*/ 4882840 h 4882840"/>
              <a:gd name="connsiteX7" fmla="*/ 0 w 323451"/>
              <a:gd name="connsiteY7" fmla="*/ 4882840 h 4882840"/>
              <a:gd name="connsiteX0" fmla="*/ 2 w 323453"/>
              <a:gd name="connsiteY0" fmla="*/ 0 h 4882840"/>
              <a:gd name="connsiteX1" fmla="*/ 182823 w 323453"/>
              <a:gd name="connsiteY1" fmla="*/ 0 h 4882840"/>
              <a:gd name="connsiteX2" fmla="*/ 182821 w 323453"/>
              <a:gd name="connsiteY2" fmla="*/ 2092974 h 4882840"/>
              <a:gd name="connsiteX3" fmla="*/ 323453 w 323453"/>
              <a:gd name="connsiteY3" fmla="*/ 2441420 h 4882840"/>
              <a:gd name="connsiteX4" fmla="*/ 182821 w 323453"/>
              <a:gd name="connsiteY4" fmla="*/ 2789866 h 4882840"/>
              <a:gd name="connsiteX5" fmla="*/ 182821 w 323453"/>
              <a:gd name="connsiteY5" fmla="*/ 4882840 h 4882840"/>
              <a:gd name="connsiteX6" fmla="*/ 0 w 323453"/>
              <a:gd name="connsiteY6" fmla="*/ 4882840 h 4882840"/>
              <a:gd name="connsiteX7" fmla="*/ 2 w 323453"/>
              <a:gd name="connsiteY7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182819 w 323451"/>
              <a:gd name="connsiteY4" fmla="*/ 2789866 h 4882840"/>
              <a:gd name="connsiteX5" fmla="*/ 182819 w 323451"/>
              <a:gd name="connsiteY5" fmla="*/ 4882840 h 4882840"/>
              <a:gd name="connsiteX6" fmla="*/ 0 w 323451"/>
              <a:gd name="connsiteY6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182819 w 323451"/>
              <a:gd name="connsiteY4" fmla="*/ 2789866 h 4882840"/>
              <a:gd name="connsiteX5" fmla="*/ 0 w 323451"/>
              <a:gd name="connsiteY5" fmla="*/ 4882840 h 4882840"/>
              <a:gd name="connsiteX0" fmla="*/ 0 w 323451"/>
              <a:gd name="connsiteY0" fmla="*/ 0 h 4882840"/>
              <a:gd name="connsiteX1" fmla="*/ 182821 w 323451"/>
              <a:gd name="connsiteY1" fmla="*/ 0 h 4882840"/>
              <a:gd name="connsiteX2" fmla="*/ 182819 w 323451"/>
              <a:gd name="connsiteY2" fmla="*/ 2092974 h 4882840"/>
              <a:gd name="connsiteX3" fmla="*/ 323451 w 323451"/>
              <a:gd name="connsiteY3" fmla="*/ 2441420 h 4882840"/>
              <a:gd name="connsiteX4" fmla="*/ 0 w 323451"/>
              <a:gd name="connsiteY4" fmla="*/ 4882840 h 4882840"/>
              <a:gd name="connsiteX0" fmla="*/ 0 w 182821"/>
              <a:gd name="connsiteY0" fmla="*/ 0 h 4882840"/>
              <a:gd name="connsiteX1" fmla="*/ 182821 w 182821"/>
              <a:gd name="connsiteY1" fmla="*/ 0 h 4882840"/>
              <a:gd name="connsiteX2" fmla="*/ 182819 w 182821"/>
              <a:gd name="connsiteY2" fmla="*/ 2092974 h 4882840"/>
              <a:gd name="connsiteX3" fmla="*/ 0 w 182821"/>
              <a:gd name="connsiteY3" fmla="*/ 4882840 h 4882840"/>
              <a:gd name="connsiteX0" fmla="*/ 0 w 182821"/>
              <a:gd name="connsiteY0" fmla="*/ 0 h 4882840"/>
              <a:gd name="connsiteX1" fmla="*/ 182821 w 182821"/>
              <a:gd name="connsiteY1" fmla="*/ 0 h 4882840"/>
              <a:gd name="connsiteX2" fmla="*/ 0 w 182821"/>
              <a:gd name="connsiteY2" fmla="*/ 4882840 h 4882840"/>
              <a:gd name="connsiteX0" fmla="*/ 0 w 0"/>
              <a:gd name="connsiteY0" fmla="*/ 0 h 4882840"/>
              <a:gd name="connsiteX1" fmla="*/ 0 w 0"/>
              <a:gd name="connsiteY1" fmla="*/ 4882840 h 4882840"/>
              <a:gd name="connsiteX0" fmla="*/ 3911714 w 3911714"/>
              <a:gd name="connsiteY0" fmla="*/ 0 h 20235383"/>
              <a:gd name="connsiteX1" fmla="*/ 0 w 3911714"/>
              <a:gd name="connsiteY1" fmla="*/ 20235383 h 20235383"/>
              <a:gd name="connsiteX0" fmla="*/ 3911714 w 4014902"/>
              <a:gd name="connsiteY0" fmla="*/ 0 h 20235383"/>
              <a:gd name="connsiteX1" fmla="*/ 0 w 4014902"/>
              <a:gd name="connsiteY1" fmla="*/ 20235383 h 20235383"/>
              <a:gd name="connsiteX2" fmla="*/ 4014902 w 4014902"/>
              <a:gd name="connsiteY2" fmla="*/ 0 h 20235383"/>
              <a:gd name="connsiteX0" fmla="*/ 3911714 w 4014902"/>
              <a:gd name="connsiteY0" fmla="*/ 0 h 20235383"/>
              <a:gd name="connsiteX1" fmla="*/ 0 w 4014902"/>
              <a:gd name="connsiteY1" fmla="*/ 20235383 h 20235383"/>
              <a:gd name="connsiteX2" fmla="*/ 4014902 w 4014902"/>
              <a:gd name="connsiteY2" fmla="*/ 0 h 20235383"/>
              <a:gd name="connsiteX3" fmla="*/ 4014902 w 4014902"/>
              <a:gd name="connsiteY3" fmla="*/ 3289733 h 20235383"/>
              <a:gd name="connsiteX0" fmla="*/ 3911714 w 4094277"/>
              <a:gd name="connsiteY0" fmla="*/ 0 h 20235383"/>
              <a:gd name="connsiteX1" fmla="*/ 0 w 4094277"/>
              <a:gd name="connsiteY1" fmla="*/ 20235383 h 20235383"/>
              <a:gd name="connsiteX2" fmla="*/ 4014902 w 4094277"/>
              <a:gd name="connsiteY2" fmla="*/ 0 h 20235383"/>
              <a:gd name="connsiteX3" fmla="*/ 4014902 w 4094277"/>
              <a:gd name="connsiteY3" fmla="*/ 3289733 h 20235383"/>
              <a:gd name="connsiteX4" fmla="*/ 4094277 w 4094277"/>
              <a:gd name="connsiteY4" fmla="*/ 3588800 h 20235383"/>
              <a:gd name="connsiteX0" fmla="*/ 3911714 w 4094277"/>
              <a:gd name="connsiteY0" fmla="*/ 0 h 20235383"/>
              <a:gd name="connsiteX1" fmla="*/ 0 w 4094277"/>
              <a:gd name="connsiteY1" fmla="*/ 20235383 h 20235383"/>
              <a:gd name="connsiteX2" fmla="*/ 4014902 w 4094277"/>
              <a:gd name="connsiteY2" fmla="*/ 0 h 20235383"/>
              <a:gd name="connsiteX3" fmla="*/ 4014902 w 4094277"/>
              <a:gd name="connsiteY3" fmla="*/ 3289733 h 20235383"/>
              <a:gd name="connsiteX4" fmla="*/ 4094277 w 4094277"/>
              <a:gd name="connsiteY4" fmla="*/ 3588800 h 20235383"/>
              <a:gd name="connsiteX5" fmla="*/ 4014902 w 4094277"/>
              <a:gd name="connsiteY5" fmla="*/ 3887866 h 20235383"/>
              <a:gd name="connsiteX0" fmla="*/ 3911714 w 4094277"/>
              <a:gd name="connsiteY0" fmla="*/ 0 h 20235383"/>
              <a:gd name="connsiteX1" fmla="*/ 0 w 4094277"/>
              <a:gd name="connsiteY1" fmla="*/ 20235383 h 20235383"/>
              <a:gd name="connsiteX2" fmla="*/ 4014902 w 4094277"/>
              <a:gd name="connsiteY2" fmla="*/ 0 h 20235383"/>
              <a:gd name="connsiteX3" fmla="*/ 4014902 w 4094277"/>
              <a:gd name="connsiteY3" fmla="*/ 3289733 h 20235383"/>
              <a:gd name="connsiteX4" fmla="*/ 4094277 w 4094277"/>
              <a:gd name="connsiteY4" fmla="*/ 3588800 h 20235383"/>
              <a:gd name="connsiteX5" fmla="*/ 4014902 w 4094277"/>
              <a:gd name="connsiteY5" fmla="*/ 3887866 h 20235383"/>
              <a:gd name="connsiteX6" fmla="*/ 4014902 w 4094277"/>
              <a:gd name="connsiteY6" fmla="*/ 7177599 h 20235383"/>
              <a:gd name="connsiteX0" fmla="*/ 3911714 w 4094277"/>
              <a:gd name="connsiteY0" fmla="*/ 0 h 20235383"/>
              <a:gd name="connsiteX1" fmla="*/ 0 w 4094277"/>
              <a:gd name="connsiteY1" fmla="*/ 20235383 h 20235383"/>
              <a:gd name="connsiteX2" fmla="*/ 4014902 w 4094277"/>
              <a:gd name="connsiteY2" fmla="*/ 0 h 20235383"/>
              <a:gd name="connsiteX3" fmla="*/ 4014902 w 4094277"/>
              <a:gd name="connsiteY3" fmla="*/ 3289733 h 20235383"/>
              <a:gd name="connsiteX4" fmla="*/ 4094277 w 4094277"/>
              <a:gd name="connsiteY4" fmla="*/ 3588800 h 20235383"/>
              <a:gd name="connsiteX5" fmla="*/ 4014902 w 4094277"/>
              <a:gd name="connsiteY5" fmla="*/ 3887866 h 20235383"/>
              <a:gd name="connsiteX6" fmla="*/ 4014902 w 4094277"/>
              <a:gd name="connsiteY6" fmla="*/ 7177599 h 20235383"/>
              <a:gd name="connsiteX7" fmla="*/ 3911714 w 4094277"/>
              <a:gd name="connsiteY7" fmla="*/ 7177599 h 20235383"/>
              <a:gd name="connsiteX0" fmla="*/ 3911714 w 4094277"/>
              <a:gd name="connsiteY0" fmla="*/ 0 h 20235383"/>
              <a:gd name="connsiteX1" fmla="*/ 0 w 4094277"/>
              <a:gd name="connsiteY1" fmla="*/ 20235383 h 20235383"/>
              <a:gd name="connsiteX2" fmla="*/ 4014902 w 4094277"/>
              <a:gd name="connsiteY2" fmla="*/ 0 h 20235383"/>
              <a:gd name="connsiteX3" fmla="*/ 4014902 w 4094277"/>
              <a:gd name="connsiteY3" fmla="*/ 3289733 h 20235383"/>
              <a:gd name="connsiteX4" fmla="*/ 4094277 w 4094277"/>
              <a:gd name="connsiteY4" fmla="*/ 3588800 h 20235383"/>
              <a:gd name="connsiteX5" fmla="*/ 4014902 w 4094277"/>
              <a:gd name="connsiteY5" fmla="*/ 3887866 h 20235383"/>
              <a:gd name="connsiteX6" fmla="*/ 4014902 w 4094277"/>
              <a:gd name="connsiteY6" fmla="*/ 7177599 h 20235383"/>
              <a:gd name="connsiteX7" fmla="*/ 3911714 w 4094277"/>
              <a:gd name="connsiteY7" fmla="*/ 7177599 h 20235383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0 h 7177599"/>
              <a:gd name="connsiteX3" fmla="*/ 103188 w 182563"/>
              <a:gd name="connsiteY3" fmla="*/ 3289733 h 7177599"/>
              <a:gd name="connsiteX4" fmla="*/ 182563 w 182563"/>
              <a:gd name="connsiteY4" fmla="*/ 3588800 h 7177599"/>
              <a:gd name="connsiteX5" fmla="*/ 103188 w 182563"/>
              <a:gd name="connsiteY5" fmla="*/ 3887866 h 7177599"/>
              <a:gd name="connsiteX6" fmla="*/ 103188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03188 w 182563"/>
              <a:gd name="connsiteY3" fmla="*/ 3289733 h 7177599"/>
              <a:gd name="connsiteX4" fmla="*/ 182563 w 182563"/>
              <a:gd name="connsiteY4" fmla="*/ 3588800 h 7177599"/>
              <a:gd name="connsiteX5" fmla="*/ 103188 w 182563"/>
              <a:gd name="connsiteY5" fmla="*/ 3887866 h 7177599"/>
              <a:gd name="connsiteX6" fmla="*/ 103188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82563 w 182563"/>
              <a:gd name="connsiteY4" fmla="*/ 3588800 h 7177599"/>
              <a:gd name="connsiteX5" fmla="*/ 103188 w 182563"/>
              <a:gd name="connsiteY5" fmla="*/ 3887866 h 7177599"/>
              <a:gd name="connsiteX6" fmla="*/ 103188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3887866 h 7177599"/>
              <a:gd name="connsiteX6" fmla="*/ 103188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7177599 h 7177599"/>
              <a:gd name="connsiteX6" fmla="*/ 103188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7177599 h 7177599"/>
              <a:gd name="connsiteX6" fmla="*/ 0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03188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7177599 h 7177599"/>
              <a:gd name="connsiteX6" fmla="*/ 0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50374 w 182563"/>
              <a:gd name="connsiteY1" fmla="*/ 0 h 7177599"/>
              <a:gd name="connsiteX2" fmla="*/ 103188 w 182563"/>
              <a:gd name="connsiteY2" fmla="*/ 3289733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7177599 h 7177599"/>
              <a:gd name="connsiteX6" fmla="*/ 0 w 182563"/>
              <a:gd name="connsiteY6" fmla="*/ 7177599 h 7177599"/>
              <a:gd name="connsiteX7" fmla="*/ 0 w 182563"/>
              <a:gd name="connsiteY7" fmla="*/ 7177599 h 7177599"/>
              <a:gd name="connsiteX0" fmla="*/ 0 w 182563"/>
              <a:gd name="connsiteY0" fmla="*/ 0 h 7177599"/>
              <a:gd name="connsiteX1" fmla="*/ 150374 w 182563"/>
              <a:gd name="connsiteY1" fmla="*/ 0 h 7177599"/>
              <a:gd name="connsiteX2" fmla="*/ 150374 w 182563"/>
              <a:gd name="connsiteY2" fmla="*/ 3167500 h 7177599"/>
              <a:gd name="connsiteX3" fmla="*/ 182563 w 182563"/>
              <a:gd name="connsiteY3" fmla="*/ 3588800 h 7177599"/>
              <a:gd name="connsiteX4" fmla="*/ 103188 w 182563"/>
              <a:gd name="connsiteY4" fmla="*/ 3887866 h 7177599"/>
              <a:gd name="connsiteX5" fmla="*/ 103188 w 182563"/>
              <a:gd name="connsiteY5" fmla="*/ 7177599 h 7177599"/>
              <a:gd name="connsiteX6" fmla="*/ 0 w 182563"/>
              <a:gd name="connsiteY6" fmla="*/ 7177599 h 7177599"/>
              <a:gd name="connsiteX7" fmla="*/ 0 w 182563"/>
              <a:gd name="connsiteY7" fmla="*/ 7177599 h 7177599"/>
              <a:gd name="connsiteX0" fmla="*/ 0 w 266046"/>
              <a:gd name="connsiteY0" fmla="*/ 0 h 7177599"/>
              <a:gd name="connsiteX1" fmla="*/ 150374 w 266046"/>
              <a:gd name="connsiteY1" fmla="*/ 0 h 7177599"/>
              <a:gd name="connsiteX2" fmla="*/ 150374 w 266046"/>
              <a:gd name="connsiteY2" fmla="*/ 3167500 h 7177599"/>
              <a:gd name="connsiteX3" fmla="*/ 266046 w 266046"/>
              <a:gd name="connsiteY3" fmla="*/ 3588800 h 7177599"/>
              <a:gd name="connsiteX4" fmla="*/ 103188 w 266046"/>
              <a:gd name="connsiteY4" fmla="*/ 3887866 h 7177599"/>
              <a:gd name="connsiteX5" fmla="*/ 103188 w 266046"/>
              <a:gd name="connsiteY5" fmla="*/ 7177599 h 7177599"/>
              <a:gd name="connsiteX6" fmla="*/ 0 w 266046"/>
              <a:gd name="connsiteY6" fmla="*/ 7177599 h 7177599"/>
              <a:gd name="connsiteX7" fmla="*/ 0 w 266046"/>
              <a:gd name="connsiteY7" fmla="*/ 7177599 h 7177599"/>
              <a:gd name="connsiteX0" fmla="*/ 0 w 266046"/>
              <a:gd name="connsiteY0" fmla="*/ 0 h 7177599"/>
              <a:gd name="connsiteX1" fmla="*/ 150374 w 266046"/>
              <a:gd name="connsiteY1" fmla="*/ 0 h 7177599"/>
              <a:gd name="connsiteX2" fmla="*/ 150374 w 266046"/>
              <a:gd name="connsiteY2" fmla="*/ 3167500 h 7177599"/>
              <a:gd name="connsiteX3" fmla="*/ 266046 w 266046"/>
              <a:gd name="connsiteY3" fmla="*/ 3588800 h 7177599"/>
              <a:gd name="connsiteX4" fmla="*/ 150374 w 266046"/>
              <a:gd name="connsiteY4" fmla="*/ 4010099 h 7177599"/>
              <a:gd name="connsiteX5" fmla="*/ 103188 w 266046"/>
              <a:gd name="connsiteY5" fmla="*/ 7177599 h 7177599"/>
              <a:gd name="connsiteX6" fmla="*/ 0 w 266046"/>
              <a:gd name="connsiteY6" fmla="*/ 7177599 h 7177599"/>
              <a:gd name="connsiteX7" fmla="*/ 0 w 266046"/>
              <a:gd name="connsiteY7" fmla="*/ 7177599 h 7177599"/>
              <a:gd name="connsiteX0" fmla="*/ 0 w 266046"/>
              <a:gd name="connsiteY0" fmla="*/ 0 h 7177599"/>
              <a:gd name="connsiteX1" fmla="*/ 150374 w 266046"/>
              <a:gd name="connsiteY1" fmla="*/ 0 h 7177599"/>
              <a:gd name="connsiteX2" fmla="*/ 150374 w 266046"/>
              <a:gd name="connsiteY2" fmla="*/ 3167500 h 7177599"/>
              <a:gd name="connsiteX3" fmla="*/ 266046 w 266046"/>
              <a:gd name="connsiteY3" fmla="*/ 3588800 h 7177599"/>
              <a:gd name="connsiteX4" fmla="*/ 150374 w 266046"/>
              <a:gd name="connsiteY4" fmla="*/ 4010099 h 7177599"/>
              <a:gd name="connsiteX5" fmla="*/ 150374 w 266046"/>
              <a:gd name="connsiteY5" fmla="*/ 7177599 h 7177599"/>
              <a:gd name="connsiteX6" fmla="*/ 0 w 266046"/>
              <a:gd name="connsiteY6" fmla="*/ 7177599 h 7177599"/>
              <a:gd name="connsiteX7" fmla="*/ 0 w 266046"/>
              <a:gd name="connsiteY7" fmla="*/ 7177599 h 7177599"/>
              <a:gd name="connsiteX0" fmla="*/ 0 w 266046"/>
              <a:gd name="connsiteY0" fmla="*/ 0 h 7177599"/>
              <a:gd name="connsiteX1" fmla="*/ 150374 w 266046"/>
              <a:gd name="connsiteY1" fmla="*/ 0 h 7177599"/>
              <a:gd name="connsiteX2" fmla="*/ 150374 w 266046"/>
              <a:gd name="connsiteY2" fmla="*/ 3167500 h 7177599"/>
              <a:gd name="connsiteX3" fmla="*/ 266046 w 266046"/>
              <a:gd name="connsiteY3" fmla="*/ 3588800 h 7177599"/>
              <a:gd name="connsiteX4" fmla="*/ 150374 w 266046"/>
              <a:gd name="connsiteY4" fmla="*/ 4010099 h 7177599"/>
              <a:gd name="connsiteX5" fmla="*/ 150374 w 266046"/>
              <a:gd name="connsiteY5" fmla="*/ 7177599 h 7177599"/>
              <a:gd name="connsiteX6" fmla="*/ 0 w 266046"/>
              <a:gd name="connsiteY6" fmla="*/ 7177599 h 7177599"/>
              <a:gd name="connsiteX7" fmla="*/ 0 w 266046"/>
              <a:gd name="connsiteY7" fmla="*/ 7177599 h 71775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66046" h="7177599">
                <a:moveTo>
                  <a:pt x="0" y="0"/>
                </a:moveTo>
                <a:lnTo>
                  <a:pt x="150374" y="0"/>
                </a:lnTo>
                <a:lnTo>
                  <a:pt x="150374" y="3167500"/>
                </a:lnTo>
                <a:lnTo>
                  <a:pt x="266046" y="3588800"/>
                </a:lnTo>
                <a:lnTo>
                  <a:pt x="150374" y="4010099"/>
                </a:lnTo>
                <a:lnTo>
                  <a:pt x="150374" y="7177599"/>
                </a:lnTo>
                <a:lnTo>
                  <a:pt x="0" y="7177599"/>
                </a:lnTo>
                <a:lnTo>
                  <a:pt x="0" y="7177599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00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05" name="Bracket 319"/>
          <p:cNvSpPr>
            <a:spLocks/>
          </p:cNvSpPr>
          <p:nvPr>
            <p:custDataLst>
              <p:tags r:id="rId6"/>
            </p:custDataLst>
          </p:nvPr>
        </p:nvSpPr>
        <p:spPr bwMode="gray">
          <a:xfrm rot="10800000">
            <a:off x="1176456" y="4568368"/>
            <a:ext cx="180989" cy="516300"/>
          </a:xfrm>
          <a:custGeom>
            <a:avLst/>
            <a:gdLst>
              <a:gd name="T0" fmla="*/ 0 w 115"/>
              <a:gd name="T1" fmla="*/ 0 h 1152"/>
              <a:gd name="T2" fmla="*/ 65 w 115"/>
              <a:gd name="T3" fmla="*/ 0 h 1152"/>
              <a:gd name="T4" fmla="*/ 65 w 115"/>
              <a:gd name="T5" fmla="*/ 528 h 1152"/>
              <a:gd name="T6" fmla="*/ 115 w 115"/>
              <a:gd name="T7" fmla="*/ 576 h 1152"/>
              <a:gd name="T8" fmla="*/ 65 w 115"/>
              <a:gd name="T9" fmla="*/ 624 h 1152"/>
              <a:gd name="T10" fmla="*/ 65 w 115"/>
              <a:gd name="T11" fmla="*/ 1152 h 1152"/>
              <a:gd name="T12" fmla="*/ 0 w 115"/>
              <a:gd name="T13" fmla="*/ 1152 h 1152"/>
              <a:gd name="connsiteX0" fmla="*/ 0 w 115"/>
              <a:gd name="connsiteY0" fmla="*/ 0 h 1152"/>
              <a:gd name="connsiteX1" fmla="*/ 65 w 115"/>
              <a:gd name="connsiteY1" fmla="*/ 0 h 1152"/>
              <a:gd name="connsiteX2" fmla="*/ 65 w 115"/>
              <a:gd name="connsiteY2" fmla="*/ 528 h 1152"/>
              <a:gd name="connsiteX3" fmla="*/ 115 w 115"/>
              <a:gd name="connsiteY3" fmla="*/ 576 h 1152"/>
              <a:gd name="connsiteX4" fmla="*/ 65 w 115"/>
              <a:gd name="connsiteY4" fmla="*/ 624 h 1152"/>
              <a:gd name="connsiteX5" fmla="*/ 65 w 115"/>
              <a:gd name="connsiteY5" fmla="*/ 1152 h 1152"/>
              <a:gd name="connsiteX0" fmla="*/ 0 w 115"/>
              <a:gd name="connsiteY0" fmla="*/ 0 h 624"/>
              <a:gd name="connsiteX1" fmla="*/ 65 w 115"/>
              <a:gd name="connsiteY1" fmla="*/ 0 h 624"/>
              <a:gd name="connsiteX2" fmla="*/ 65 w 115"/>
              <a:gd name="connsiteY2" fmla="*/ 528 h 624"/>
              <a:gd name="connsiteX3" fmla="*/ 115 w 115"/>
              <a:gd name="connsiteY3" fmla="*/ 576 h 624"/>
              <a:gd name="connsiteX4" fmla="*/ 65 w 115"/>
              <a:gd name="connsiteY4" fmla="*/ 624 h 624"/>
              <a:gd name="connsiteX0" fmla="*/ 0 w 115"/>
              <a:gd name="connsiteY0" fmla="*/ 0 h 576"/>
              <a:gd name="connsiteX1" fmla="*/ 65 w 115"/>
              <a:gd name="connsiteY1" fmla="*/ 0 h 576"/>
              <a:gd name="connsiteX2" fmla="*/ 65 w 115"/>
              <a:gd name="connsiteY2" fmla="*/ 528 h 576"/>
              <a:gd name="connsiteX3" fmla="*/ 115 w 115"/>
              <a:gd name="connsiteY3" fmla="*/ 576 h 576"/>
              <a:gd name="connsiteX0" fmla="*/ 0 w 65"/>
              <a:gd name="connsiteY0" fmla="*/ 0 h 528"/>
              <a:gd name="connsiteX1" fmla="*/ 65 w 65"/>
              <a:gd name="connsiteY1" fmla="*/ 0 h 528"/>
              <a:gd name="connsiteX2" fmla="*/ 65 w 65"/>
              <a:gd name="connsiteY2" fmla="*/ 528 h 528"/>
              <a:gd name="connsiteX0" fmla="*/ 0 w 65"/>
              <a:gd name="connsiteY0" fmla="*/ 0 h 0"/>
              <a:gd name="connsiteX1" fmla="*/ 65 w 65"/>
              <a:gd name="connsiteY1" fmla="*/ 0 h 0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0" fmla="*/ 0 w 815"/>
              <a:gd name="connsiteY0" fmla="*/ 1190429 h 1190429"/>
              <a:gd name="connsiteX1" fmla="*/ 815 w 815"/>
              <a:gd name="connsiteY1" fmla="*/ 0 h 1190429"/>
              <a:gd name="connsiteX2" fmla="*/ 65 w 815"/>
              <a:gd name="connsiteY2" fmla="*/ 1190429 h 1190429"/>
              <a:gd name="connsiteX0" fmla="*/ 0 w 815"/>
              <a:gd name="connsiteY0" fmla="*/ 1190429 h 2028629"/>
              <a:gd name="connsiteX1" fmla="*/ 815 w 815"/>
              <a:gd name="connsiteY1" fmla="*/ 0 h 2028629"/>
              <a:gd name="connsiteX2" fmla="*/ 65 w 815"/>
              <a:gd name="connsiteY2" fmla="*/ 1190429 h 2028629"/>
              <a:gd name="connsiteX3" fmla="*/ 65 w 815"/>
              <a:gd name="connsiteY3" fmla="*/ 2028629 h 2028629"/>
              <a:gd name="connsiteX0" fmla="*/ 0 w 815"/>
              <a:gd name="connsiteY0" fmla="*/ 1190429 h 2104829"/>
              <a:gd name="connsiteX1" fmla="*/ 815 w 815"/>
              <a:gd name="connsiteY1" fmla="*/ 0 h 2104829"/>
              <a:gd name="connsiteX2" fmla="*/ 65 w 815"/>
              <a:gd name="connsiteY2" fmla="*/ 1190429 h 2104829"/>
              <a:gd name="connsiteX3" fmla="*/ 65 w 815"/>
              <a:gd name="connsiteY3" fmla="*/ 2028629 h 2104829"/>
              <a:gd name="connsiteX4" fmla="*/ 115 w 815"/>
              <a:gd name="connsiteY4" fmla="*/ 2104829 h 2104829"/>
              <a:gd name="connsiteX0" fmla="*/ 0 w 815"/>
              <a:gd name="connsiteY0" fmla="*/ 1190429 h 2181029"/>
              <a:gd name="connsiteX1" fmla="*/ 815 w 815"/>
              <a:gd name="connsiteY1" fmla="*/ 0 h 2181029"/>
              <a:gd name="connsiteX2" fmla="*/ 65 w 815"/>
              <a:gd name="connsiteY2" fmla="*/ 1190429 h 2181029"/>
              <a:gd name="connsiteX3" fmla="*/ 65 w 815"/>
              <a:gd name="connsiteY3" fmla="*/ 2028629 h 2181029"/>
              <a:gd name="connsiteX4" fmla="*/ 115 w 815"/>
              <a:gd name="connsiteY4" fmla="*/ 2104829 h 2181029"/>
              <a:gd name="connsiteX5" fmla="*/ 65 w 815"/>
              <a:gd name="connsiteY5" fmla="*/ 2181029 h 21810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815"/>
              <a:gd name="connsiteY0" fmla="*/ 1190429 h 3019229"/>
              <a:gd name="connsiteX1" fmla="*/ 815 w 815"/>
              <a:gd name="connsiteY1" fmla="*/ 0 h 3019229"/>
              <a:gd name="connsiteX2" fmla="*/ 65 w 815"/>
              <a:gd name="connsiteY2" fmla="*/ 1190429 h 3019229"/>
              <a:gd name="connsiteX3" fmla="*/ 65 w 815"/>
              <a:gd name="connsiteY3" fmla="*/ 2028629 h 3019229"/>
              <a:gd name="connsiteX4" fmla="*/ 115 w 815"/>
              <a:gd name="connsiteY4" fmla="*/ 2104829 h 3019229"/>
              <a:gd name="connsiteX5" fmla="*/ 65 w 815"/>
              <a:gd name="connsiteY5" fmla="*/ 2181029 h 3019229"/>
              <a:gd name="connsiteX6" fmla="*/ 65 w 815"/>
              <a:gd name="connsiteY6" fmla="*/ 3019229 h 3019229"/>
              <a:gd name="connsiteX7" fmla="*/ 0 w 815"/>
              <a:gd name="connsiteY7" fmla="*/ 3019229 h 3019229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0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65 w 115"/>
              <a:gd name="connsiteY3" fmla="*/ 838200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115 w 115"/>
              <a:gd name="connsiteY4" fmla="*/ 914400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990600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65 w 115"/>
              <a:gd name="connsiteY6" fmla="*/ 1828800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38199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5"/>
              <a:gd name="connsiteY0" fmla="*/ 0 h 1828800"/>
              <a:gd name="connsiteX1" fmla="*/ 65 w 115"/>
              <a:gd name="connsiteY1" fmla="*/ 0 h 1828800"/>
              <a:gd name="connsiteX2" fmla="*/ 65 w 115"/>
              <a:gd name="connsiteY2" fmla="*/ 841268 h 1828800"/>
              <a:gd name="connsiteX3" fmla="*/ 115 w 115"/>
              <a:gd name="connsiteY3" fmla="*/ 914399 h 1828800"/>
              <a:gd name="connsiteX4" fmla="*/ 65 w 115"/>
              <a:gd name="connsiteY4" fmla="*/ 990599 h 1828800"/>
              <a:gd name="connsiteX5" fmla="*/ 65 w 115"/>
              <a:gd name="connsiteY5" fmla="*/ 1828799 h 1828800"/>
              <a:gd name="connsiteX6" fmla="*/ 0 w 115"/>
              <a:gd name="connsiteY6" fmla="*/ 1828799 h 1828800"/>
              <a:gd name="connsiteX7" fmla="*/ 0 w 115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90599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799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799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7" fmla="*/ 0 w 114"/>
              <a:gd name="connsiteY7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65 w 114"/>
              <a:gd name="connsiteY5" fmla="*/ 1828800 h 1828800"/>
              <a:gd name="connsiteX6" fmla="*/ 0 w 114"/>
              <a:gd name="connsiteY6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65 w 114"/>
              <a:gd name="connsiteY4" fmla="*/ 987532 h 1828800"/>
              <a:gd name="connsiteX5" fmla="*/ 0 w 114"/>
              <a:gd name="connsiteY5" fmla="*/ 1828800 h 1828800"/>
              <a:gd name="connsiteX0" fmla="*/ 0 w 114"/>
              <a:gd name="connsiteY0" fmla="*/ 0 h 1828800"/>
              <a:gd name="connsiteX1" fmla="*/ 65 w 114"/>
              <a:gd name="connsiteY1" fmla="*/ 0 h 1828800"/>
              <a:gd name="connsiteX2" fmla="*/ 65 w 114"/>
              <a:gd name="connsiteY2" fmla="*/ 841268 h 1828800"/>
              <a:gd name="connsiteX3" fmla="*/ 114 w 114"/>
              <a:gd name="connsiteY3" fmla="*/ 914400 h 1828800"/>
              <a:gd name="connsiteX4" fmla="*/ 0 w 114"/>
              <a:gd name="connsiteY4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65 w 65"/>
              <a:gd name="connsiteY2" fmla="*/ 841268 h 1828800"/>
              <a:gd name="connsiteX3" fmla="*/ 0 w 65"/>
              <a:gd name="connsiteY3" fmla="*/ 1828800 h 1828800"/>
              <a:gd name="connsiteX0" fmla="*/ 0 w 65"/>
              <a:gd name="connsiteY0" fmla="*/ 0 h 1828800"/>
              <a:gd name="connsiteX1" fmla="*/ 65 w 65"/>
              <a:gd name="connsiteY1" fmla="*/ 0 h 1828800"/>
              <a:gd name="connsiteX2" fmla="*/ 0 w 65"/>
              <a:gd name="connsiteY2" fmla="*/ 1828800 h 1828800"/>
              <a:gd name="connsiteX0" fmla="*/ 0 w 0"/>
              <a:gd name="connsiteY0" fmla="*/ 0 h 1828800"/>
              <a:gd name="connsiteX1" fmla="*/ 0 w 0"/>
              <a:gd name="connsiteY1" fmla="*/ 1828800 h 1828800"/>
              <a:gd name="connsiteX0" fmla="*/ 635702 w 635702"/>
              <a:gd name="connsiteY0" fmla="*/ 0 h 2475792"/>
              <a:gd name="connsiteX1" fmla="*/ 0 w 635702"/>
              <a:gd name="connsiteY1" fmla="*/ 2475792 h 2475792"/>
              <a:gd name="connsiteX0" fmla="*/ 635702 w 738889"/>
              <a:gd name="connsiteY0" fmla="*/ 0 h 2475792"/>
              <a:gd name="connsiteX1" fmla="*/ 0 w 738889"/>
              <a:gd name="connsiteY1" fmla="*/ 2475792 h 2475792"/>
              <a:gd name="connsiteX2" fmla="*/ 738889 w 738889"/>
              <a:gd name="connsiteY2" fmla="*/ 0 h 2475792"/>
              <a:gd name="connsiteX0" fmla="*/ 635702 w 738889"/>
              <a:gd name="connsiteY0" fmla="*/ 0 h 2475792"/>
              <a:gd name="connsiteX1" fmla="*/ 0 w 738889"/>
              <a:gd name="connsiteY1" fmla="*/ 2475792 h 2475792"/>
              <a:gd name="connsiteX2" fmla="*/ 738889 w 738889"/>
              <a:gd name="connsiteY2" fmla="*/ 0 h 2475792"/>
              <a:gd name="connsiteX3" fmla="*/ 738889 w 738889"/>
              <a:gd name="connsiteY3" fmla="*/ 853087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0" fmla="*/ 635702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7" fmla="*/ 635701 w 818264"/>
              <a:gd name="connsiteY7" fmla="*/ 1861280 h 2475792"/>
              <a:gd name="connsiteX0" fmla="*/ 635701 w 818264"/>
              <a:gd name="connsiteY0" fmla="*/ 0 h 2475792"/>
              <a:gd name="connsiteX1" fmla="*/ 0 w 818264"/>
              <a:gd name="connsiteY1" fmla="*/ 2475792 h 2475792"/>
              <a:gd name="connsiteX2" fmla="*/ 738889 w 818264"/>
              <a:gd name="connsiteY2" fmla="*/ 0 h 2475792"/>
              <a:gd name="connsiteX3" fmla="*/ 738889 w 818264"/>
              <a:gd name="connsiteY3" fmla="*/ 853087 h 2475792"/>
              <a:gd name="connsiteX4" fmla="*/ 818264 w 818264"/>
              <a:gd name="connsiteY4" fmla="*/ 930640 h 2475792"/>
              <a:gd name="connsiteX5" fmla="*/ 738888 w 818264"/>
              <a:gd name="connsiteY5" fmla="*/ 1008193 h 2475792"/>
              <a:gd name="connsiteX6" fmla="*/ 738888 w 818264"/>
              <a:gd name="connsiteY6" fmla="*/ 1861280 h 2475792"/>
              <a:gd name="connsiteX7" fmla="*/ 635701 w 818264"/>
              <a:gd name="connsiteY7" fmla="*/ 1861280 h 2475792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8 w 182563"/>
              <a:gd name="connsiteY2" fmla="*/ 0 h 1861280"/>
              <a:gd name="connsiteX3" fmla="*/ 103188 w 182563"/>
              <a:gd name="connsiteY3" fmla="*/ 853087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7 w 182563"/>
              <a:gd name="connsiteY2" fmla="*/ 853087 h 1861280"/>
              <a:gd name="connsiteX3" fmla="*/ 103188 w 182563"/>
              <a:gd name="connsiteY3" fmla="*/ 853087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3"/>
              <a:gd name="connsiteY0" fmla="*/ 0 h 1861280"/>
              <a:gd name="connsiteX1" fmla="*/ 103187 w 182563"/>
              <a:gd name="connsiteY1" fmla="*/ 0 h 1861280"/>
              <a:gd name="connsiteX2" fmla="*/ 103187 w 182563"/>
              <a:gd name="connsiteY2" fmla="*/ 853087 h 1861280"/>
              <a:gd name="connsiteX3" fmla="*/ 182562 w 182563"/>
              <a:gd name="connsiteY3" fmla="*/ 930640 h 1861280"/>
              <a:gd name="connsiteX4" fmla="*/ 182563 w 182563"/>
              <a:gd name="connsiteY4" fmla="*/ 930640 h 1861280"/>
              <a:gd name="connsiteX5" fmla="*/ 103187 w 182563"/>
              <a:gd name="connsiteY5" fmla="*/ 1008193 h 1861280"/>
              <a:gd name="connsiteX6" fmla="*/ 103187 w 182563"/>
              <a:gd name="connsiteY6" fmla="*/ 1861280 h 1861280"/>
              <a:gd name="connsiteX7" fmla="*/ 0 w 182563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008193 h 1861280"/>
              <a:gd name="connsiteX6" fmla="*/ 103187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103187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3187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4115 w 182562"/>
              <a:gd name="connsiteY1" fmla="*/ 0 h 1861280"/>
              <a:gd name="connsiteX2" fmla="*/ 103187 w 182562"/>
              <a:gd name="connsiteY2" fmla="*/ 853087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2562"/>
              <a:gd name="connsiteY0" fmla="*/ 0 h 1861280"/>
              <a:gd name="connsiteX1" fmla="*/ 104115 w 182562"/>
              <a:gd name="connsiteY1" fmla="*/ 0 h 1861280"/>
              <a:gd name="connsiteX2" fmla="*/ 104115 w 182562"/>
              <a:gd name="connsiteY2" fmla="*/ 854998 h 1861280"/>
              <a:gd name="connsiteX3" fmla="*/ 182562 w 182562"/>
              <a:gd name="connsiteY3" fmla="*/ 930640 h 1861280"/>
              <a:gd name="connsiteX4" fmla="*/ 103187 w 182562"/>
              <a:gd name="connsiteY4" fmla="*/ 1008193 h 1861280"/>
              <a:gd name="connsiteX5" fmla="*/ 103187 w 182562"/>
              <a:gd name="connsiteY5" fmla="*/ 1861280 h 1861280"/>
              <a:gd name="connsiteX6" fmla="*/ 0 w 182562"/>
              <a:gd name="connsiteY6" fmla="*/ 1861280 h 1861280"/>
              <a:gd name="connsiteX7" fmla="*/ 0 w 182562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3187 w 184204"/>
              <a:gd name="connsiteY4" fmla="*/ 1008193 h 1861280"/>
              <a:gd name="connsiteX5" fmla="*/ 103187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3187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7" fmla="*/ 0 w 184204"/>
              <a:gd name="connsiteY7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104115 w 184204"/>
              <a:gd name="connsiteY5" fmla="*/ 1861280 h 1861280"/>
              <a:gd name="connsiteX6" fmla="*/ 0 w 184204"/>
              <a:gd name="connsiteY6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104115 w 184204"/>
              <a:gd name="connsiteY4" fmla="*/ 1006282 h 1861280"/>
              <a:gd name="connsiteX5" fmla="*/ 0 w 184204"/>
              <a:gd name="connsiteY5" fmla="*/ 1861280 h 1861280"/>
              <a:gd name="connsiteX0" fmla="*/ 0 w 184204"/>
              <a:gd name="connsiteY0" fmla="*/ 0 h 1861280"/>
              <a:gd name="connsiteX1" fmla="*/ 104115 w 184204"/>
              <a:gd name="connsiteY1" fmla="*/ 0 h 1861280"/>
              <a:gd name="connsiteX2" fmla="*/ 104115 w 184204"/>
              <a:gd name="connsiteY2" fmla="*/ 854998 h 1861280"/>
              <a:gd name="connsiteX3" fmla="*/ 184204 w 184204"/>
              <a:gd name="connsiteY3" fmla="*/ 930639 h 1861280"/>
              <a:gd name="connsiteX4" fmla="*/ 0 w 184204"/>
              <a:gd name="connsiteY4" fmla="*/ 1861280 h 1861280"/>
              <a:gd name="connsiteX0" fmla="*/ 0 w 104115"/>
              <a:gd name="connsiteY0" fmla="*/ 0 h 1861280"/>
              <a:gd name="connsiteX1" fmla="*/ 104115 w 104115"/>
              <a:gd name="connsiteY1" fmla="*/ 0 h 1861280"/>
              <a:gd name="connsiteX2" fmla="*/ 104115 w 104115"/>
              <a:gd name="connsiteY2" fmla="*/ 854998 h 1861280"/>
              <a:gd name="connsiteX3" fmla="*/ 0 w 104115"/>
              <a:gd name="connsiteY3" fmla="*/ 1861280 h 1861280"/>
              <a:gd name="connsiteX0" fmla="*/ 0 w 104115"/>
              <a:gd name="connsiteY0" fmla="*/ 0 h 1861280"/>
              <a:gd name="connsiteX1" fmla="*/ 104115 w 104115"/>
              <a:gd name="connsiteY1" fmla="*/ 0 h 1861280"/>
              <a:gd name="connsiteX2" fmla="*/ 0 w 104115"/>
              <a:gd name="connsiteY2" fmla="*/ 1861280 h 1861280"/>
              <a:gd name="connsiteX0" fmla="*/ 0 w 0"/>
              <a:gd name="connsiteY0" fmla="*/ 0 h 1861280"/>
              <a:gd name="connsiteX1" fmla="*/ 0 w 0"/>
              <a:gd name="connsiteY1" fmla="*/ 1861280 h 1861280"/>
              <a:gd name="connsiteX0" fmla="*/ 2702803 w 2702803"/>
              <a:gd name="connsiteY0" fmla="*/ 0 h 5899250"/>
              <a:gd name="connsiteX1" fmla="*/ 0 w 2702803"/>
              <a:gd name="connsiteY1" fmla="*/ 5899250 h 5899250"/>
              <a:gd name="connsiteX0" fmla="*/ 2702803 w 2805991"/>
              <a:gd name="connsiteY0" fmla="*/ 0 h 5899250"/>
              <a:gd name="connsiteX1" fmla="*/ 0 w 2805991"/>
              <a:gd name="connsiteY1" fmla="*/ 5899250 h 5899250"/>
              <a:gd name="connsiteX2" fmla="*/ 2805991 w 2805991"/>
              <a:gd name="connsiteY2" fmla="*/ 1 h 5899250"/>
              <a:gd name="connsiteX0" fmla="*/ 2702803 w 2805991"/>
              <a:gd name="connsiteY0" fmla="*/ 0 h 5899250"/>
              <a:gd name="connsiteX1" fmla="*/ 0 w 2805991"/>
              <a:gd name="connsiteY1" fmla="*/ 5899250 h 5899250"/>
              <a:gd name="connsiteX2" fmla="*/ 2805991 w 2805991"/>
              <a:gd name="connsiteY2" fmla="*/ 1 h 5899250"/>
              <a:gd name="connsiteX3" fmla="*/ 2805991 w 2805991"/>
              <a:gd name="connsiteY3" fmla="*/ 1252267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6" fmla="*/ 2805990 w 2885366"/>
              <a:gd name="connsiteY6" fmla="*/ 2732217 h 5899250"/>
              <a:gd name="connsiteX0" fmla="*/ 2702803 w 2885366"/>
              <a:gd name="connsiteY0" fmla="*/ 0 h 5899250"/>
              <a:gd name="connsiteX1" fmla="*/ 0 w 2885366"/>
              <a:gd name="connsiteY1" fmla="*/ 5899250 h 5899250"/>
              <a:gd name="connsiteX2" fmla="*/ 2805991 w 2885366"/>
              <a:gd name="connsiteY2" fmla="*/ 1 h 5899250"/>
              <a:gd name="connsiteX3" fmla="*/ 2805991 w 2885366"/>
              <a:gd name="connsiteY3" fmla="*/ 1252267 h 5899250"/>
              <a:gd name="connsiteX4" fmla="*/ 2885366 w 2885366"/>
              <a:gd name="connsiteY4" fmla="*/ 1366109 h 5899250"/>
              <a:gd name="connsiteX5" fmla="*/ 2805990 w 2885366"/>
              <a:gd name="connsiteY5" fmla="*/ 1479951 h 5899250"/>
              <a:gd name="connsiteX6" fmla="*/ 2805990 w 2885366"/>
              <a:gd name="connsiteY6" fmla="*/ 2732217 h 5899250"/>
              <a:gd name="connsiteX7" fmla="*/ 2702802 w 2885366"/>
              <a:gd name="connsiteY7" fmla="*/ 2732217 h 5899250"/>
              <a:gd name="connsiteX0" fmla="*/ 2702802 w 2885366"/>
              <a:gd name="connsiteY0" fmla="*/ 0 h 5899249"/>
              <a:gd name="connsiteX1" fmla="*/ 0 w 2885366"/>
              <a:gd name="connsiteY1" fmla="*/ 5899249 h 5899249"/>
              <a:gd name="connsiteX2" fmla="*/ 2805991 w 2885366"/>
              <a:gd name="connsiteY2" fmla="*/ 0 h 5899249"/>
              <a:gd name="connsiteX3" fmla="*/ 2805991 w 2885366"/>
              <a:gd name="connsiteY3" fmla="*/ 1252266 h 5899249"/>
              <a:gd name="connsiteX4" fmla="*/ 2885366 w 2885366"/>
              <a:gd name="connsiteY4" fmla="*/ 1366108 h 5899249"/>
              <a:gd name="connsiteX5" fmla="*/ 2805990 w 2885366"/>
              <a:gd name="connsiteY5" fmla="*/ 1479950 h 5899249"/>
              <a:gd name="connsiteX6" fmla="*/ 2805990 w 2885366"/>
              <a:gd name="connsiteY6" fmla="*/ 2732216 h 5899249"/>
              <a:gd name="connsiteX7" fmla="*/ 2702802 w 2885366"/>
              <a:gd name="connsiteY7" fmla="*/ 2732216 h 5899249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9 w 182564"/>
              <a:gd name="connsiteY2" fmla="*/ 1 h 2732217"/>
              <a:gd name="connsiteX3" fmla="*/ 103189 w 182564"/>
              <a:gd name="connsiteY3" fmla="*/ 1252267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8 w 182564"/>
              <a:gd name="connsiteY2" fmla="*/ 1252267 h 2732217"/>
              <a:gd name="connsiteX3" fmla="*/ 103189 w 182564"/>
              <a:gd name="connsiteY3" fmla="*/ 1252267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4"/>
              <a:gd name="connsiteY0" fmla="*/ 1 h 2732217"/>
              <a:gd name="connsiteX1" fmla="*/ 103188 w 182564"/>
              <a:gd name="connsiteY1" fmla="*/ 0 h 2732217"/>
              <a:gd name="connsiteX2" fmla="*/ 103188 w 182564"/>
              <a:gd name="connsiteY2" fmla="*/ 1252267 h 2732217"/>
              <a:gd name="connsiteX3" fmla="*/ 182563 w 182564"/>
              <a:gd name="connsiteY3" fmla="*/ 1366109 h 2732217"/>
              <a:gd name="connsiteX4" fmla="*/ 182564 w 182564"/>
              <a:gd name="connsiteY4" fmla="*/ 1366109 h 2732217"/>
              <a:gd name="connsiteX5" fmla="*/ 103188 w 182564"/>
              <a:gd name="connsiteY5" fmla="*/ 1479951 h 2732217"/>
              <a:gd name="connsiteX6" fmla="*/ 103188 w 182564"/>
              <a:gd name="connsiteY6" fmla="*/ 2732217 h 2732217"/>
              <a:gd name="connsiteX7" fmla="*/ 0 w 182564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8 w 182563"/>
              <a:gd name="connsiteY5" fmla="*/ 1479951 h 2732217"/>
              <a:gd name="connsiteX6" fmla="*/ 103188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03188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1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03188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50166 w 182563"/>
              <a:gd name="connsiteY1" fmla="*/ 0 h 2732217"/>
              <a:gd name="connsiteX2" fmla="*/ 103188 w 182563"/>
              <a:gd name="connsiteY2" fmla="*/ 1252267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182563"/>
              <a:gd name="connsiteY0" fmla="*/ 0 h 2732217"/>
              <a:gd name="connsiteX1" fmla="*/ 150166 w 182563"/>
              <a:gd name="connsiteY1" fmla="*/ 0 h 2732217"/>
              <a:gd name="connsiteX2" fmla="*/ 150166 w 182563"/>
              <a:gd name="connsiteY2" fmla="*/ 1205960 h 2732217"/>
              <a:gd name="connsiteX3" fmla="*/ 182563 w 182563"/>
              <a:gd name="connsiteY3" fmla="*/ 1366109 h 2732217"/>
              <a:gd name="connsiteX4" fmla="*/ 103188 w 182563"/>
              <a:gd name="connsiteY4" fmla="*/ 1479952 h 2732217"/>
              <a:gd name="connsiteX5" fmla="*/ 103189 w 182563"/>
              <a:gd name="connsiteY5" fmla="*/ 2732217 h 2732217"/>
              <a:gd name="connsiteX6" fmla="*/ 1 w 182563"/>
              <a:gd name="connsiteY6" fmla="*/ 2732217 h 2732217"/>
              <a:gd name="connsiteX7" fmla="*/ 0 w 182563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03188 w 265678"/>
              <a:gd name="connsiteY4" fmla="*/ 1479952 h 2732217"/>
              <a:gd name="connsiteX5" fmla="*/ 103189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03189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1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0 w 265678"/>
              <a:gd name="connsiteY6" fmla="*/ 2732217 h 2732217"/>
              <a:gd name="connsiteX7" fmla="*/ 0 w 265678"/>
              <a:gd name="connsiteY7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150166 w 265678"/>
              <a:gd name="connsiteY5" fmla="*/ 2732217 h 2732217"/>
              <a:gd name="connsiteX6" fmla="*/ 0 w 265678"/>
              <a:gd name="connsiteY6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150166 w 265678"/>
              <a:gd name="connsiteY4" fmla="*/ 1526257 h 2732217"/>
              <a:gd name="connsiteX5" fmla="*/ 0 w 265678"/>
              <a:gd name="connsiteY5" fmla="*/ 2732217 h 2732217"/>
              <a:gd name="connsiteX0" fmla="*/ 0 w 265678"/>
              <a:gd name="connsiteY0" fmla="*/ 0 h 2732217"/>
              <a:gd name="connsiteX1" fmla="*/ 150166 w 265678"/>
              <a:gd name="connsiteY1" fmla="*/ 0 h 2732217"/>
              <a:gd name="connsiteX2" fmla="*/ 150166 w 265678"/>
              <a:gd name="connsiteY2" fmla="*/ 1205960 h 2732217"/>
              <a:gd name="connsiteX3" fmla="*/ 265678 w 265678"/>
              <a:gd name="connsiteY3" fmla="*/ 1366109 h 2732217"/>
              <a:gd name="connsiteX4" fmla="*/ 0 w 265678"/>
              <a:gd name="connsiteY4" fmla="*/ 2732217 h 2732217"/>
              <a:gd name="connsiteX0" fmla="*/ 0 w 150166"/>
              <a:gd name="connsiteY0" fmla="*/ 0 h 2732217"/>
              <a:gd name="connsiteX1" fmla="*/ 150166 w 150166"/>
              <a:gd name="connsiteY1" fmla="*/ 0 h 2732217"/>
              <a:gd name="connsiteX2" fmla="*/ 150166 w 150166"/>
              <a:gd name="connsiteY2" fmla="*/ 1205960 h 2732217"/>
              <a:gd name="connsiteX3" fmla="*/ 0 w 150166"/>
              <a:gd name="connsiteY3" fmla="*/ 2732217 h 2732217"/>
              <a:gd name="connsiteX0" fmla="*/ 0 w 150166"/>
              <a:gd name="connsiteY0" fmla="*/ 0 h 2732217"/>
              <a:gd name="connsiteX1" fmla="*/ 150166 w 150166"/>
              <a:gd name="connsiteY1" fmla="*/ 0 h 2732217"/>
              <a:gd name="connsiteX2" fmla="*/ 0 w 150166"/>
              <a:gd name="connsiteY2" fmla="*/ 2732217 h 2732217"/>
              <a:gd name="connsiteX0" fmla="*/ 0 w 0"/>
              <a:gd name="connsiteY0" fmla="*/ 0 h 2732217"/>
              <a:gd name="connsiteX1" fmla="*/ 0 w 0"/>
              <a:gd name="connsiteY1" fmla="*/ 2732217 h 2732217"/>
              <a:gd name="connsiteX0" fmla="*/ 3342355 w 3342355"/>
              <a:gd name="connsiteY0" fmla="*/ 0 h 22637094"/>
              <a:gd name="connsiteX1" fmla="*/ 0 w 3342355"/>
              <a:gd name="connsiteY1" fmla="*/ 22637094 h 22637094"/>
              <a:gd name="connsiteX0" fmla="*/ 3342355 w 3445542"/>
              <a:gd name="connsiteY0" fmla="*/ 0 h 22637094"/>
              <a:gd name="connsiteX1" fmla="*/ 0 w 3445542"/>
              <a:gd name="connsiteY1" fmla="*/ 22637094 h 22637094"/>
              <a:gd name="connsiteX2" fmla="*/ 3445542 w 3445542"/>
              <a:gd name="connsiteY2" fmla="*/ 6 h 22637094"/>
              <a:gd name="connsiteX0" fmla="*/ 3342355 w 3445542"/>
              <a:gd name="connsiteY0" fmla="*/ 0 h 22637094"/>
              <a:gd name="connsiteX1" fmla="*/ 0 w 3445542"/>
              <a:gd name="connsiteY1" fmla="*/ 22637094 h 22637094"/>
              <a:gd name="connsiteX2" fmla="*/ 3445542 w 3445542"/>
              <a:gd name="connsiteY2" fmla="*/ 6 h 22637094"/>
              <a:gd name="connsiteX3" fmla="*/ 3445541 w 3445542"/>
              <a:gd name="connsiteY3" fmla="*/ 4991776 h 22637094"/>
              <a:gd name="connsiteX0" fmla="*/ 3342355 w 3524916"/>
              <a:gd name="connsiteY0" fmla="*/ 0 h 22637094"/>
              <a:gd name="connsiteX1" fmla="*/ 0 w 3524916"/>
              <a:gd name="connsiteY1" fmla="*/ 22637094 h 22637094"/>
              <a:gd name="connsiteX2" fmla="*/ 3445542 w 3524916"/>
              <a:gd name="connsiteY2" fmla="*/ 6 h 22637094"/>
              <a:gd name="connsiteX3" fmla="*/ 3445541 w 3524916"/>
              <a:gd name="connsiteY3" fmla="*/ 4991776 h 22637094"/>
              <a:gd name="connsiteX4" fmla="*/ 3524916 w 3524916"/>
              <a:gd name="connsiteY4" fmla="*/ 5445573 h 22637094"/>
              <a:gd name="connsiteX0" fmla="*/ 3342355 w 3524916"/>
              <a:gd name="connsiteY0" fmla="*/ 0 h 22637094"/>
              <a:gd name="connsiteX1" fmla="*/ 0 w 3524916"/>
              <a:gd name="connsiteY1" fmla="*/ 22637094 h 22637094"/>
              <a:gd name="connsiteX2" fmla="*/ 3445542 w 3524916"/>
              <a:gd name="connsiteY2" fmla="*/ 6 h 22637094"/>
              <a:gd name="connsiteX3" fmla="*/ 3445541 w 3524916"/>
              <a:gd name="connsiteY3" fmla="*/ 4991776 h 22637094"/>
              <a:gd name="connsiteX4" fmla="*/ 3524916 w 3524916"/>
              <a:gd name="connsiteY4" fmla="*/ 5445573 h 22637094"/>
              <a:gd name="connsiteX5" fmla="*/ 3445541 w 3524916"/>
              <a:gd name="connsiteY5" fmla="*/ 5899371 h 22637094"/>
              <a:gd name="connsiteX0" fmla="*/ 3342355 w 3524916"/>
              <a:gd name="connsiteY0" fmla="*/ 0 h 22637094"/>
              <a:gd name="connsiteX1" fmla="*/ 0 w 3524916"/>
              <a:gd name="connsiteY1" fmla="*/ 22637094 h 22637094"/>
              <a:gd name="connsiteX2" fmla="*/ 3445542 w 3524916"/>
              <a:gd name="connsiteY2" fmla="*/ 6 h 22637094"/>
              <a:gd name="connsiteX3" fmla="*/ 3445541 w 3524916"/>
              <a:gd name="connsiteY3" fmla="*/ 4991776 h 22637094"/>
              <a:gd name="connsiteX4" fmla="*/ 3524916 w 3524916"/>
              <a:gd name="connsiteY4" fmla="*/ 5445573 h 22637094"/>
              <a:gd name="connsiteX5" fmla="*/ 3445541 w 3524916"/>
              <a:gd name="connsiteY5" fmla="*/ 5899371 h 22637094"/>
              <a:gd name="connsiteX6" fmla="*/ 3445541 w 3524916"/>
              <a:gd name="connsiteY6" fmla="*/ 10891141 h 22637094"/>
              <a:gd name="connsiteX0" fmla="*/ 3342355 w 3524916"/>
              <a:gd name="connsiteY0" fmla="*/ 0 h 22637094"/>
              <a:gd name="connsiteX1" fmla="*/ 0 w 3524916"/>
              <a:gd name="connsiteY1" fmla="*/ 22637094 h 22637094"/>
              <a:gd name="connsiteX2" fmla="*/ 3445542 w 3524916"/>
              <a:gd name="connsiteY2" fmla="*/ 6 h 22637094"/>
              <a:gd name="connsiteX3" fmla="*/ 3445541 w 3524916"/>
              <a:gd name="connsiteY3" fmla="*/ 4991776 h 22637094"/>
              <a:gd name="connsiteX4" fmla="*/ 3524916 w 3524916"/>
              <a:gd name="connsiteY4" fmla="*/ 5445573 h 22637094"/>
              <a:gd name="connsiteX5" fmla="*/ 3445541 w 3524916"/>
              <a:gd name="connsiteY5" fmla="*/ 5899371 h 22637094"/>
              <a:gd name="connsiteX6" fmla="*/ 3445541 w 3524916"/>
              <a:gd name="connsiteY6" fmla="*/ 10891141 h 22637094"/>
              <a:gd name="connsiteX7" fmla="*/ 3342354 w 3524916"/>
              <a:gd name="connsiteY7" fmla="*/ 10891141 h 22637094"/>
              <a:gd name="connsiteX0" fmla="*/ 3342354 w 3524916"/>
              <a:gd name="connsiteY0" fmla="*/ 0 h 22637088"/>
              <a:gd name="connsiteX1" fmla="*/ 0 w 3524916"/>
              <a:gd name="connsiteY1" fmla="*/ 22637088 h 22637088"/>
              <a:gd name="connsiteX2" fmla="*/ 3445542 w 3524916"/>
              <a:gd name="connsiteY2" fmla="*/ 0 h 22637088"/>
              <a:gd name="connsiteX3" fmla="*/ 3445541 w 3524916"/>
              <a:gd name="connsiteY3" fmla="*/ 4991770 h 22637088"/>
              <a:gd name="connsiteX4" fmla="*/ 3524916 w 3524916"/>
              <a:gd name="connsiteY4" fmla="*/ 5445567 h 22637088"/>
              <a:gd name="connsiteX5" fmla="*/ 3445541 w 3524916"/>
              <a:gd name="connsiteY5" fmla="*/ 5899365 h 22637088"/>
              <a:gd name="connsiteX6" fmla="*/ 3445541 w 3524916"/>
              <a:gd name="connsiteY6" fmla="*/ 10891135 h 22637088"/>
              <a:gd name="connsiteX7" fmla="*/ 3342354 w 3524916"/>
              <a:gd name="connsiteY7" fmla="*/ 10891135 h 22637088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8 w 182562"/>
              <a:gd name="connsiteY2" fmla="*/ 6 h 10891141"/>
              <a:gd name="connsiteX3" fmla="*/ 103187 w 182562"/>
              <a:gd name="connsiteY3" fmla="*/ 4991776 h 10891141"/>
              <a:gd name="connsiteX4" fmla="*/ 182562 w 182562"/>
              <a:gd name="connsiteY4" fmla="*/ 5445573 h 10891141"/>
              <a:gd name="connsiteX5" fmla="*/ 103187 w 182562"/>
              <a:gd name="connsiteY5" fmla="*/ 5899371 h 10891141"/>
              <a:gd name="connsiteX6" fmla="*/ 103187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03187 w 182562"/>
              <a:gd name="connsiteY3" fmla="*/ 4991776 h 10891141"/>
              <a:gd name="connsiteX4" fmla="*/ 182562 w 182562"/>
              <a:gd name="connsiteY4" fmla="*/ 5445573 h 10891141"/>
              <a:gd name="connsiteX5" fmla="*/ 103187 w 182562"/>
              <a:gd name="connsiteY5" fmla="*/ 5899371 h 10891141"/>
              <a:gd name="connsiteX6" fmla="*/ 103187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82562 w 182562"/>
              <a:gd name="connsiteY3" fmla="*/ 5445573 h 10891141"/>
              <a:gd name="connsiteX4" fmla="*/ 182562 w 182562"/>
              <a:gd name="connsiteY4" fmla="*/ 5445573 h 10891141"/>
              <a:gd name="connsiteX5" fmla="*/ 103187 w 182562"/>
              <a:gd name="connsiteY5" fmla="*/ 5899371 h 10891141"/>
              <a:gd name="connsiteX6" fmla="*/ 103187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82562 w 182562"/>
              <a:gd name="connsiteY3" fmla="*/ 5445573 h 10891141"/>
              <a:gd name="connsiteX4" fmla="*/ 103187 w 182562"/>
              <a:gd name="connsiteY4" fmla="*/ 5899371 h 10891141"/>
              <a:gd name="connsiteX5" fmla="*/ 103187 w 182562"/>
              <a:gd name="connsiteY5" fmla="*/ 5899371 h 10891141"/>
              <a:gd name="connsiteX6" fmla="*/ 103187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82562 w 182562"/>
              <a:gd name="connsiteY3" fmla="*/ 5445573 h 10891141"/>
              <a:gd name="connsiteX4" fmla="*/ 103187 w 182562"/>
              <a:gd name="connsiteY4" fmla="*/ 5899371 h 10891141"/>
              <a:gd name="connsiteX5" fmla="*/ 103187 w 182562"/>
              <a:gd name="connsiteY5" fmla="*/ 10891141 h 10891141"/>
              <a:gd name="connsiteX6" fmla="*/ 103187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6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82562 w 182562"/>
              <a:gd name="connsiteY3" fmla="*/ 5445573 h 10891141"/>
              <a:gd name="connsiteX4" fmla="*/ 103187 w 182562"/>
              <a:gd name="connsiteY4" fmla="*/ 5899371 h 10891141"/>
              <a:gd name="connsiteX5" fmla="*/ 103187 w 182562"/>
              <a:gd name="connsiteY5" fmla="*/ 10891141 h 10891141"/>
              <a:gd name="connsiteX6" fmla="*/ 0 w 182562"/>
              <a:gd name="connsiteY6" fmla="*/ 10891141 h 10891141"/>
              <a:gd name="connsiteX7" fmla="*/ 0 w 182562"/>
              <a:gd name="connsiteY7" fmla="*/ 10891141 h 10891141"/>
              <a:gd name="connsiteX0" fmla="*/ 0 w 182562"/>
              <a:gd name="connsiteY0" fmla="*/ 0 h 10891141"/>
              <a:gd name="connsiteX1" fmla="*/ 103187 w 182562"/>
              <a:gd name="connsiteY1" fmla="*/ 0 h 10891141"/>
              <a:gd name="connsiteX2" fmla="*/ 103187 w 182562"/>
              <a:gd name="connsiteY2" fmla="*/ 4991776 h 10891141"/>
              <a:gd name="connsiteX3" fmla="*/ 182562 w 182562"/>
              <a:gd name="connsiteY3" fmla="*/ 5445573 h 10891141"/>
              <a:gd name="connsiteX4" fmla="*/ 103187 w 182562"/>
              <a:gd name="connsiteY4" fmla="*/ 5899371 h 10891141"/>
              <a:gd name="connsiteX5" fmla="*/ 103187 w 182562"/>
              <a:gd name="connsiteY5" fmla="*/ 10891141 h 10891141"/>
              <a:gd name="connsiteX6" fmla="*/ 0 w 182562"/>
              <a:gd name="connsiteY6" fmla="*/ 10891141 h 10891141"/>
              <a:gd name="connsiteX7" fmla="*/ 0 w 182562"/>
              <a:gd name="connsiteY7" fmla="*/ 10891141 h 10891141"/>
              <a:gd name="connsiteX0" fmla="*/ 0 w 407776"/>
              <a:gd name="connsiteY0" fmla="*/ 0 h 10891141"/>
              <a:gd name="connsiteX1" fmla="*/ 407776 w 407776"/>
              <a:gd name="connsiteY1" fmla="*/ 0 h 10891141"/>
              <a:gd name="connsiteX2" fmla="*/ 103187 w 407776"/>
              <a:gd name="connsiteY2" fmla="*/ 4991776 h 10891141"/>
              <a:gd name="connsiteX3" fmla="*/ 182562 w 407776"/>
              <a:gd name="connsiteY3" fmla="*/ 5445573 h 10891141"/>
              <a:gd name="connsiteX4" fmla="*/ 103187 w 407776"/>
              <a:gd name="connsiteY4" fmla="*/ 5899371 h 10891141"/>
              <a:gd name="connsiteX5" fmla="*/ 103187 w 407776"/>
              <a:gd name="connsiteY5" fmla="*/ 10891141 h 10891141"/>
              <a:gd name="connsiteX6" fmla="*/ 0 w 407776"/>
              <a:gd name="connsiteY6" fmla="*/ 10891141 h 10891141"/>
              <a:gd name="connsiteX7" fmla="*/ 0 w 407776"/>
              <a:gd name="connsiteY7" fmla="*/ 10891141 h 10891141"/>
              <a:gd name="connsiteX0" fmla="*/ 0 w 407776"/>
              <a:gd name="connsiteY0" fmla="*/ 0 h 10891141"/>
              <a:gd name="connsiteX1" fmla="*/ 407776 w 407776"/>
              <a:gd name="connsiteY1" fmla="*/ 0 h 10891141"/>
              <a:gd name="connsiteX2" fmla="*/ 407772 w 407776"/>
              <a:gd name="connsiteY2" fmla="*/ 3711996 h 10891141"/>
              <a:gd name="connsiteX3" fmla="*/ 182562 w 407776"/>
              <a:gd name="connsiteY3" fmla="*/ 5445573 h 10891141"/>
              <a:gd name="connsiteX4" fmla="*/ 103187 w 407776"/>
              <a:gd name="connsiteY4" fmla="*/ 5899371 h 10891141"/>
              <a:gd name="connsiteX5" fmla="*/ 103187 w 407776"/>
              <a:gd name="connsiteY5" fmla="*/ 10891141 h 10891141"/>
              <a:gd name="connsiteX6" fmla="*/ 0 w 407776"/>
              <a:gd name="connsiteY6" fmla="*/ 10891141 h 10891141"/>
              <a:gd name="connsiteX7" fmla="*/ 0 w 407776"/>
              <a:gd name="connsiteY7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103187 w 721447"/>
              <a:gd name="connsiteY4" fmla="*/ 5899371 h 10891141"/>
              <a:gd name="connsiteX5" fmla="*/ 103187 w 721447"/>
              <a:gd name="connsiteY5" fmla="*/ 10891141 h 10891141"/>
              <a:gd name="connsiteX6" fmla="*/ 0 w 721447"/>
              <a:gd name="connsiteY6" fmla="*/ 10891141 h 10891141"/>
              <a:gd name="connsiteX7" fmla="*/ 0 w 721447"/>
              <a:gd name="connsiteY7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407772 w 721447"/>
              <a:gd name="connsiteY4" fmla="*/ 7179122 h 10891141"/>
              <a:gd name="connsiteX5" fmla="*/ 103187 w 721447"/>
              <a:gd name="connsiteY5" fmla="*/ 10891141 h 10891141"/>
              <a:gd name="connsiteX6" fmla="*/ 0 w 721447"/>
              <a:gd name="connsiteY6" fmla="*/ 10891141 h 10891141"/>
              <a:gd name="connsiteX7" fmla="*/ 0 w 721447"/>
              <a:gd name="connsiteY7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407772 w 721447"/>
              <a:gd name="connsiteY4" fmla="*/ 7179122 h 10891141"/>
              <a:gd name="connsiteX5" fmla="*/ 407772 w 721447"/>
              <a:gd name="connsiteY5" fmla="*/ 10891141 h 10891141"/>
              <a:gd name="connsiteX6" fmla="*/ 0 w 721447"/>
              <a:gd name="connsiteY6" fmla="*/ 10891141 h 10891141"/>
              <a:gd name="connsiteX7" fmla="*/ 0 w 721447"/>
              <a:gd name="connsiteY7" fmla="*/ 10891141 h 10891141"/>
              <a:gd name="connsiteX0" fmla="*/ 4 w 721451"/>
              <a:gd name="connsiteY0" fmla="*/ 0 h 10891141"/>
              <a:gd name="connsiteX1" fmla="*/ 407780 w 721451"/>
              <a:gd name="connsiteY1" fmla="*/ 0 h 10891141"/>
              <a:gd name="connsiteX2" fmla="*/ 407776 w 721451"/>
              <a:gd name="connsiteY2" fmla="*/ 3711996 h 10891141"/>
              <a:gd name="connsiteX3" fmla="*/ 721451 w 721451"/>
              <a:gd name="connsiteY3" fmla="*/ 5445571 h 10891141"/>
              <a:gd name="connsiteX4" fmla="*/ 407776 w 721451"/>
              <a:gd name="connsiteY4" fmla="*/ 7179122 h 10891141"/>
              <a:gd name="connsiteX5" fmla="*/ 407776 w 721451"/>
              <a:gd name="connsiteY5" fmla="*/ 10891141 h 10891141"/>
              <a:gd name="connsiteX6" fmla="*/ 0 w 721451"/>
              <a:gd name="connsiteY6" fmla="*/ 10891141 h 10891141"/>
              <a:gd name="connsiteX7" fmla="*/ 4 w 721451"/>
              <a:gd name="connsiteY7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407772 w 721447"/>
              <a:gd name="connsiteY4" fmla="*/ 7179122 h 10891141"/>
              <a:gd name="connsiteX5" fmla="*/ 407772 w 721447"/>
              <a:gd name="connsiteY5" fmla="*/ 10891141 h 10891141"/>
              <a:gd name="connsiteX6" fmla="*/ 0 w 721447"/>
              <a:gd name="connsiteY6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407772 w 721447"/>
              <a:gd name="connsiteY4" fmla="*/ 7179122 h 10891141"/>
              <a:gd name="connsiteX5" fmla="*/ 0 w 721447"/>
              <a:gd name="connsiteY5" fmla="*/ 10891141 h 10891141"/>
              <a:gd name="connsiteX0" fmla="*/ 0 w 721447"/>
              <a:gd name="connsiteY0" fmla="*/ 0 h 10891141"/>
              <a:gd name="connsiteX1" fmla="*/ 407776 w 721447"/>
              <a:gd name="connsiteY1" fmla="*/ 0 h 10891141"/>
              <a:gd name="connsiteX2" fmla="*/ 407772 w 721447"/>
              <a:gd name="connsiteY2" fmla="*/ 3711996 h 10891141"/>
              <a:gd name="connsiteX3" fmla="*/ 721447 w 721447"/>
              <a:gd name="connsiteY3" fmla="*/ 5445571 h 10891141"/>
              <a:gd name="connsiteX4" fmla="*/ 0 w 721447"/>
              <a:gd name="connsiteY4" fmla="*/ 10891141 h 10891141"/>
              <a:gd name="connsiteX0" fmla="*/ 0 w 407776"/>
              <a:gd name="connsiteY0" fmla="*/ 0 h 10891141"/>
              <a:gd name="connsiteX1" fmla="*/ 407776 w 407776"/>
              <a:gd name="connsiteY1" fmla="*/ 0 h 10891141"/>
              <a:gd name="connsiteX2" fmla="*/ 407772 w 407776"/>
              <a:gd name="connsiteY2" fmla="*/ 3711996 h 10891141"/>
              <a:gd name="connsiteX3" fmla="*/ 0 w 407776"/>
              <a:gd name="connsiteY3" fmla="*/ 10891141 h 10891141"/>
              <a:gd name="connsiteX0" fmla="*/ 0 w 407776"/>
              <a:gd name="connsiteY0" fmla="*/ 0 h 10891141"/>
              <a:gd name="connsiteX1" fmla="*/ 407776 w 407776"/>
              <a:gd name="connsiteY1" fmla="*/ 0 h 10891141"/>
              <a:gd name="connsiteX2" fmla="*/ 0 w 407776"/>
              <a:gd name="connsiteY2" fmla="*/ 10891141 h 10891141"/>
              <a:gd name="connsiteX0" fmla="*/ 0 w 0"/>
              <a:gd name="connsiteY0" fmla="*/ 0 h 10891141"/>
              <a:gd name="connsiteX1" fmla="*/ 0 w 0"/>
              <a:gd name="connsiteY1" fmla="*/ 10891141 h 10891141"/>
              <a:gd name="connsiteX0" fmla="*/ 3368744 w 3368744"/>
              <a:gd name="connsiteY0" fmla="*/ 0 h 81953484"/>
              <a:gd name="connsiteX1" fmla="*/ 0 w 3368744"/>
              <a:gd name="connsiteY1" fmla="*/ 81953484 h 81953484"/>
              <a:gd name="connsiteX0" fmla="*/ 3368744 w 3471932"/>
              <a:gd name="connsiteY0" fmla="*/ 0 h 81953484"/>
              <a:gd name="connsiteX1" fmla="*/ 0 w 3471932"/>
              <a:gd name="connsiteY1" fmla="*/ 81953484 h 81953484"/>
              <a:gd name="connsiteX2" fmla="*/ 3471932 w 3471932"/>
              <a:gd name="connsiteY2" fmla="*/ 0 h 81953484"/>
              <a:gd name="connsiteX0" fmla="*/ 3368744 w 3471932"/>
              <a:gd name="connsiteY0" fmla="*/ 0 h 81953484"/>
              <a:gd name="connsiteX1" fmla="*/ 0 w 3471932"/>
              <a:gd name="connsiteY1" fmla="*/ 81953484 h 81953484"/>
              <a:gd name="connsiteX2" fmla="*/ 3471932 w 3471932"/>
              <a:gd name="connsiteY2" fmla="*/ 0 h 81953484"/>
              <a:gd name="connsiteX3" fmla="*/ 3471932 w 3471932"/>
              <a:gd name="connsiteY3" fmla="*/ 17681492 h 81953484"/>
              <a:gd name="connsiteX0" fmla="*/ 3368744 w 3551307"/>
              <a:gd name="connsiteY0" fmla="*/ 0 h 81953484"/>
              <a:gd name="connsiteX1" fmla="*/ 0 w 3551307"/>
              <a:gd name="connsiteY1" fmla="*/ 81953484 h 81953484"/>
              <a:gd name="connsiteX2" fmla="*/ 3471932 w 3551307"/>
              <a:gd name="connsiteY2" fmla="*/ 0 h 81953484"/>
              <a:gd name="connsiteX3" fmla="*/ 3471932 w 3551307"/>
              <a:gd name="connsiteY3" fmla="*/ 17681492 h 81953484"/>
              <a:gd name="connsiteX4" fmla="*/ 3551307 w 3551307"/>
              <a:gd name="connsiteY4" fmla="*/ 19288901 h 81953484"/>
              <a:gd name="connsiteX0" fmla="*/ 3368744 w 3551307"/>
              <a:gd name="connsiteY0" fmla="*/ 0 h 81953484"/>
              <a:gd name="connsiteX1" fmla="*/ 0 w 3551307"/>
              <a:gd name="connsiteY1" fmla="*/ 81953484 h 81953484"/>
              <a:gd name="connsiteX2" fmla="*/ 3471932 w 3551307"/>
              <a:gd name="connsiteY2" fmla="*/ 0 h 81953484"/>
              <a:gd name="connsiteX3" fmla="*/ 3471932 w 3551307"/>
              <a:gd name="connsiteY3" fmla="*/ 17681492 h 81953484"/>
              <a:gd name="connsiteX4" fmla="*/ 3551307 w 3551307"/>
              <a:gd name="connsiteY4" fmla="*/ 19288901 h 81953484"/>
              <a:gd name="connsiteX5" fmla="*/ 3471932 w 3551307"/>
              <a:gd name="connsiteY5" fmla="*/ 20896309 h 81953484"/>
              <a:gd name="connsiteX0" fmla="*/ 3368744 w 3551307"/>
              <a:gd name="connsiteY0" fmla="*/ 0 h 81953484"/>
              <a:gd name="connsiteX1" fmla="*/ 0 w 3551307"/>
              <a:gd name="connsiteY1" fmla="*/ 81953484 h 81953484"/>
              <a:gd name="connsiteX2" fmla="*/ 3471932 w 3551307"/>
              <a:gd name="connsiteY2" fmla="*/ 0 h 81953484"/>
              <a:gd name="connsiteX3" fmla="*/ 3471932 w 3551307"/>
              <a:gd name="connsiteY3" fmla="*/ 17681492 h 81953484"/>
              <a:gd name="connsiteX4" fmla="*/ 3551307 w 3551307"/>
              <a:gd name="connsiteY4" fmla="*/ 19288901 h 81953484"/>
              <a:gd name="connsiteX5" fmla="*/ 3471932 w 3551307"/>
              <a:gd name="connsiteY5" fmla="*/ 20896309 h 81953484"/>
              <a:gd name="connsiteX6" fmla="*/ 3471932 w 3551307"/>
              <a:gd name="connsiteY6" fmla="*/ 38577801 h 81953484"/>
              <a:gd name="connsiteX0" fmla="*/ 3368744 w 3551307"/>
              <a:gd name="connsiteY0" fmla="*/ 0 h 81953484"/>
              <a:gd name="connsiteX1" fmla="*/ 0 w 3551307"/>
              <a:gd name="connsiteY1" fmla="*/ 81953484 h 81953484"/>
              <a:gd name="connsiteX2" fmla="*/ 3471932 w 3551307"/>
              <a:gd name="connsiteY2" fmla="*/ 0 h 81953484"/>
              <a:gd name="connsiteX3" fmla="*/ 3471932 w 3551307"/>
              <a:gd name="connsiteY3" fmla="*/ 17681492 h 81953484"/>
              <a:gd name="connsiteX4" fmla="*/ 3551307 w 3551307"/>
              <a:gd name="connsiteY4" fmla="*/ 19288901 h 81953484"/>
              <a:gd name="connsiteX5" fmla="*/ 3471932 w 3551307"/>
              <a:gd name="connsiteY5" fmla="*/ 20896309 h 81953484"/>
              <a:gd name="connsiteX6" fmla="*/ 3471932 w 3551307"/>
              <a:gd name="connsiteY6" fmla="*/ 38577801 h 81953484"/>
              <a:gd name="connsiteX7" fmla="*/ 3368744 w 3551307"/>
              <a:gd name="connsiteY7" fmla="*/ 38577801 h 81953484"/>
              <a:gd name="connsiteX0" fmla="*/ 3368744 w 3551307"/>
              <a:gd name="connsiteY0" fmla="*/ 0 h 81953484"/>
              <a:gd name="connsiteX1" fmla="*/ 0 w 3551307"/>
              <a:gd name="connsiteY1" fmla="*/ 81953484 h 81953484"/>
              <a:gd name="connsiteX2" fmla="*/ 3471932 w 3551307"/>
              <a:gd name="connsiteY2" fmla="*/ 0 h 81953484"/>
              <a:gd name="connsiteX3" fmla="*/ 3471932 w 3551307"/>
              <a:gd name="connsiteY3" fmla="*/ 17681492 h 81953484"/>
              <a:gd name="connsiteX4" fmla="*/ 3551307 w 3551307"/>
              <a:gd name="connsiteY4" fmla="*/ 19288901 h 81953484"/>
              <a:gd name="connsiteX5" fmla="*/ 3471932 w 3551307"/>
              <a:gd name="connsiteY5" fmla="*/ 20896309 h 81953484"/>
              <a:gd name="connsiteX6" fmla="*/ 3471932 w 3551307"/>
              <a:gd name="connsiteY6" fmla="*/ 38577801 h 81953484"/>
              <a:gd name="connsiteX7" fmla="*/ 3368744 w 3551307"/>
              <a:gd name="connsiteY7" fmla="*/ 38577801 h 81953484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0 h 38577801"/>
              <a:gd name="connsiteX3" fmla="*/ 103188 w 182563"/>
              <a:gd name="connsiteY3" fmla="*/ 17681492 h 38577801"/>
              <a:gd name="connsiteX4" fmla="*/ 182563 w 182563"/>
              <a:gd name="connsiteY4" fmla="*/ 19288901 h 38577801"/>
              <a:gd name="connsiteX5" fmla="*/ 103188 w 182563"/>
              <a:gd name="connsiteY5" fmla="*/ 20896309 h 38577801"/>
              <a:gd name="connsiteX6" fmla="*/ 103188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03188 w 182563"/>
              <a:gd name="connsiteY3" fmla="*/ 17681492 h 38577801"/>
              <a:gd name="connsiteX4" fmla="*/ 182563 w 182563"/>
              <a:gd name="connsiteY4" fmla="*/ 19288901 h 38577801"/>
              <a:gd name="connsiteX5" fmla="*/ 103188 w 182563"/>
              <a:gd name="connsiteY5" fmla="*/ 20896309 h 38577801"/>
              <a:gd name="connsiteX6" fmla="*/ 103188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82563 w 182563"/>
              <a:gd name="connsiteY3" fmla="*/ 19288901 h 38577801"/>
              <a:gd name="connsiteX4" fmla="*/ 182563 w 182563"/>
              <a:gd name="connsiteY4" fmla="*/ 19288901 h 38577801"/>
              <a:gd name="connsiteX5" fmla="*/ 103188 w 182563"/>
              <a:gd name="connsiteY5" fmla="*/ 20896309 h 38577801"/>
              <a:gd name="connsiteX6" fmla="*/ 103188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82563 w 182563"/>
              <a:gd name="connsiteY3" fmla="*/ 19288901 h 38577801"/>
              <a:gd name="connsiteX4" fmla="*/ 103188 w 182563"/>
              <a:gd name="connsiteY4" fmla="*/ 20896309 h 38577801"/>
              <a:gd name="connsiteX5" fmla="*/ 103188 w 182563"/>
              <a:gd name="connsiteY5" fmla="*/ 20896309 h 38577801"/>
              <a:gd name="connsiteX6" fmla="*/ 103188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82563 w 182563"/>
              <a:gd name="connsiteY3" fmla="*/ 19288901 h 38577801"/>
              <a:gd name="connsiteX4" fmla="*/ 103188 w 182563"/>
              <a:gd name="connsiteY4" fmla="*/ 20896309 h 38577801"/>
              <a:gd name="connsiteX5" fmla="*/ 103188 w 182563"/>
              <a:gd name="connsiteY5" fmla="*/ 38577801 h 38577801"/>
              <a:gd name="connsiteX6" fmla="*/ 103188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82563 w 182563"/>
              <a:gd name="connsiteY3" fmla="*/ 19288901 h 38577801"/>
              <a:gd name="connsiteX4" fmla="*/ 103188 w 182563"/>
              <a:gd name="connsiteY4" fmla="*/ 20896309 h 38577801"/>
              <a:gd name="connsiteX5" fmla="*/ 103188 w 182563"/>
              <a:gd name="connsiteY5" fmla="*/ 38577801 h 38577801"/>
              <a:gd name="connsiteX6" fmla="*/ 0 w 182563"/>
              <a:gd name="connsiteY6" fmla="*/ 38577801 h 38577801"/>
              <a:gd name="connsiteX7" fmla="*/ 0 w 182563"/>
              <a:gd name="connsiteY7" fmla="*/ 38577801 h 38577801"/>
              <a:gd name="connsiteX0" fmla="*/ 0 w 182563"/>
              <a:gd name="connsiteY0" fmla="*/ 0 h 38577801"/>
              <a:gd name="connsiteX1" fmla="*/ 103188 w 182563"/>
              <a:gd name="connsiteY1" fmla="*/ 0 h 38577801"/>
              <a:gd name="connsiteX2" fmla="*/ 103188 w 182563"/>
              <a:gd name="connsiteY2" fmla="*/ 17681492 h 38577801"/>
              <a:gd name="connsiteX3" fmla="*/ 182563 w 182563"/>
              <a:gd name="connsiteY3" fmla="*/ 19288901 h 38577801"/>
              <a:gd name="connsiteX4" fmla="*/ 103188 w 182563"/>
              <a:gd name="connsiteY4" fmla="*/ 20896309 h 38577801"/>
              <a:gd name="connsiteX5" fmla="*/ 103188 w 182563"/>
              <a:gd name="connsiteY5" fmla="*/ 38577801 h 38577801"/>
              <a:gd name="connsiteX6" fmla="*/ 0 w 182563"/>
              <a:gd name="connsiteY6" fmla="*/ 38577801 h 38577801"/>
              <a:gd name="connsiteX7" fmla="*/ 0 w 182563"/>
              <a:gd name="connsiteY7" fmla="*/ 38577801 h 38577801"/>
              <a:gd name="connsiteX0" fmla="*/ 0 w 362349"/>
              <a:gd name="connsiteY0" fmla="*/ 0 h 38577801"/>
              <a:gd name="connsiteX1" fmla="*/ 362349 w 362349"/>
              <a:gd name="connsiteY1" fmla="*/ 0 h 38577801"/>
              <a:gd name="connsiteX2" fmla="*/ 103188 w 362349"/>
              <a:gd name="connsiteY2" fmla="*/ 17681492 h 38577801"/>
              <a:gd name="connsiteX3" fmla="*/ 182563 w 362349"/>
              <a:gd name="connsiteY3" fmla="*/ 19288901 h 38577801"/>
              <a:gd name="connsiteX4" fmla="*/ 103188 w 362349"/>
              <a:gd name="connsiteY4" fmla="*/ 20896309 h 38577801"/>
              <a:gd name="connsiteX5" fmla="*/ 103188 w 362349"/>
              <a:gd name="connsiteY5" fmla="*/ 38577801 h 38577801"/>
              <a:gd name="connsiteX6" fmla="*/ 0 w 362349"/>
              <a:gd name="connsiteY6" fmla="*/ 38577801 h 38577801"/>
              <a:gd name="connsiteX7" fmla="*/ 0 w 362349"/>
              <a:gd name="connsiteY7" fmla="*/ 38577801 h 38577801"/>
              <a:gd name="connsiteX0" fmla="*/ 0 w 362349"/>
              <a:gd name="connsiteY0" fmla="*/ 0 h 38577801"/>
              <a:gd name="connsiteX1" fmla="*/ 362349 w 362349"/>
              <a:gd name="connsiteY1" fmla="*/ 0 h 38577801"/>
              <a:gd name="connsiteX2" fmla="*/ 362345 w 362349"/>
              <a:gd name="connsiteY2" fmla="*/ 13832492 h 38577801"/>
              <a:gd name="connsiteX3" fmla="*/ 182563 w 362349"/>
              <a:gd name="connsiteY3" fmla="*/ 19288901 h 38577801"/>
              <a:gd name="connsiteX4" fmla="*/ 103188 w 362349"/>
              <a:gd name="connsiteY4" fmla="*/ 20896309 h 38577801"/>
              <a:gd name="connsiteX5" fmla="*/ 103188 w 362349"/>
              <a:gd name="connsiteY5" fmla="*/ 38577801 h 38577801"/>
              <a:gd name="connsiteX6" fmla="*/ 0 w 362349"/>
              <a:gd name="connsiteY6" fmla="*/ 38577801 h 38577801"/>
              <a:gd name="connsiteX7" fmla="*/ 0 w 362349"/>
              <a:gd name="connsiteY7" fmla="*/ 38577801 h 38577801"/>
              <a:gd name="connsiteX0" fmla="*/ 0 w 641076"/>
              <a:gd name="connsiteY0" fmla="*/ 0 h 38577801"/>
              <a:gd name="connsiteX1" fmla="*/ 362349 w 641076"/>
              <a:gd name="connsiteY1" fmla="*/ 0 h 38577801"/>
              <a:gd name="connsiteX2" fmla="*/ 362345 w 641076"/>
              <a:gd name="connsiteY2" fmla="*/ 13832492 h 38577801"/>
              <a:gd name="connsiteX3" fmla="*/ 641076 w 641076"/>
              <a:gd name="connsiteY3" fmla="*/ 19288901 h 38577801"/>
              <a:gd name="connsiteX4" fmla="*/ 103188 w 641076"/>
              <a:gd name="connsiteY4" fmla="*/ 20896309 h 38577801"/>
              <a:gd name="connsiteX5" fmla="*/ 103188 w 641076"/>
              <a:gd name="connsiteY5" fmla="*/ 38577801 h 38577801"/>
              <a:gd name="connsiteX6" fmla="*/ 0 w 641076"/>
              <a:gd name="connsiteY6" fmla="*/ 38577801 h 38577801"/>
              <a:gd name="connsiteX7" fmla="*/ 0 w 641076"/>
              <a:gd name="connsiteY7" fmla="*/ 38577801 h 38577801"/>
              <a:gd name="connsiteX0" fmla="*/ 0 w 641076"/>
              <a:gd name="connsiteY0" fmla="*/ 0 h 38577801"/>
              <a:gd name="connsiteX1" fmla="*/ 362349 w 641076"/>
              <a:gd name="connsiteY1" fmla="*/ 0 h 38577801"/>
              <a:gd name="connsiteX2" fmla="*/ 362345 w 641076"/>
              <a:gd name="connsiteY2" fmla="*/ 13832492 h 38577801"/>
              <a:gd name="connsiteX3" fmla="*/ 641076 w 641076"/>
              <a:gd name="connsiteY3" fmla="*/ 19288901 h 38577801"/>
              <a:gd name="connsiteX4" fmla="*/ 362345 w 641076"/>
              <a:gd name="connsiteY4" fmla="*/ 24745384 h 38577801"/>
              <a:gd name="connsiteX5" fmla="*/ 103188 w 641076"/>
              <a:gd name="connsiteY5" fmla="*/ 38577801 h 38577801"/>
              <a:gd name="connsiteX6" fmla="*/ 0 w 641076"/>
              <a:gd name="connsiteY6" fmla="*/ 38577801 h 38577801"/>
              <a:gd name="connsiteX7" fmla="*/ 0 w 641076"/>
              <a:gd name="connsiteY7" fmla="*/ 38577801 h 38577801"/>
              <a:gd name="connsiteX0" fmla="*/ 0 w 641076"/>
              <a:gd name="connsiteY0" fmla="*/ 0 h 38577801"/>
              <a:gd name="connsiteX1" fmla="*/ 362349 w 641076"/>
              <a:gd name="connsiteY1" fmla="*/ 0 h 38577801"/>
              <a:gd name="connsiteX2" fmla="*/ 362345 w 641076"/>
              <a:gd name="connsiteY2" fmla="*/ 13832492 h 38577801"/>
              <a:gd name="connsiteX3" fmla="*/ 641076 w 641076"/>
              <a:gd name="connsiteY3" fmla="*/ 19288901 h 38577801"/>
              <a:gd name="connsiteX4" fmla="*/ 362345 w 641076"/>
              <a:gd name="connsiteY4" fmla="*/ 24745384 h 38577801"/>
              <a:gd name="connsiteX5" fmla="*/ 362345 w 641076"/>
              <a:gd name="connsiteY5" fmla="*/ 38577801 h 38577801"/>
              <a:gd name="connsiteX6" fmla="*/ 0 w 641076"/>
              <a:gd name="connsiteY6" fmla="*/ 38577801 h 38577801"/>
              <a:gd name="connsiteX7" fmla="*/ 0 w 641076"/>
              <a:gd name="connsiteY7" fmla="*/ 38577801 h 38577801"/>
              <a:gd name="connsiteX0" fmla="*/ 4 w 641080"/>
              <a:gd name="connsiteY0" fmla="*/ 0 h 38577801"/>
              <a:gd name="connsiteX1" fmla="*/ 362353 w 641080"/>
              <a:gd name="connsiteY1" fmla="*/ 0 h 38577801"/>
              <a:gd name="connsiteX2" fmla="*/ 362349 w 641080"/>
              <a:gd name="connsiteY2" fmla="*/ 13832492 h 38577801"/>
              <a:gd name="connsiteX3" fmla="*/ 641080 w 641080"/>
              <a:gd name="connsiteY3" fmla="*/ 19288901 h 38577801"/>
              <a:gd name="connsiteX4" fmla="*/ 362349 w 641080"/>
              <a:gd name="connsiteY4" fmla="*/ 24745384 h 38577801"/>
              <a:gd name="connsiteX5" fmla="*/ 362349 w 641080"/>
              <a:gd name="connsiteY5" fmla="*/ 38577801 h 38577801"/>
              <a:gd name="connsiteX6" fmla="*/ 0 w 641080"/>
              <a:gd name="connsiteY6" fmla="*/ 38577801 h 38577801"/>
              <a:gd name="connsiteX7" fmla="*/ 4 w 641080"/>
              <a:gd name="connsiteY7" fmla="*/ 38577801 h 3857780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641080" h="38577801">
                <a:moveTo>
                  <a:pt x="4" y="0"/>
                </a:moveTo>
                <a:lnTo>
                  <a:pt x="362353" y="0"/>
                </a:lnTo>
                <a:lnTo>
                  <a:pt x="362349" y="13832492"/>
                </a:lnTo>
                <a:lnTo>
                  <a:pt x="641080" y="19288901"/>
                </a:lnTo>
                <a:lnTo>
                  <a:pt x="362349" y="24745384"/>
                </a:lnTo>
                <a:lnTo>
                  <a:pt x="362349" y="38577801"/>
                </a:lnTo>
                <a:lnTo>
                  <a:pt x="0" y="38577801"/>
                </a:lnTo>
                <a:lnTo>
                  <a:pt x="4" y="38577801"/>
                </a:lnTo>
              </a:path>
            </a:pathLst>
          </a:custGeom>
          <a:noFill/>
          <a:ln w="9525">
            <a:solidFill>
              <a:schemeClr val="accent6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pPr algn="ctr"/>
            <a:endParaRPr lang="en-US" sz="100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4" name="McK 1. On-page tracker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119064" y="2693"/>
            <a:ext cx="5114157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69875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ЭФФЕКТИВНОСТЬ ИСПОЛЬЗОВАНИЯ ОБОРУДОВАНИЯ</a:t>
            </a:r>
          </a:p>
        </p:txBody>
      </p:sp>
      <p:sp>
        <p:nvSpPr>
          <p:cNvPr id="60" name="Oval 15"/>
          <p:cNvSpPr txBox="1"/>
          <p:nvPr>
            <p:custDataLst>
              <p:tags r:id="rId8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1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119063" y="1116776"/>
            <a:ext cx="4994685" cy="187744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100" dirty="0" smtClean="0">
                <a:solidFill>
                  <a:schemeClr val="accent1"/>
                </a:solidFill>
              </a:rPr>
              <a:t>Основные этапы устранения поломки</a:t>
            </a:r>
            <a:endParaRPr lang="en-US" sz="1100" dirty="0">
              <a:solidFill>
                <a:schemeClr val="accent1"/>
              </a:solidFill>
            </a:endParaRPr>
          </a:p>
        </p:txBody>
      </p:sp>
      <p:sp>
        <p:nvSpPr>
          <p:cNvPr id="47" name="Rectangle 46"/>
          <p:cNvSpPr>
            <a:spLocks/>
          </p:cNvSpPr>
          <p:nvPr/>
        </p:nvSpPr>
        <p:spPr>
          <a:xfrm>
            <a:off x="6342941" y="1328466"/>
            <a:ext cx="2499432" cy="5104506"/>
          </a:xfrm>
          <a:prstGeom prst="rect">
            <a:avLst/>
          </a:prstGeom>
          <a:noFill/>
          <a:ln w="19050" cmpd="sng">
            <a:solidFill>
              <a:schemeClr val="accent3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rgbClr val="E9F3FD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noAutofit/>
          </a:bodyPr>
          <a:lstStyle/>
          <a:p>
            <a:endParaRPr lang="ru-RU" sz="1000" dirty="0" err="1">
              <a:solidFill>
                <a:schemeClr val="tx2"/>
              </a:solidFill>
              <a:latin typeface="Arial" charset="0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342942" y="1132165"/>
            <a:ext cx="2499432" cy="172355"/>
          </a:xfrm>
          <a:prstGeom prst="leftRightArrow">
            <a:avLst>
              <a:gd name="adj1" fmla="val 100000"/>
              <a:gd name="adj2" fmla="val 0"/>
            </a:avLst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288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solidFill>
                  <a:schemeClr val="accent1"/>
                </a:solidFill>
              </a:rPr>
              <a:t>Потенциальные решения, </a:t>
            </a:r>
            <a:r>
              <a:rPr lang="ru-RU" sz="1000" dirty="0" smtClean="0"/>
              <a:t>эффект в днях</a:t>
            </a:r>
            <a:endParaRPr lang="en-US" sz="1000" dirty="0"/>
          </a:p>
        </p:txBody>
      </p:sp>
      <p:sp>
        <p:nvSpPr>
          <p:cNvPr id="10" name="TextBox 9"/>
          <p:cNvSpPr txBox="1"/>
          <p:nvPr/>
        </p:nvSpPr>
        <p:spPr>
          <a:xfrm>
            <a:off x="6408423" y="1387067"/>
            <a:ext cx="2368468" cy="306494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28800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spcBef>
                <a:spcPts val="1000"/>
              </a:spcBef>
            </a:pPr>
            <a:r>
              <a:rPr lang="ru-RU" sz="1000" dirty="0" smtClean="0">
                <a:solidFill>
                  <a:schemeClr val="accent1"/>
                </a:solidFill>
              </a:rPr>
              <a:t>Включить в контракт с </a:t>
            </a:r>
            <a:r>
              <a:rPr lang="ru-RU" sz="1000" dirty="0" err="1" smtClean="0">
                <a:solidFill>
                  <a:schemeClr val="accent1"/>
                </a:solidFill>
              </a:rPr>
              <a:t>ГорМедТехникой</a:t>
            </a:r>
            <a:r>
              <a:rPr lang="ru-RU" sz="1000" dirty="0" smtClean="0">
                <a:solidFill>
                  <a:schemeClr val="accent1"/>
                </a:solidFill>
              </a:rPr>
              <a:t> </a:t>
            </a:r>
            <a:r>
              <a:rPr lang="ru-RU" sz="1000" dirty="0" smtClean="0"/>
              <a:t>коэффициент рабочего времени оборудования как </a:t>
            </a:r>
            <a:r>
              <a:rPr lang="ru-RU" sz="1000" dirty="0" err="1" smtClean="0"/>
              <a:t>КПЭ</a:t>
            </a:r>
            <a:endParaRPr lang="ru-RU" sz="1000" b="1" dirty="0" smtClean="0"/>
          </a:p>
          <a:p>
            <a:pPr>
              <a:spcBef>
                <a:spcPts val="1000"/>
              </a:spcBef>
            </a:pPr>
            <a:r>
              <a:rPr lang="ru-RU" sz="1000" dirty="0" smtClean="0"/>
              <a:t>Создать на базе крупных мед. учреждений  инженерные </a:t>
            </a:r>
            <a:r>
              <a:rPr lang="ru-RU" sz="1000" dirty="0" smtClean="0">
                <a:solidFill>
                  <a:schemeClr val="accent1"/>
                </a:solidFill>
              </a:rPr>
              <a:t>отделы для устранения мелких поломок</a:t>
            </a:r>
            <a:br>
              <a:rPr lang="ru-RU" sz="1000" dirty="0" smtClean="0">
                <a:solidFill>
                  <a:schemeClr val="accent1"/>
                </a:solidFill>
              </a:rPr>
            </a:br>
            <a:r>
              <a:rPr lang="ru-RU" sz="1000" dirty="0" smtClean="0">
                <a:solidFill>
                  <a:schemeClr val="accent1"/>
                </a:solidFill>
              </a:rPr>
              <a:t>(2-11 дней)</a:t>
            </a:r>
          </a:p>
          <a:p>
            <a:pPr>
              <a:spcBef>
                <a:spcPts val="1000"/>
              </a:spcBef>
            </a:pPr>
            <a:r>
              <a:rPr lang="ru-RU" sz="1000" dirty="0" smtClean="0"/>
              <a:t>Создать </a:t>
            </a:r>
            <a:r>
              <a:rPr lang="ru-RU" sz="1000" dirty="0" smtClean="0">
                <a:solidFill>
                  <a:schemeClr val="accent1"/>
                </a:solidFill>
              </a:rPr>
              <a:t>единый информационный ресурс </a:t>
            </a:r>
            <a:r>
              <a:rPr lang="ru-RU" sz="1000" dirty="0" smtClean="0"/>
              <a:t>для</a:t>
            </a:r>
          </a:p>
          <a:p>
            <a:pPr lvl="1">
              <a:spcBef>
                <a:spcPts val="500"/>
              </a:spcBef>
            </a:pPr>
            <a:r>
              <a:rPr lang="ru-RU" sz="1000" dirty="0" smtClean="0"/>
              <a:t>Быстрого сообщения </a:t>
            </a:r>
            <a:br>
              <a:rPr lang="ru-RU" sz="1000" dirty="0" smtClean="0"/>
            </a:br>
            <a:r>
              <a:rPr lang="ru-RU" sz="1000" dirty="0" smtClean="0"/>
              <a:t>о поломках и вызова мастера</a:t>
            </a:r>
            <a:endParaRPr lang="ru-RU" sz="1000" dirty="0"/>
          </a:p>
          <a:p>
            <a:pPr lvl="1">
              <a:spcBef>
                <a:spcPts val="500"/>
              </a:spcBef>
            </a:pPr>
            <a:r>
              <a:rPr lang="ru-RU" sz="1000" dirty="0" smtClean="0"/>
              <a:t>Оперативного отслеживания ситуации по рабочему состоянию аппаратов</a:t>
            </a:r>
            <a:endParaRPr lang="ru-RU" sz="1000" dirty="0"/>
          </a:p>
          <a:p>
            <a:pPr lvl="1">
              <a:spcBef>
                <a:spcPts val="500"/>
              </a:spcBef>
            </a:pPr>
            <a:r>
              <a:rPr lang="ru-RU" sz="1000" dirty="0" smtClean="0"/>
              <a:t>Маршрутизации пациентов </a:t>
            </a:r>
            <a:br>
              <a:rPr lang="ru-RU" sz="1000" dirty="0" smtClean="0"/>
            </a:br>
            <a:r>
              <a:rPr lang="ru-RU" sz="1000" dirty="0" smtClean="0">
                <a:solidFill>
                  <a:schemeClr val="accent1"/>
                </a:solidFill>
              </a:rPr>
              <a:t>(2-20 дней)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210321" y="2603067"/>
            <a:ext cx="888812" cy="76097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solidFill>
                  <a:schemeClr val="accent1"/>
                </a:solidFill>
              </a:rPr>
              <a:t>Передача </a:t>
            </a:r>
            <a:r>
              <a:rPr lang="ru-RU" sz="1000" dirty="0" err="1" smtClean="0">
                <a:solidFill>
                  <a:schemeClr val="accent1"/>
                </a:solidFill>
              </a:rPr>
              <a:t>информа</a:t>
            </a:r>
            <a:r>
              <a:rPr lang="en-US" sz="1000" dirty="0" smtClean="0">
                <a:solidFill>
                  <a:schemeClr val="accent1"/>
                </a:solidFill>
              </a:rPr>
              <a:t>-</a:t>
            </a:r>
            <a:r>
              <a:rPr lang="ru-RU" sz="1000" dirty="0" err="1" smtClean="0">
                <a:solidFill>
                  <a:schemeClr val="accent1"/>
                </a:solidFill>
              </a:rPr>
              <a:t>ции</a:t>
            </a:r>
            <a:endParaRPr lang="ru-RU" sz="1000" dirty="0" smtClean="0">
              <a:solidFill>
                <a:schemeClr val="accent1"/>
              </a:solidFill>
            </a:endParaRPr>
          </a:p>
          <a:p>
            <a:r>
              <a:rPr lang="ru-RU" sz="1000" dirty="0" smtClean="0">
                <a:solidFill>
                  <a:schemeClr val="accent1"/>
                </a:solidFill>
              </a:rPr>
              <a:t>(1-4 дня)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210321" y="4599917"/>
            <a:ext cx="888812" cy="4532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solidFill>
                  <a:schemeClr val="accent1"/>
                </a:solidFill>
              </a:rPr>
              <a:t>Диагностика</a:t>
            </a:r>
          </a:p>
          <a:p>
            <a:r>
              <a:rPr lang="ru-RU" sz="1000" dirty="0" smtClean="0">
                <a:solidFill>
                  <a:schemeClr val="accent1"/>
                </a:solidFill>
              </a:rPr>
              <a:t>(1-7 дней)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234050" y="5518132"/>
            <a:ext cx="888812" cy="453201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solidFill>
                  <a:schemeClr val="accent1"/>
                </a:solidFill>
              </a:rPr>
              <a:t>Ремонт</a:t>
            </a:r>
          </a:p>
          <a:p>
            <a:r>
              <a:rPr lang="ru-RU" sz="1000" dirty="0" smtClean="0">
                <a:solidFill>
                  <a:schemeClr val="accent1"/>
                </a:solidFill>
              </a:rPr>
              <a:t>(1-120 дней)</a:t>
            </a:r>
            <a:endParaRPr lang="en-US" sz="1000" dirty="0">
              <a:solidFill>
                <a:schemeClr val="accent1"/>
              </a:solidFill>
            </a:endParaRPr>
          </a:p>
        </p:txBody>
      </p:sp>
      <p:sp>
        <p:nvSpPr>
          <p:cNvPr id="24" name="TextBox 23"/>
          <p:cNvSpPr txBox="1">
            <a:spLocks/>
          </p:cNvSpPr>
          <p:nvPr/>
        </p:nvSpPr>
        <p:spPr>
          <a:xfrm>
            <a:off x="4463711" y="2364723"/>
            <a:ext cx="1422739" cy="914866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cs typeface="+mn-cs"/>
              </a:rPr>
              <a:t>Низкая мотивация на ввод оборудования в эксплуатацию и восстановление работоспособности</a:t>
            </a:r>
            <a:endParaRPr lang="en-US" sz="1000" dirty="0">
              <a:cs typeface="+mn-cs"/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4463711" y="4687189"/>
            <a:ext cx="1422739" cy="607089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cs typeface="+mn-cs"/>
              </a:rPr>
              <a:t>Какие функции посреднических звеньев?</a:t>
            </a:r>
            <a:endParaRPr lang="en-US" sz="1000" dirty="0">
              <a:cs typeface="+mn-cs"/>
            </a:endParaRPr>
          </a:p>
        </p:txBody>
      </p:sp>
      <p:sp>
        <p:nvSpPr>
          <p:cNvPr id="31" name="TextBox 30"/>
          <p:cNvSpPr txBox="1">
            <a:spLocks/>
          </p:cNvSpPr>
          <p:nvPr/>
        </p:nvSpPr>
        <p:spPr>
          <a:xfrm>
            <a:off x="4463711" y="5832410"/>
            <a:ext cx="1422739" cy="453201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000" dirty="0" smtClean="0">
                <a:cs typeface="+mn-cs"/>
              </a:rPr>
              <a:t>Какие составляющие данного этапа?</a:t>
            </a:r>
            <a:endParaRPr lang="en-US" sz="1000" dirty="0">
              <a:cs typeface="+mn-cs"/>
            </a:endParaRPr>
          </a:p>
        </p:txBody>
      </p:sp>
      <p:grpSp>
        <p:nvGrpSpPr>
          <p:cNvPr id="133" name="Group 132"/>
          <p:cNvGrpSpPr/>
          <p:nvPr/>
        </p:nvGrpSpPr>
        <p:grpSpPr>
          <a:xfrm>
            <a:off x="1814638" y="1395227"/>
            <a:ext cx="2571747" cy="4990412"/>
            <a:chOff x="1680760" y="1360723"/>
            <a:chExt cx="2571747" cy="4990412"/>
          </a:xfrm>
        </p:grpSpPr>
        <p:grpSp>
          <p:nvGrpSpPr>
            <p:cNvPr id="243" name="Group 12"/>
            <p:cNvGrpSpPr>
              <a:grpSpLocks/>
            </p:cNvGrpSpPr>
            <p:nvPr>
              <p:custDataLst>
                <p:tags r:id="rId13"/>
              </p:custDataLst>
            </p:nvPr>
          </p:nvGrpSpPr>
          <p:grpSpPr bwMode="auto">
            <a:xfrm rot="5400000">
              <a:off x="2590872" y="3627270"/>
              <a:ext cx="751522" cy="2571745"/>
              <a:chOff x="313" y="1968"/>
              <a:chExt cx="764" cy="1240"/>
            </a:xfrm>
          </p:grpSpPr>
          <p:sp>
            <p:nvSpPr>
              <p:cNvPr id="244" name="Freeform 13"/>
              <p:cNvSpPr>
                <a:spLocks/>
              </p:cNvSpPr>
              <p:nvPr>
                <p:custDataLst>
                  <p:tags r:id="rId38"/>
                </p:custDataLst>
              </p:nvPr>
            </p:nvSpPr>
            <p:spPr bwMode="auto">
              <a:xfrm>
                <a:off x="313" y="1968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45" name="Rectangle 14"/>
              <p:cNvSpPr>
                <a:spLocks noChangeArrowheads="1"/>
              </p:cNvSpPr>
              <p:nvPr>
                <p:custDataLst>
                  <p:tags r:id="rId39"/>
                </p:custDataLst>
              </p:nvPr>
            </p:nvSpPr>
            <p:spPr bwMode="auto">
              <a:xfrm>
                <a:off x="609" y="2038"/>
                <a:ext cx="286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ru-RU" sz="1000" dirty="0">
                    <a:solidFill>
                      <a:schemeClr val="accent1"/>
                    </a:solidFill>
                  </a:rPr>
                  <a:t>Диагностика инженерами </a:t>
                </a:r>
                <a:br>
                  <a:rPr lang="ru-RU" sz="1000" dirty="0">
                    <a:solidFill>
                      <a:schemeClr val="accent1"/>
                    </a:solidFill>
                  </a:rPr>
                </a:br>
                <a:r>
                  <a:rPr lang="ru-RU" sz="1000" dirty="0">
                    <a:solidFill>
                      <a:schemeClr val="accent1"/>
                    </a:solidFill>
                  </a:rPr>
                  <a:t>из сервисной компании</a:t>
                </a:r>
              </a:p>
            </p:txBody>
          </p:sp>
        </p:grpSp>
        <p:grpSp>
          <p:nvGrpSpPr>
            <p:cNvPr id="246" name="Group 15"/>
            <p:cNvGrpSpPr>
              <a:grpSpLocks/>
            </p:cNvGrpSpPr>
            <p:nvPr>
              <p:custDataLst>
                <p:tags r:id="rId14"/>
              </p:custDataLst>
            </p:nvPr>
          </p:nvGrpSpPr>
          <p:grpSpPr bwMode="auto">
            <a:xfrm rot="5400000">
              <a:off x="2590873" y="4159215"/>
              <a:ext cx="751522" cy="2571745"/>
              <a:chOff x="313" y="2500"/>
              <a:chExt cx="764" cy="1240"/>
            </a:xfrm>
          </p:grpSpPr>
          <p:sp>
            <p:nvSpPr>
              <p:cNvPr id="247" name="Freeform 16"/>
              <p:cNvSpPr>
                <a:spLocks/>
              </p:cNvSpPr>
              <p:nvPr>
                <p:custDataLst>
                  <p:tags r:id="rId36"/>
                </p:custDataLst>
              </p:nvPr>
            </p:nvSpPr>
            <p:spPr bwMode="auto">
              <a:xfrm>
                <a:off x="313" y="2500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48" name="Rectangle 17"/>
              <p:cNvSpPr>
                <a:spLocks noChangeArrowheads="1"/>
              </p:cNvSpPr>
              <p:nvPr>
                <p:custDataLst>
                  <p:tags r:id="rId37"/>
                </p:custDataLst>
              </p:nvPr>
            </p:nvSpPr>
            <p:spPr bwMode="auto">
              <a:xfrm>
                <a:off x="583" y="2515"/>
                <a:ext cx="286" cy="1202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ru-RU" sz="1000" dirty="0">
                    <a:solidFill>
                      <a:schemeClr val="accent1"/>
                    </a:solidFill>
                  </a:rPr>
                  <a:t>Устранение поломки за 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счет </a:t>
                </a:r>
                <a:r>
                  <a:rPr lang="ru-RU" sz="1000" dirty="0" err="1" smtClean="0">
                    <a:solidFill>
                      <a:schemeClr val="accent1"/>
                    </a:solidFill>
                  </a:rPr>
                  <a:t>произ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-водителя </a:t>
                </a:r>
                <a:r>
                  <a:rPr lang="ru-RU" sz="1000" dirty="0">
                    <a:solidFill>
                      <a:schemeClr val="accent1"/>
                    </a:solidFill>
                  </a:rPr>
                  <a:t>(до 200 тыс. руб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.)</a:t>
                </a:r>
                <a:br>
                  <a:rPr lang="ru-RU" sz="1000" dirty="0" smtClean="0">
                    <a:solidFill>
                      <a:schemeClr val="accent1"/>
                    </a:solidFill>
                  </a:rPr>
                </a:br>
                <a:r>
                  <a:rPr lang="ru-RU" sz="1000" dirty="0" smtClean="0">
                    <a:solidFill>
                      <a:schemeClr val="accent1"/>
                    </a:solidFill>
                  </a:rPr>
                  <a:t>(</a:t>
                </a:r>
                <a:r>
                  <a:rPr lang="ru-RU" sz="1000" dirty="0">
                    <a:solidFill>
                      <a:schemeClr val="accent1"/>
                    </a:solidFill>
                  </a:rPr>
                  <a:t>1-10 дней)</a:t>
                </a:r>
              </a:p>
            </p:txBody>
          </p:sp>
        </p:grpSp>
        <p:grpSp>
          <p:nvGrpSpPr>
            <p:cNvPr id="249" name="Group 18"/>
            <p:cNvGrpSpPr>
              <a:grpSpLocks/>
            </p:cNvGrpSpPr>
            <p:nvPr>
              <p:custDataLst>
                <p:tags r:id="rId15"/>
              </p:custDataLst>
            </p:nvPr>
          </p:nvGrpSpPr>
          <p:grpSpPr bwMode="auto">
            <a:xfrm rot="5400000">
              <a:off x="2590873" y="4689501"/>
              <a:ext cx="751522" cy="2571745"/>
              <a:chOff x="313" y="3031"/>
              <a:chExt cx="764" cy="1240"/>
            </a:xfrm>
          </p:grpSpPr>
          <p:sp>
            <p:nvSpPr>
              <p:cNvPr id="250" name="Freeform 19"/>
              <p:cNvSpPr>
                <a:spLocks/>
              </p:cNvSpPr>
              <p:nvPr>
                <p:custDataLst>
                  <p:tags r:id="rId34"/>
                </p:custDataLst>
              </p:nvPr>
            </p:nvSpPr>
            <p:spPr bwMode="auto">
              <a:xfrm>
                <a:off x="313" y="3031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51" name="Rectangle 20"/>
              <p:cNvSpPr>
                <a:spLocks noChangeArrowheads="1"/>
              </p:cNvSpPr>
              <p:nvPr>
                <p:custDataLst>
                  <p:tags r:id="rId35"/>
                </p:custDataLst>
              </p:nvPr>
            </p:nvSpPr>
            <p:spPr bwMode="auto">
              <a:xfrm>
                <a:off x="594" y="3155"/>
                <a:ext cx="286" cy="958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ru-RU" sz="1000" dirty="0">
                    <a:solidFill>
                      <a:schemeClr val="accent1"/>
                    </a:solidFill>
                  </a:rPr>
                  <a:t>Устранение дорогостоящей 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поломки </a:t>
                </a:r>
                <a:r>
                  <a:rPr lang="ru-RU" sz="1000" dirty="0">
                    <a:solidFill>
                      <a:schemeClr val="accent1"/>
                    </a:solidFill>
                  </a:rPr>
                  <a:t>через 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тендер в </a:t>
                </a:r>
                <a:r>
                  <a:rPr lang="ru-RU" sz="1000" dirty="0" err="1" smtClean="0">
                    <a:solidFill>
                      <a:schemeClr val="accent1"/>
                    </a:solidFill>
                  </a:rPr>
                  <a:t>ДЗМ</a:t>
                </a:r>
                <a:r>
                  <a:rPr lang="ru-RU" sz="1000" dirty="0" smtClean="0">
                    <a:solidFill>
                      <a:schemeClr val="accent1"/>
                    </a:solidFill>
                  </a:rPr>
                  <a:t> (2-4 </a:t>
                </a:r>
                <a:r>
                  <a:rPr lang="ru-RU" sz="1000" dirty="0">
                    <a:solidFill>
                      <a:schemeClr val="accent1"/>
                    </a:solidFill>
                  </a:rPr>
                  <a:t>мес.)</a:t>
                </a:r>
              </a:p>
            </p:txBody>
          </p:sp>
        </p:grpSp>
        <p:grpSp>
          <p:nvGrpSpPr>
            <p:cNvPr id="184" name="Group 3"/>
            <p:cNvGrpSpPr>
              <a:grpSpLocks/>
            </p:cNvGrpSpPr>
            <p:nvPr>
              <p:custDataLst>
                <p:tags r:id="rId16"/>
              </p:custDataLst>
            </p:nvPr>
          </p:nvGrpSpPr>
          <p:grpSpPr bwMode="auto">
            <a:xfrm rot="5400000">
              <a:off x="2590873" y="450612"/>
              <a:ext cx="751523" cy="2571745"/>
              <a:chOff x="313" y="375"/>
              <a:chExt cx="764" cy="1240"/>
            </a:xfrm>
            <a:solidFill>
              <a:schemeClr val="bg1"/>
            </a:solidFill>
          </p:grpSpPr>
          <p:sp>
            <p:nvSpPr>
              <p:cNvPr id="185" name="Freeform 4"/>
              <p:cNvSpPr>
                <a:spLocks/>
              </p:cNvSpPr>
              <p:nvPr>
                <p:custDataLst>
                  <p:tags r:id="rId32"/>
                </p:custDataLst>
              </p:nvPr>
            </p:nvSpPr>
            <p:spPr bwMode="auto">
              <a:xfrm>
                <a:off x="313" y="375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0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0" y="621"/>
                    </a:lnTo>
                    <a:lnTo>
                      <a:pt x="0" y="0"/>
                    </a:lnTo>
                    <a:close/>
                  </a:path>
                </a:pathLst>
              </a:custGeom>
              <a:grpFill/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186" name="Rectangle 5"/>
              <p:cNvSpPr>
                <a:spLocks noChangeArrowheads="1"/>
              </p:cNvSpPr>
              <p:nvPr>
                <p:custDataLst>
                  <p:tags r:id="rId33"/>
                </p:custDataLst>
              </p:nvPr>
            </p:nvSpPr>
            <p:spPr bwMode="auto">
              <a:xfrm>
                <a:off x="345" y="445"/>
                <a:ext cx="509" cy="1066"/>
              </a:xfrm>
              <a:prstGeom prst="rect">
                <a:avLst/>
              </a:pr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ru-RU" sz="1000" dirty="0">
                    <a:solidFill>
                      <a:schemeClr val="accent1"/>
                    </a:solidFill>
                  </a:rPr>
                  <a:t>Информация о поломке (врач/лаборант)</a:t>
                </a:r>
              </a:p>
            </p:txBody>
          </p:sp>
        </p:grpSp>
        <p:grpSp>
          <p:nvGrpSpPr>
            <p:cNvPr id="187" name="Group 6"/>
            <p:cNvGrpSpPr>
              <a:grpSpLocks/>
            </p:cNvGrpSpPr>
            <p:nvPr>
              <p:custDataLst>
                <p:tags r:id="rId17"/>
              </p:custDataLst>
            </p:nvPr>
          </p:nvGrpSpPr>
          <p:grpSpPr bwMode="auto">
            <a:xfrm rot="5400000">
              <a:off x="2590873" y="2562994"/>
              <a:ext cx="751523" cy="2571745"/>
              <a:chOff x="313" y="907"/>
              <a:chExt cx="764" cy="1240"/>
            </a:xfrm>
          </p:grpSpPr>
          <p:sp>
            <p:nvSpPr>
              <p:cNvPr id="188" name="Freeform 7"/>
              <p:cNvSpPr>
                <a:spLocks/>
              </p:cNvSpPr>
              <p:nvPr>
                <p:custDataLst>
                  <p:tags r:id="rId30"/>
                </p:custDataLst>
              </p:nvPr>
            </p:nvSpPr>
            <p:spPr bwMode="auto">
              <a:xfrm>
                <a:off x="313" y="907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189" name="Rectangle 8"/>
              <p:cNvSpPr>
                <a:spLocks noChangeArrowheads="1"/>
              </p:cNvSpPr>
              <p:nvPr>
                <p:custDataLst>
                  <p:tags r:id="rId31"/>
                </p:custDataLst>
              </p:nvPr>
            </p:nvSpPr>
            <p:spPr bwMode="auto">
              <a:xfrm>
                <a:off x="625" y="977"/>
                <a:ext cx="286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/>
                <a:r>
                  <a:rPr lang="ru-RU" sz="1000" dirty="0">
                    <a:solidFill>
                      <a:schemeClr val="accent1"/>
                    </a:solidFill>
                  </a:rPr>
                  <a:t>Субподрядчик</a:t>
                </a:r>
              </a:p>
            </p:txBody>
          </p:sp>
        </p:grpSp>
        <p:grpSp>
          <p:nvGrpSpPr>
            <p:cNvPr id="190" name="Group 9"/>
            <p:cNvGrpSpPr>
              <a:grpSpLocks/>
            </p:cNvGrpSpPr>
            <p:nvPr>
              <p:custDataLst>
                <p:tags r:id="rId18"/>
              </p:custDataLst>
            </p:nvPr>
          </p:nvGrpSpPr>
          <p:grpSpPr bwMode="auto">
            <a:xfrm rot="5400000">
              <a:off x="2591363" y="3095998"/>
              <a:ext cx="750540" cy="2571746"/>
              <a:chOff x="313" y="1439"/>
              <a:chExt cx="763" cy="1240"/>
            </a:xfrm>
          </p:grpSpPr>
          <p:sp>
            <p:nvSpPr>
              <p:cNvPr id="191" name="Freeform 10"/>
              <p:cNvSpPr>
                <a:spLocks/>
              </p:cNvSpPr>
              <p:nvPr>
                <p:custDataLst>
                  <p:tags r:id="rId28"/>
                </p:custDataLst>
              </p:nvPr>
            </p:nvSpPr>
            <p:spPr bwMode="auto">
              <a:xfrm>
                <a:off x="313" y="1439"/>
                <a:ext cx="763" cy="1240"/>
              </a:xfrm>
              <a:custGeom>
                <a:avLst/>
                <a:gdLst>
                  <a:gd name="T0" fmla="*/ 0 w 763"/>
                  <a:gd name="T1" fmla="*/ 0 h 1240"/>
                  <a:gd name="T2" fmla="*/ 540 w 763"/>
                  <a:gd name="T3" fmla="*/ 0 h 1240"/>
                  <a:gd name="T4" fmla="*/ 763 w 763"/>
                  <a:gd name="T5" fmla="*/ 621 h 1240"/>
                  <a:gd name="T6" fmla="*/ 540 w 763"/>
                  <a:gd name="T7" fmla="*/ 1240 h 1240"/>
                  <a:gd name="T8" fmla="*/ 0 w 763"/>
                  <a:gd name="T9" fmla="*/ 1240 h 1240"/>
                  <a:gd name="T10" fmla="*/ 223 w 763"/>
                  <a:gd name="T11" fmla="*/ 621 h 1240"/>
                  <a:gd name="T12" fmla="*/ 0 w 763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3" h="1240">
                    <a:moveTo>
                      <a:pt x="0" y="0"/>
                    </a:moveTo>
                    <a:lnTo>
                      <a:pt x="540" y="0"/>
                    </a:lnTo>
                    <a:lnTo>
                      <a:pt x="763" y="621"/>
                    </a:lnTo>
                    <a:lnTo>
                      <a:pt x="540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42" name="Rectangle 11"/>
              <p:cNvSpPr>
                <a:spLocks noChangeArrowheads="1"/>
              </p:cNvSpPr>
              <p:nvPr>
                <p:custDataLst>
                  <p:tags r:id="rId29"/>
                </p:custDataLst>
              </p:nvPr>
            </p:nvSpPr>
            <p:spPr bwMode="auto">
              <a:xfrm>
                <a:off x="615" y="1509"/>
                <a:ext cx="285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r>
                  <a:rPr lang="ru-RU" sz="1000" dirty="0">
                    <a:solidFill>
                      <a:schemeClr val="accent1"/>
                    </a:solidFill>
                  </a:rPr>
                  <a:t>Сервисная компания производителя</a:t>
                </a:r>
              </a:p>
            </p:txBody>
          </p:sp>
        </p:grpSp>
        <p:grpSp>
          <p:nvGrpSpPr>
            <p:cNvPr id="254" name="Group 6"/>
            <p:cNvGrpSpPr>
              <a:grpSpLocks/>
            </p:cNvGrpSpPr>
            <p:nvPr>
              <p:custDataLst>
                <p:tags r:id="rId19"/>
              </p:custDataLst>
            </p:nvPr>
          </p:nvGrpSpPr>
          <p:grpSpPr bwMode="auto">
            <a:xfrm rot="5400000">
              <a:off x="2590872" y="2039134"/>
              <a:ext cx="751523" cy="2571745"/>
              <a:chOff x="313" y="907"/>
              <a:chExt cx="764" cy="1240"/>
            </a:xfrm>
          </p:grpSpPr>
          <p:sp>
            <p:nvSpPr>
              <p:cNvPr id="255" name="Freeform 7"/>
              <p:cNvSpPr>
                <a:spLocks/>
              </p:cNvSpPr>
              <p:nvPr>
                <p:custDataLst>
                  <p:tags r:id="rId26"/>
                </p:custDataLst>
              </p:nvPr>
            </p:nvSpPr>
            <p:spPr bwMode="auto">
              <a:xfrm>
                <a:off x="313" y="907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56" name="Rectangle 8"/>
              <p:cNvSpPr>
                <a:spLocks noChangeArrowheads="1"/>
              </p:cNvSpPr>
              <p:nvPr>
                <p:custDataLst>
                  <p:tags r:id="rId27"/>
                </p:custDataLst>
              </p:nvPr>
            </p:nvSpPr>
            <p:spPr bwMode="auto">
              <a:xfrm>
                <a:off x="631" y="977"/>
                <a:ext cx="286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/>
                <a:r>
                  <a:rPr lang="ru-RU" sz="1000" dirty="0" err="1">
                    <a:solidFill>
                      <a:schemeClr val="accent1"/>
                    </a:solidFill>
                  </a:rPr>
                  <a:t>ГорМедТехника</a:t>
                </a:r>
                <a:endParaRPr lang="ru-RU" sz="10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257" name="Group 6"/>
            <p:cNvGrpSpPr>
              <a:grpSpLocks/>
            </p:cNvGrpSpPr>
            <p:nvPr>
              <p:custDataLst>
                <p:tags r:id="rId20"/>
              </p:custDataLst>
            </p:nvPr>
          </p:nvGrpSpPr>
          <p:grpSpPr bwMode="auto">
            <a:xfrm rot="5400000">
              <a:off x="2590871" y="1513197"/>
              <a:ext cx="751523" cy="2571745"/>
              <a:chOff x="313" y="907"/>
              <a:chExt cx="764" cy="1240"/>
            </a:xfrm>
          </p:grpSpPr>
          <p:sp>
            <p:nvSpPr>
              <p:cNvPr id="258" name="Freeform 7"/>
              <p:cNvSpPr>
                <a:spLocks/>
              </p:cNvSpPr>
              <p:nvPr>
                <p:custDataLst>
                  <p:tags r:id="rId24"/>
                </p:custDataLst>
              </p:nvPr>
            </p:nvSpPr>
            <p:spPr bwMode="auto">
              <a:xfrm>
                <a:off x="313" y="907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59" name="Rectangle 8"/>
              <p:cNvSpPr>
                <a:spLocks noChangeArrowheads="1"/>
              </p:cNvSpPr>
              <p:nvPr>
                <p:custDataLst>
                  <p:tags r:id="rId25"/>
                </p:custDataLst>
              </p:nvPr>
            </p:nvSpPr>
            <p:spPr bwMode="auto">
              <a:xfrm>
                <a:off x="631" y="977"/>
                <a:ext cx="286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/>
                <a:r>
                  <a:rPr lang="ru-RU" sz="1000" dirty="0">
                    <a:solidFill>
                      <a:schemeClr val="accent1"/>
                    </a:solidFill>
                  </a:rPr>
                  <a:t>Внутренняя тех. служба </a:t>
                </a:r>
                <a:r>
                  <a:rPr lang="ru-RU" sz="1000" dirty="0" err="1">
                    <a:solidFill>
                      <a:schemeClr val="accent1"/>
                    </a:solidFill>
                  </a:rPr>
                  <a:t>мед.учреждений</a:t>
                </a:r>
                <a:endParaRPr lang="ru-RU" sz="1000" dirty="0">
                  <a:solidFill>
                    <a:schemeClr val="accent1"/>
                  </a:solidFill>
                </a:endParaRPr>
              </a:p>
            </p:txBody>
          </p:sp>
        </p:grpSp>
        <p:grpSp>
          <p:nvGrpSpPr>
            <p:cNvPr id="260" name="Group 6"/>
            <p:cNvGrpSpPr>
              <a:grpSpLocks/>
            </p:cNvGrpSpPr>
            <p:nvPr>
              <p:custDataLst>
                <p:tags r:id="rId21"/>
              </p:custDataLst>
            </p:nvPr>
          </p:nvGrpSpPr>
          <p:grpSpPr bwMode="auto">
            <a:xfrm rot="5400000">
              <a:off x="2590871" y="981685"/>
              <a:ext cx="751523" cy="2571745"/>
              <a:chOff x="313" y="907"/>
              <a:chExt cx="764" cy="1240"/>
            </a:xfrm>
          </p:grpSpPr>
          <p:sp>
            <p:nvSpPr>
              <p:cNvPr id="261" name="Freeform 7"/>
              <p:cNvSpPr>
                <a:spLocks/>
              </p:cNvSpPr>
              <p:nvPr>
                <p:custDataLst>
                  <p:tags r:id="rId22"/>
                </p:custDataLst>
              </p:nvPr>
            </p:nvSpPr>
            <p:spPr bwMode="auto">
              <a:xfrm>
                <a:off x="313" y="907"/>
                <a:ext cx="764" cy="1240"/>
              </a:xfrm>
              <a:custGeom>
                <a:avLst/>
                <a:gdLst>
                  <a:gd name="T0" fmla="*/ 0 w 764"/>
                  <a:gd name="T1" fmla="*/ 0 h 1240"/>
                  <a:gd name="T2" fmla="*/ 541 w 764"/>
                  <a:gd name="T3" fmla="*/ 0 h 1240"/>
                  <a:gd name="T4" fmla="*/ 764 w 764"/>
                  <a:gd name="T5" fmla="*/ 621 h 1240"/>
                  <a:gd name="T6" fmla="*/ 541 w 764"/>
                  <a:gd name="T7" fmla="*/ 1240 h 1240"/>
                  <a:gd name="T8" fmla="*/ 0 w 764"/>
                  <a:gd name="T9" fmla="*/ 1240 h 1240"/>
                  <a:gd name="T10" fmla="*/ 223 w 764"/>
                  <a:gd name="T11" fmla="*/ 621 h 1240"/>
                  <a:gd name="T12" fmla="*/ 0 w 764"/>
                  <a:gd name="T13" fmla="*/ 0 h 124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</a:cxnLst>
                <a:rect l="0" t="0" r="r" b="b"/>
                <a:pathLst>
                  <a:path w="764" h="1240">
                    <a:moveTo>
                      <a:pt x="0" y="0"/>
                    </a:moveTo>
                    <a:lnTo>
                      <a:pt x="541" y="0"/>
                    </a:lnTo>
                    <a:lnTo>
                      <a:pt x="764" y="621"/>
                    </a:lnTo>
                    <a:lnTo>
                      <a:pt x="541" y="1240"/>
                    </a:lnTo>
                    <a:lnTo>
                      <a:pt x="0" y="1240"/>
                    </a:lnTo>
                    <a:lnTo>
                      <a:pt x="223" y="621"/>
                    </a:lnTo>
                    <a:lnTo>
                      <a:pt x="0" y="0"/>
                    </a:lnTo>
                    <a:close/>
                  </a:path>
                </a:pathLst>
              </a:custGeom>
              <a:solidFill>
                <a:schemeClr val="bg1"/>
              </a:solidFill>
              <a:ln w="19050" cap="flat" cmpd="sng">
                <a:solidFill>
                  <a:schemeClr val="accent1"/>
                </a:solidFill>
                <a:prstDash val="solid"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tIns="91440" bIns="91440" anchor="ctr" anchorCtr="1">
                <a:noAutofit/>
              </a:bodyPr>
              <a:lstStyle/>
              <a:p>
                <a:endParaRPr lang="ru-RU" sz="1000">
                  <a:solidFill>
                    <a:schemeClr val="accent1"/>
                  </a:solidFill>
                  <a:latin typeface="Arial" charset="0"/>
                </a:endParaRPr>
              </a:p>
            </p:txBody>
          </p:sp>
          <p:sp>
            <p:nvSpPr>
              <p:cNvPr id="262" name="Rectangle 8"/>
              <p:cNvSpPr>
                <a:spLocks noChangeArrowheads="1"/>
              </p:cNvSpPr>
              <p:nvPr>
                <p:custDataLst>
                  <p:tags r:id="rId23"/>
                </p:custDataLst>
              </p:nvPr>
            </p:nvSpPr>
            <p:spPr bwMode="auto">
              <a:xfrm>
                <a:off x="568" y="977"/>
                <a:ext cx="286" cy="1066"/>
              </a:xfrm>
              <a:prstGeom prst="rect">
                <a:avLst/>
              </a:prstGeom>
              <a:noFill/>
              <a:ln>
                <a:noFill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91240B29-F687-4f45-9708-019B960494DF}">
                  <a14:hiddenLine xmlns:a14="http://schemas.microsoft.com/office/drawing/2010/main" xmlns="" w="12700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rot="10800000" vert="eaVert" lIns="93296" tIns="93296" rIns="93296" bIns="93296" anchor="ctr" anchorCtr="1">
                <a:noAutofit/>
              </a:bodyPr>
              <a:lstStyle>
                <a:lvl1pPr marL="342900" indent="-342900">
                  <a:buSzPct val="120000"/>
                  <a:defRPr sz="1600">
                    <a:solidFill>
                      <a:schemeClr val="tx1"/>
                    </a:solidFill>
                    <a:latin typeface="Arial" charset="0"/>
                  </a:defRPr>
                </a:lvl1pPr>
                <a:lvl2pPr marL="742950" indent="-285750">
                  <a:buSzPct val="120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2pPr>
                <a:lvl3pPr marL="1143000" indent="-228600"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3pPr>
                <a:lvl4pPr marL="1600200" indent="-228600">
                  <a:buSzPct val="89000"/>
                  <a:buChar char="•"/>
                  <a:defRPr sz="1600">
                    <a:solidFill>
                      <a:schemeClr val="tx1"/>
                    </a:solidFill>
                    <a:latin typeface="Arial" charset="0"/>
                  </a:defRPr>
                </a:lvl4pPr>
                <a:lvl5pPr marL="2057400" indent="-228600"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5pPr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  <a:buSzPct val="75000"/>
                  <a:buChar char="–"/>
                  <a:defRPr sz="1600">
                    <a:solidFill>
                      <a:schemeClr val="tx1"/>
                    </a:solidFill>
                    <a:latin typeface="Arial" charset="0"/>
                  </a:defRPr>
                </a:lvl9pPr>
              </a:lstStyle>
              <a:p>
                <a:pPr algn="ctr"/>
                <a:r>
                  <a:rPr lang="ru-RU" sz="1000" dirty="0" err="1">
                    <a:solidFill>
                      <a:schemeClr val="accent1"/>
                    </a:solidFill>
                  </a:rPr>
                  <a:t>Зав.отделением</a:t>
                </a:r>
                <a:endParaRPr lang="ru-RU" sz="1000" dirty="0">
                  <a:solidFill>
                    <a:schemeClr val="accent1"/>
                  </a:solidFill>
                </a:endParaRPr>
              </a:p>
            </p:txBody>
          </p:sp>
        </p:grpSp>
      </p:grpSp>
      <p:sp>
        <p:nvSpPr>
          <p:cNvPr id="51" name="Oval 55"/>
          <p:cNvSpPr txBox="1"/>
          <p:nvPr>
            <p:custDataLst>
              <p:tags r:id="rId9"/>
            </p:custDataLst>
          </p:nvPr>
        </p:nvSpPr>
        <p:spPr bwMode="gray">
          <a:xfrm>
            <a:off x="1434775" y="5527139"/>
            <a:ext cx="302537" cy="18737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non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000" b="1" dirty="0" smtClean="0">
                <a:solidFill>
                  <a:schemeClr val="tx2"/>
                </a:solidFill>
                <a:cs typeface="Arial" panose="020B0604020202020204" pitchFamily="34" charset="0"/>
                <a:sym typeface="+mn-lt"/>
              </a:rPr>
              <a:t>или</a:t>
            </a:r>
            <a:endParaRPr lang="en-US" sz="1000" b="1" dirty="0">
              <a:solidFill>
                <a:schemeClr val="tx2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2" name="Oval 55"/>
          <p:cNvSpPr txBox="1"/>
          <p:nvPr>
            <p:custDataLst>
              <p:tags r:id="rId10"/>
            </p:custDataLst>
          </p:nvPr>
        </p:nvSpPr>
        <p:spPr bwMode="gray">
          <a:xfrm>
            <a:off x="6408423" y="1387067"/>
            <a:ext cx="187614" cy="18761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000" b="1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1</a:t>
            </a:r>
            <a:endParaRPr lang="en-US" sz="1000" b="1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63" name="Oval 55"/>
          <p:cNvSpPr txBox="1"/>
          <p:nvPr>
            <p:custDataLst>
              <p:tags r:id="rId11"/>
            </p:custDataLst>
          </p:nvPr>
        </p:nvSpPr>
        <p:spPr bwMode="gray">
          <a:xfrm>
            <a:off x="6408423" y="2139798"/>
            <a:ext cx="187614" cy="18761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000" b="1" dirty="0">
                <a:solidFill>
                  <a:schemeClr val="tx2"/>
                </a:solidFill>
                <a:cs typeface="Arial" panose="020B0604020202020204" pitchFamily="34" charset="0"/>
                <a:sym typeface="+mn-lt"/>
              </a:rPr>
              <a:t>2</a:t>
            </a:r>
            <a:endParaRPr lang="en-US" sz="1000" b="1" dirty="0">
              <a:solidFill>
                <a:schemeClr val="tx2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64" name="Oval 55"/>
          <p:cNvSpPr txBox="1"/>
          <p:nvPr>
            <p:custDataLst>
              <p:tags r:id="rId12"/>
            </p:custDataLst>
          </p:nvPr>
        </p:nvSpPr>
        <p:spPr bwMode="gray">
          <a:xfrm>
            <a:off x="6408423" y="2913501"/>
            <a:ext cx="187614" cy="187614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000" b="1" dirty="0">
                <a:solidFill>
                  <a:schemeClr val="tx2"/>
                </a:solidFill>
                <a:cs typeface="Arial" panose="020B0604020202020204" pitchFamily="34" charset="0"/>
                <a:sym typeface="+mn-lt"/>
              </a:rPr>
              <a:t>3</a:t>
            </a:r>
            <a:endParaRPr lang="en-US" sz="1000" b="1" dirty="0">
              <a:solidFill>
                <a:schemeClr val="tx2"/>
              </a:solidFill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36" name="Straight Connector 135"/>
          <p:cNvCxnSpPr/>
          <p:nvPr/>
        </p:nvCxnSpPr>
        <p:spPr>
          <a:xfrm flipH="1">
            <a:off x="4241204" y="3328708"/>
            <a:ext cx="222507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4" name="Straight Connector 263"/>
          <p:cNvCxnSpPr/>
          <p:nvPr/>
        </p:nvCxnSpPr>
        <p:spPr>
          <a:xfrm flipH="1">
            <a:off x="4241204" y="5890030"/>
            <a:ext cx="222507" cy="0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7" name="Freeform 136"/>
          <p:cNvSpPr/>
          <p:nvPr/>
        </p:nvSpPr>
        <p:spPr>
          <a:xfrm>
            <a:off x="4219575" y="3911179"/>
            <a:ext cx="247650" cy="914400"/>
          </a:xfrm>
          <a:custGeom>
            <a:avLst/>
            <a:gdLst>
              <a:gd name="connsiteX0" fmla="*/ 0 w 247650"/>
              <a:gd name="connsiteY0" fmla="*/ 0 h 914400"/>
              <a:gd name="connsiteX1" fmla="*/ 209550 w 247650"/>
              <a:gd name="connsiteY1" fmla="*/ 0 h 914400"/>
              <a:gd name="connsiteX2" fmla="*/ 209550 w 247650"/>
              <a:gd name="connsiteY2" fmla="*/ 914400 h 914400"/>
              <a:gd name="connsiteX3" fmla="*/ 247650 w 247650"/>
              <a:gd name="connsiteY3" fmla="*/ 914400 h 9144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7650" h="914400">
                <a:moveTo>
                  <a:pt x="0" y="0"/>
                </a:moveTo>
                <a:lnTo>
                  <a:pt x="209550" y="0"/>
                </a:lnTo>
                <a:lnTo>
                  <a:pt x="209550" y="914400"/>
                </a:lnTo>
                <a:lnTo>
                  <a:pt x="247650" y="914400"/>
                </a:lnTo>
              </a:path>
            </a:pathLst>
          </a:custGeom>
          <a:noFill/>
          <a:ln w="9525">
            <a:solidFill>
              <a:schemeClr val="accent6"/>
            </a:solidFill>
            <a:headEnd type="oval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/>
          </a:p>
        </p:txBody>
      </p:sp>
      <p:grpSp>
        <p:nvGrpSpPr>
          <p:cNvPr id="265" name="Group 18"/>
          <p:cNvGrpSpPr>
            <a:grpSpLocks/>
          </p:cNvGrpSpPr>
          <p:nvPr/>
        </p:nvGrpSpPr>
        <p:grpSpPr bwMode="auto">
          <a:xfrm>
            <a:off x="4056736" y="6055378"/>
            <a:ext cx="316842" cy="273774"/>
            <a:chOff x="-3868" y="912"/>
            <a:chExt cx="2292" cy="1980"/>
          </a:xfrm>
        </p:grpSpPr>
        <p:sp>
          <p:nvSpPr>
            <p:cNvPr id="266" name="Freeform 15"/>
            <p:cNvSpPr>
              <a:spLocks noChangeAspect="1"/>
            </p:cNvSpPr>
            <p:nvPr/>
          </p:nvSpPr>
          <p:spPr bwMode="auto">
            <a:xfrm>
              <a:off x="-3868" y="912"/>
              <a:ext cx="2292" cy="1980"/>
            </a:xfrm>
            <a:custGeom>
              <a:avLst/>
              <a:gdLst>
                <a:gd name="T0" fmla="*/ 1176 w 365"/>
                <a:gd name="T1" fmla="*/ 14209 h 316"/>
                <a:gd name="T2" fmla="*/ 403 w 365"/>
                <a:gd name="T3" fmla="*/ 12908 h 316"/>
                <a:gd name="T4" fmla="*/ 7443 w 365"/>
                <a:gd name="T5" fmla="*/ 718 h 316"/>
                <a:gd name="T6" fmla="*/ 9029 w 365"/>
                <a:gd name="T7" fmla="*/ 718 h 316"/>
                <a:gd name="T8" fmla="*/ 16069 w 365"/>
                <a:gd name="T9" fmla="*/ 12908 h 316"/>
                <a:gd name="T10" fmla="*/ 15296 w 365"/>
                <a:gd name="T11" fmla="*/ 14209 h 316"/>
                <a:gd name="T12" fmla="*/ 1176 w 365"/>
                <a:gd name="T13" fmla="*/ 14209 h 3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316"/>
                <a:gd name="T23" fmla="*/ 365 w 365"/>
                <a:gd name="T24" fmla="*/ 316 h 3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316">
                  <a:moveTo>
                    <a:pt x="26" y="316"/>
                  </a:moveTo>
                  <a:cubicBezTo>
                    <a:pt x="7" y="316"/>
                    <a:pt x="0" y="303"/>
                    <a:pt x="9" y="287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75" y="0"/>
                    <a:pt x="190" y="0"/>
                    <a:pt x="200" y="16"/>
                  </a:cubicBezTo>
                  <a:cubicBezTo>
                    <a:pt x="356" y="287"/>
                    <a:pt x="356" y="287"/>
                    <a:pt x="356" y="287"/>
                  </a:cubicBezTo>
                  <a:cubicBezTo>
                    <a:pt x="365" y="303"/>
                    <a:pt x="358" y="316"/>
                    <a:pt x="339" y="316"/>
                  </a:cubicBezTo>
                  <a:lnTo>
                    <a:pt x="26" y="31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>
                <a:cs typeface="Arial" pitchFamily="34" charset="0"/>
              </a:endParaRPr>
            </a:p>
          </p:txBody>
        </p:sp>
        <p:sp>
          <p:nvSpPr>
            <p:cNvPr id="267" name="Freeform 16"/>
            <p:cNvSpPr>
              <a:spLocks noChangeAspect="1"/>
            </p:cNvSpPr>
            <p:nvPr/>
          </p:nvSpPr>
          <p:spPr bwMode="auto">
            <a:xfrm>
              <a:off x="-3868" y="912"/>
              <a:ext cx="2292" cy="1980"/>
            </a:xfrm>
            <a:custGeom>
              <a:avLst/>
              <a:gdLst>
                <a:gd name="T0" fmla="*/ 1176 w 365"/>
                <a:gd name="T1" fmla="*/ 14209 h 316"/>
                <a:gd name="T2" fmla="*/ 403 w 365"/>
                <a:gd name="T3" fmla="*/ 12908 h 316"/>
                <a:gd name="T4" fmla="*/ 7443 w 365"/>
                <a:gd name="T5" fmla="*/ 718 h 316"/>
                <a:gd name="T6" fmla="*/ 9029 w 365"/>
                <a:gd name="T7" fmla="*/ 718 h 316"/>
                <a:gd name="T8" fmla="*/ 16069 w 365"/>
                <a:gd name="T9" fmla="*/ 12908 h 316"/>
                <a:gd name="T10" fmla="*/ 15296 w 365"/>
                <a:gd name="T11" fmla="*/ 14209 h 316"/>
                <a:gd name="T12" fmla="*/ 1176 w 365"/>
                <a:gd name="T13" fmla="*/ 14209 h 31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365"/>
                <a:gd name="T22" fmla="*/ 0 h 316"/>
                <a:gd name="T23" fmla="*/ 365 w 365"/>
                <a:gd name="T24" fmla="*/ 316 h 31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365" h="316">
                  <a:moveTo>
                    <a:pt x="26" y="316"/>
                  </a:moveTo>
                  <a:cubicBezTo>
                    <a:pt x="7" y="316"/>
                    <a:pt x="0" y="303"/>
                    <a:pt x="9" y="287"/>
                  </a:cubicBezTo>
                  <a:cubicBezTo>
                    <a:pt x="165" y="16"/>
                    <a:pt x="165" y="16"/>
                    <a:pt x="165" y="16"/>
                  </a:cubicBezTo>
                  <a:cubicBezTo>
                    <a:pt x="175" y="0"/>
                    <a:pt x="190" y="0"/>
                    <a:pt x="200" y="16"/>
                  </a:cubicBezTo>
                  <a:cubicBezTo>
                    <a:pt x="356" y="287"/>
                    <a:pt x="356" y="287"/>
                    <a:pt x="356" y="287"/>
                  </a:cubicBezTo>
                  <a:cubicBezTo>
                    <a:pt x="365" y="303"/>
                    <a:pt x="358" y="316"/>
                    <a:pt x="339" y="316"/>
                  </a:cubicBezTo>
                  <a:lnTo>
                    <a:pt x="26" y="316"/>
                  </a:lnTo>
                  <a:close/>
                </a:path>
              </a:pathLst>
            </a:custGeom>
            <a:solidFill>
              <a:schemeClr val="folHlink"/>
            </a:soli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ru-RU" sz="1000">
                <a:cs typeface="Arial" pitchFamily="34" charset="0"/>
              </a:endParaRPr>
            </a:p>
          </p:txBody>
        </p:sp>
        <p:sp>
          <p:nvSpPr>
            <p:cNvPr id="268" name="Freeform 17"/>
            <p:cNvSpPr>
              <a:spLocks noChangeAspect="1"/>
            </p:cNvSpPr>
            <p:nvPr/>
          </p:nvSpPr>
          <p:spPr bwMode="auto">
            <a:xfrm>
              <a:off x="-3618" y="1180"/>
              <a:ext cx="1789" cy="1555"/>
            </a:xfrm>
            <a:custGeom>
              <a:avLst/>
              <a:gdLst>
                <a:gd name="T0" fmla="*/ 363 w 285"/>
                <a:gd name="T1" fmla="*/ 11165 h 248"/>
                <a:gd name="T2" fmla="*/ 134 w 285"/>
                <a:gd name="T3" fmla="*/ 10715 h 248"/>
                <a:gd name="T4" fmla="*/ 6179 w 285"/>
                <a:gd name="T5" fmla="*/ 228 h 248"/>
                <a:gd name="T6" fmla="*/ 6675 w 285"/>
                <a:gd name="T7" fmla="*/ 228 h 248"/>
                <a:gd name="T8" fmla="*/ 12720 w 285"/>
                <a:gd name="T9" fmla="*/ 10715 h 248"/>
                <a:gd name="T10" fmla="*/ 12491 w 285"/>
                <a:gd name="T11" fmla="*/ 11165 h 248"/>
                <a:gd name="T12" fmla="*/ 363 w 285"/>
                <a:gd name="T13" fmla="*/ 11165 h 24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85"/>
                <a:gd name="T22" fmla="*/ 0 h 248"/>
                <a:gd name="T23" fmla="*/ 285 w 285"/>
                <a:gd name="T24" fmla="*/ 248 h 24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85" h="248">
                  <a:moveTo>
                    <a:pt x="8" y="248"/>
                  </a:moveTo>
                  <a:cubicBezTo>
                    <a:pt x="2" y="248"/>
                    <a:pt x="0" y="243"/>
                    <a:pt x="3" y="238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40" y="0"/>
                    <a:pt x="145" y="0"/>
                    <a:pt x="148" y="5"/>
                  </a:cubicBezTo>
                  <a:cubicBezTo>
                    <a:pt x="282" y="238"/>
                    <a:pt x="282" y="238"/>
                    <a:pt x="282" y="238"/>
                  </a:cubicBezTo>
                  <a:cubicBezTo>
                    <a:pt x="285" y="243"/>
                    <a:pt x="283" y="248"/>
                    <a:pt x="277" y="248"/>
                  </a:cubicBezTo>
                  <a:lnTo>
                    <a:pt x="8" y="248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>
                <a:cs typeface="Arial" pitchFamily="34" charset="0"/>
              </a:endParaRPr>
            </a:p>
          </p:txBody>
        </p:sp>
        <p:sp>
          <p:nvSpPr>
            <p:cNvPr id="269" name="Freeform 18"/>
            <p:cNvSpPr>
              <a:spLocks noChangeAspect="1"/>
            </p:cNvSpPr>
            <p:nvPr/>
          </p:nvSpPr>
          <p:spPr bwMode="auto">
            <a:xfrm>
              <a:off x="-3617" y="1182"/>
              <a:ext cx="1790" cy="1556"/>
            </a:xfrm>
            <a:custGeom>
              <a:avLst/>
              <a:gdLst/>
              <a:ahLst/>
              <a:cxnLst>
                <a:cxn ang="0">
                  <a:pos x="8" y="248"/>
                </a:cxn>
                <a:cxn ang="0">
                  <a:pos x="3" y="238"/>
                </a:cxn>
                <a:cxn ang="0">
                  <a:pos x="137" y="5"/>
                </a:cxn>
                <a:cxn ang="0">
                  <a:pos x="148" y="5"/>
                </a:cxn>
                <a:cxn ang="0">
                  <a:pos x="282" y="238"/>
                </a:cxn>
                <a:cxn ang="0">
                  <a:pos x="277" y="248"/>
                </a:cxn>
                <a:cxn ang="0">
                  <a:pos x="8" y="248"/>
                </a:cxn>
              </a:cxnLst>
              <a:rect l="0" t="0" r="r" b="b"/>
              <a:pathLst>
                <a:path w="285" h="248">
                  <a:moveTo>
                    <a:pt x="8" y="248"/>
                  </a:moveTo>
                  <a:cubicBezTo>
                    <a:pt x="2" y="248"/>
                    <a:pt x="0" y="243"/>
                    <a:pt x="3" y="238"/>
                  </a:cubicBezTo>
                  <a:cubicBezTo>
                    <a:pt x="137" y="5"/>
                    <a:pt x="137" y="5"/>
                    <a:pt x="137" y="5"/>
                  </a:cubicBezTo>
                  <a:cubicBezTo>
                    <a:pt x="140" y="0"/>
                    <a:pt x="145" y="0"/>
                    <a:pt x="148" y="5"/>
                  </a:cubicBezTo>
                  <a:cubicBezTo>
                    <a:pt x="282" y="238"/>
                    <a:pt x="282" y="238"/>
                    <a:pt x="282" y="238"/>
                  </a:cubicBezTo>
                  <a:cubicBezTo>
                    <a:pt x="285" y="243"/>
                    <a:pt x="283" y="248"/>
                    <a:pt x="277" y="248"/>
                  </a:cubicBezTo>
                  <a:lnTo>
                    <a:pt x="8" y="248"/>
                  </a:lnTo>
                  <a:close/>
                </a:path>
              </a:pathLst>
            </a:custGeom>
            <a:gradFill rotWithShape="1">
              <a:gsLst>
                <a:gs pos="0">
                  <a:schemeClr val="bg1">
                    <a:gamma/>
                    <a:shade val="76863"/>
                    <a:invGamma/>
                  </a:schemeClr>
                </a:gs>
                <a:gs pos="50000">
                  <a:schemeClr val="bg1"/>
                </a:gs>
                <a:gs pos="100000">
                  <a:schemeClr val="bg1">
                    <a:gamma/>
                    <a:shade val="76863"/>
                    <a:invGamma/>
                  </a:schemeClr>
                </a:gs>
              </a:gsLst>
              <a:lin ang="5400000" scaled="1"/>
            </a:gradFill>
            <a:ln w="9525">
              <a:solidFill>
                <a:srgbClr val="C0C0C0"/>
              </a:solidFill>
              <a:miter lim="800000"/>
              <a:headEnd/>
              <a:tailEnd/>
            </a:ln>
          </p:spPr>
          <p:txBody>
            <a:bodyPr/>
            <a:lstStyle/>
            <a:p>
              <a:endParaRPr lang="en-US" sz="1000" noProof="1">
                <a:cs typeface="Arial" pitchFamily="34" charset="0"/>
              </a:endParaRPr>
            </a:p>
          </p:txBody>
        </p:sp>
        <p:sp>
          <p:nvSpPr>
            <p:cNvPr id="270" name="Freeform 19"/>
            <p:cNvSpPr>
              <a:spLocks noChangeAspect="1"/>
            </p:cNvSpPr>
            <p:nvPr/>
          </p:nvSpPr>
          <p:spPr bwMode="auto">
            <a:xfrm>
              <a:off x="-2840" y="1477"/>
              <a:ext cx="234" cy="784"/>
            </a:xfrm>
            <a:custGeom>
              <a:avLst/>
              <a:gdLst>
                <a:gd name="T0" fmla="*/ 41 w 720"/>
                <a:gd name="T1" fmla="*/ 0 h 2437"/>
                <a:gd name="T2" fmla="*/ 74 w 720"/>
                <a:gd name="T3" fmla="*/ 12 h 2437"/>
                <a:gd name="T4" fmla="*/ 87 w 720"/>
                <a:gd name="T5" fmla="*/ 50 h 2437"/>
                <a:gd name="T6" fmla="*/ 66 w 720"/>
                <a:gd name="T7" fmla="*/ 276 h 2437"/>
                <a:gd name="T8" fmla="*/ 46 w 720"/>
                <a:gd name="T9" fmla="*/ 289 h 2437"/>
                <a:gd name="T10" fmla="*/ 41 w 720"/>
                <a:gd name="T11" fmla="*/ 289 h 2437"/>
                <a:gd name="T12" fmla="*/ 20 w 720"/>
                <a:gd name="T13" fmla="*/ 276 h 2437"/>
                <a:gd name="T14" fmla="*/ 0 w 720"/>
                <a:gd name="T15" fmla="*/ 50 h 2437"/>
                <a:gd name="T16" fmla="*/ 13 w 720"/>
                <a:gd name="T17" fmla="*/ 12 h 2437"/>
                <a:gd name="T18" fmla="*/ 43 w 720"/>
                <a:gd name="T19" fmla="*/ 0 h 2437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w 720"/>
                <a:gd name="T31" fmla="*/ 0 h 2437"/>
                <a:gd name="T32" fmla="*/ 720 w 720"/>
                <a:gd name="T33" fmla="*/ 2437 h 2437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T30" t="T31" r="T32" b="T33"/>
              <a:pathLst>
                <a:path w="720" h="2437">
                  <a:moveTo>
                    <a:pt x="339" y="0"/>
                  </a:moveTo>
                  <a:cubicBezTo>
                    <a:pt x="445" y="0"/>
                    <a:pt x="551" y="42"/>
                    <a:pt x="614" y="106"/>
                  </a:cubicBezTo>
                  <a:cubicBezTo>
                    <a:pt x="678" y="191"/>
                    <a:pt x="720" y="297"/>
                    <a:pt x="720" y="424"/>
                  </a:cubicBezTo>
                  <a:cubicBezTo>
                    <a:pt x="710" y="795"/>
                    <a:pt x="607" y="1996"/>
                    <a:pt x="551" y="2331"/>
                  </a:cubicBezTo>
                  <a:cubicBezTo>
                    <a:pt x="508" y="2416"/>
                    <a:pt x="445" y="2437"/>
                    <a:pt x="381" y="2437"/>
                  </a:cubicBezTo>
                  <a:cubicBezTo>
                    <a:pt x="339" y="2437"/>
                    <a:pt x="339" y="2437"/>
                    <a:pt x="339" y="2437"/>
                  </a:cubicBezTo>
                  <a:cubicBezTo>
                    <a:pt x="254" y="2437"/>
                    <a:pt x="212" y="2418"/>
                    <a:pt x="169" y="2331"/>
                  </a:cubicBezTo>
                  <a:cubicBezTo>
                    <a:pt x="113" y="1996"/>
                    <a:pt x="10" y="795"/>
                    <a:pt x="0" y="424"/>
                  </a:cubicBezTo>
                  <a:cubicBezTo>
                    <a:pt x="0" y="297"/>
                    <a:pt x="42" y="191"/>
                    <a:pt x="106" y="106"/>
                  </a:cubicBezTo>
                  <a:cubicBezTo>
                    <a:pt x="169" y="42"/>
                    <a:pt x="254" y="0"/>
                    <a:pt x="360" y="0"/>
                  </a:cubicBezTo>
                </a:path>
              </a:pathLst>
            </a:custGeom>
            <a:solidFill>
              <a:srgbClr val="000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 sz="1000">
                <a:cs typeface="Arial" pitchFamily="34" charset="0"/>
              </a:endParaRPr>
            </a:p>
          </p:txBody>
        </p:sp>
        <p:pic>
          <p:nvPicPr>
            <p:cNvPr id="271" name="Picture 20"/>
            <p:cNvPicPr>
              <a:picLocks noChangeAspect="1" noChangeArrowheads="1"/>
            </p:cNvPicPr>
            <p:nvPr/>
          </p:nvPicPr>
          <p:blipFill>
            <a:blip r:embed="rId4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-3531" y="944"/>
              <a:ext cx="1298" cy="13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11176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2" name="Oval 21"/>
            <p:cNvSpPr>
              <a:spLocks noChangeAspect="1" noChangeArrowheads="1"/>
            </p:cNvSpPr>
            <p:nvPr/>
          </p:nvSpPr>
          <p:spPr bwMode="auto">
            <a:xfrm>
              <a:off x="-2817" y="2385"/>
              <a:ext cx="190" cy="190"/>
            </a:xfrm>
            <a:prstGeom prst="ellipse">
              <a:avLst/>
            </a:prstGeom>
            <a:solidFill>
              <a:schemeClr val="tx1"/>
            </a:solidFill>
            <a:ln w="11176">
              <a:solidFill>
                <a:srgbClr val="161316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endParaRPr lang="ru-RU" sz="1000">
                <a:cs typeface="Arial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0299412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24" name="Object 323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9143" name="think-cell Slide" r:id="rId7" imgW="306" imgH="306" progId="TCLayout.ActiveDocument.1">
                  <p:embed/>
                </p:oleObj>
              </mc:Choice>
              <mc:Fallback>
                <p:oleObj name="think-cell Slide" r:id="rId7" imgW="306" imgH="30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50000" y="230188"/>
            <a:ext cx="7162150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А. В Москве нагрузка на </a:t>
            </a:r>
            <a:r>
              <a:rPr lang="ru-RU" dirty="0" err="1"/>
              <a:t>КТ</a:t>
            </a:r>
            <a:r>
              <a:rPr lang="ru-RU" dirty="0"/>
              <a:t> распределяется неравномерно, много амбулаторных</a:t>
            </a:r>
            <a:r>
              <a:rPr lang="en-US" dirty="0"/>
              <a:t> </a:t>
            </a:r>
            <a:r>
              <a:rPr lang="ru-RU" dirty="0"/>
              <a:t>учреждений с низкой загрузкой </a:t>
            </a:r>
            <a:r>
              <a:rPr lang="ru-RU" dirty="0" err="1"/>
              <a:t>КТ</a:t>
            </a:r>
            <a:r>
              <a:rPr lang="ru-RU" dirty="0"/>
              <a:t> </a:t>
            </a:r>
          </a:p>
        </p:txBody>
      </p:sp>
      <p:sp>
        <p:nvSpPr>
          <p:cNvPr id="6" name="TextBox 5"/>
          <p:cNvSpPr txBox="1">
            <a:spLocks/>
          </p:cNvSpPr>
          <p:nvPr/>
        </p:nvSpPr>
        <p:spPr>
          <a:xfrm>
            <a:off x="119064" y="847618"/>
            <a:ext cx="5771994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</a:rPr>
              <a:t>Эффективность</a:t>
            </a:r>
            <a:r>
              <a:rPr lang="ru-RU" sz="1200" baseline="30000" dirty="0" smtClean="0">
                <a:solidFill>
                  <a:schemeClr val="accent1"/>
                </a:solidFill>
              </a:rPr>
              <a:t>1</a:t>
            </a:r>
            <a:r>
              <a:rPr lang="ru-RU" sz="1200" dirty="0" smtClean="0">
                <a:solidFill>
                  <a:schemeClr val="accent1"/>
                </a:solidFill>
              </a:rPr>
              <a:t> </a:t>
            </a:r>
            <a:r>
              <a:rPr lang="ru-RU" sz="1200" dirty="0">
                <a:solidFill>
                  <a:schemeClr val="accent1"/>
                </a:solidFill>
              </a:rPr>
              <a:t>использования </a:t>
            </a:r>
            <a:r>
              <a:rPr lang="ru-RU" sz="1200" dirty="0" err="1">
                <a:solidFill>
                  <a:schemeClr val="accent1"/>
                </a:solidFill>
              </a:rPr>
              <a:t>КТ</a:t>
            </a:r>
            <a:r>
              <a:rPr lang="ru-RU" sz="1200" dirty="0">
                <a:solidFill>
                  <a:schemeClr val="accent1"/>
                </a:solidFill>
              </a:rPr>
              <a:t> в амбулаторных </a:t>
            </a:r>
            <a:r>
              <a:rPr lang="ru-RU" sz="1200" dirty="0" smtClean="0">
                <a:solidFill>
                  <a:schemeClr val="accent1"/>
                </a:solidFill>
              </a:rPr>
              <a:t>учреждениях</a:t>
            </a:r>
            <a:br>
              <a:rPr lang="ru-RU" sz="1200" dirty="0" smtClean="0">
                <a:solidFill>
                  <a:schemeClr val="accent1"/>
                </a:solidFill>
              </a:rPr>
            </a:br>
            <a:r>
              <a:rPr lang="ru-RU" sz="1200" dirty="0" smtClean="0"/>
              <a:t>На 1 </a:t>
            </a:r>
            <a:r>
              <a:rPr lang="ru-RU" sz="1200" dirty="0"/>
              <a:t>работающий аппарат </a:t>
            </a:r>
            <a:endParaRPr lang="en-US" sz="1200" dirty="0"/>
          </a:p>
        </p:txBody>
      </p:sp>
      <p:sp>
        <p:nvSpPr>
          <p:cNvPr id="339" name="Rectangle 338"/>
          <p:cNvSpPr>
            <a:spLocks/>
          </p:cNvSpPr>
          <p:nvPr/>
        </p:nvSpPr>
        <p:spPr>
          <a:xfrm>
            <a:off x="119062" y="1249778"/>
            <a:ext cx="5771995" cy="4817647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 dirty="0" err="1">
              <a:solidFill>
                <a:schemeClr val="tx1"/>
              </a:solidFill>
            </a:endParaRPr>
          </a:p>
        </p:txBody>
      </p:sp>
      <p:grpSp>
        <p:nvGrpSpPr>
          <p:cNvPr id="10" name="Group 9"/>
          <p:cNvGrpSpPr/>
          <p:nvPr/>
        </p:nvGrpSpPr>
        <p:grpSpPr>
          <a:xfrm>
            <a:off x="6750393" y="814963"/>
            <a:ext cx="2091983" cy="212366"/>
            <a:chOff x="7302733" y="711954"/>
            <a:chExt cx="2091983" cy="212366"/>
          </a:xfrm>
        </p:grpSpPr>
        <p:sp>
          <p:nvSpPr>
            <p:cNvPr id="327" name="StickerRectangle"/>
            <p:cNvSpPr>
              <a:spLocks noChangeArrowheads="1"/>
            </p:cNvSpPr>
            <p:nvPr/>
          </p:nvSpPr>
          <p:spPr bwMode="gray">
            <a:xfrm>
              <a:off x="7302733" y="711954"/>
              <a:ext cx="2091983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err="1" smtClean="0">
                  <a:solidFill>
                    <a:srgbClr val="808080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КТ-АМБУЛАТОРНОЕ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 </a:t>
              </a:r>
              <a:r>
                <a:rPr lang="en-US" sz="1200" dirty="0" err="1" smtClean="0">
                  <a:solidFill>
                    <a:srgbClr val="808080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ЗВЕНО</a:t>
              </a:r>
              <a:endParaRPr lang="en-US" sz="1200" dirty="0">
                <a:solidFill>
                  <a:srgbClr val="808080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cxnSp>
          <p:nvCxnSpPr>
            <p:cNvPr id="328" name="AutoShape 31"/>
            <p:cNvCxnSpPr>
              <a:cxnSpLocks noChangeShapeType="1"/>
              <a:stCxn id="327" idx="2"/>
              <a:endCxn id="327" idx="4"/>
            </p:cNvCxnSpPr>
            <p:nvPr/>
          </p:nvCxnSpPr>
          <p:spPr bwMode="gray">
            <a:xfrm>
              <a:off x="7302733" y="711954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329" name="AutoShape 32"/>
            <p:cNvCxnSpPr>
              <a:cxnSpLocks noChangeShapeType="1"/>
              <a:stCxn id="327" idx="4"/>
              <a:endCxn id="327" idx="6"/>
            </p:cNvCxnSpPr>
            <p:nvPr/>
          </p:nvCxnSpPr>
          <p:spPr bwMode="gray">
            <a:xfrm>
              <a:off x="7302733" y="924320"/>
              <a:ext cx="2091983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grpSp>
        <p:nvGrpSpPr>
          <p:cNvPr id="11" name="Group 10"/>
          <p:cNvGrpSpPr/>
          <p:nvPr/>
        </p:nvGrpSpPr>
        <p:grpSpPr>
          <a:xfrm>
            <a:off x="7051420" y="1038074"/>
            <a:ext cx="1764472" cy="1293485"/>
            <a:chOff x="7051420" y="1038074"/>
            <a:chExt cx="1764472" cy="1293485"/>
          </a:xfrm>
        </p:grpSpPr>
        <p:grpSp>
          <p:nvGrpSpPr>
            <p:cNvPr id="31" name="Group 30"/>
            <p:cNvGrpSpPr/>
            <p:nvPr/>
          </p:nvGrpSpPr>
          <p:grpSpPr>
            <a:xfrm>
              <a:off x="7051420" y="1038074"/>
              <a:ext cx="1764472" cy="338554"/>
              <a:chOff x="7445702" y="971149"/>
              <a:chExt cx="1764472" cy="338554"/>
            </a:xfrm>
          </p:grpSpPr>
          <p:sp>
            <p:nvSpPr>
              <p:cNvPr id="334" name="Oval 333"/>
              <p:cNvSpPr>
                <a:spLocks/>
              </p:cNvSpPr>
              <p:nvPr/>
            </p:nvSpPr>
            <p:spPr>
              <a:xfrm>
                <a:off x="7445702" y="971149"/>
                <a:ext cx="252000" cy="252000"/>
              </a:xfrm>
              <a:prstGeom prst="ellipse">
                <a:avLst/>
              </a:prstGeom>
              <a:solidFill>
                <a:schemeClr val="accent4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lt1"/>
                  </a:buClr>
                </a:pPr>
                <a:r>
                  <a:rPr lang="ru-RU" sz="1100" b="1" dirty="0" smtClean="0"/>
                  <a:t>ХХ</a:t>
                </a:r>
                <a:endParaRPr lang="en-US" sz="1100" b="1" dirty="0" smtClean="0"/>
              </a:p>
            </p:txBody>
          </p:sp>
          <p:sp>
            <p:nvSpPr>
              <p:cNvPr id="20" name="TextBox 19"/>
              <p:cNvSpPr txBox="1"/>
              <p:nvPr/>
            </p:nvSpPr>
            <p:spPr>
              <a:xfrm>
                <a:off x="7751441" y="971149"/>
                <a:ext cx="1458733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lang="en-US" baseline="0" noProof="0" dirty="0" smtClean="0">
                    <a:latin typeface="+mn-lt"/>
                    <a:sym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 lang="en-US" baseline="0" noProof="0" dirty="0" smtClean="0">
                    <a:latin typeface="+mn-lt"/>
                    <a:sym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noProof="0" dirty="0" smtClean="0">
                    <a:latin typeface="+mn-lt"/>
                    <a:sym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lang="en-US" baseline="0" noProof="0" dirty="0" smtClean="0">
                    <a:latin typeface="+mn-lt"/>
                    <a:sym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de-DE" baseline="0" noProof="0" dirty="0">
                    <a:latin typeface="+mn-lt"/>
                    <a:sym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1100" dirty="0" err="1" smtClean="0">
                    <a:cs typeface="Arial" panose="020B0604020202020204" pitchFamily="34" charset="0"/>
                  </a:rPr>
                  <a:t>ГП</a:t>
                </a:r>
                <a:r>
                  <a:rPr lang="ru-RU" sz="1100" dirty="0" smtClean="0">
                    <a:cs typeface="Arial" panose="020B0604020202020204" pitchFamily="34" charset="0"/>
                  </a:rPr>
                  <a:t> с эффективностью</a:t>
                </a:r>
                <a:r>
                  <a:rPr lang="ru-RU" sz="1100" dirty="0">
                    <a:cs typeface="Arial" panose="020B0604020202020204" pitchFamily="34" charset="0"/>
                  </a:rPr>
                  <a:t/>
                </a:r>
                <a:br>
                  <a:rPr lang="ru-RU" sz="1100" dirty="0">
                    <a:cs typeface="Arial" panose="020B0604020202020204" pitchFamily="34" charset="0"/>
                  </a:rPr>
                </a:br>
                <a:r>
                  <a:rPr lang="ru-RU" sz="1100" dirty="0" smtClean="0">
                    <a:cs typeface="Arial" panose="020B0604020202020204" pitchFamily="34" charset="0"/>
                  </a:rPr>
                  <a:t>выше 100%</a:t>
                </a:r>
                <a:endParaRPr lang="en-US" sz="11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9" name="Group 28"/>
            <p:cNvGrpSpPr/>
            <p:nvPr/>
          </p:nvGrpSpPr>
          <p:grpSpPr>
            <a:xfrm>
              <a:off x="7051420" y="1414087"/>
              <a:ext cx="1272350" cy="252000"/>
              <a:chOff x="7445702" y="1214915"/>
              <a:chExt cx="1272350" cy="252000"/>
            </a:xfrm>
          </p:grpSpPr>
          <p:sp>
            <p:nvSpPr>
              <p:cNvPr id="333" name="Oval 332"/>
              <p:cNvSpPr>
                <a:spLocks/>
              </p:cNvSpPr>
              <p:nvPr/>
            </p:nvSpPr>
            <p:spPr>
              <a:xfrm>
                <a:off x="7445702" y="1214915"/>
                <a:ext cx="252000" cy="252000"/>
              </a:xfrm>
              <a:prstGeom prst="ellipse">
                <a:avLst/>
              </a:prstGeom>
              <a:solidFill>
                <a:srgbClr val="FFC00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lt1"/>
                  </a:buClr>
                </a:pPr>
                <a:r>
                  <a:rPr lang="ru-RU" sz="1100" b="1" dirty="0" smtClean="0"/>
                  <a:t>ХХ</a:t>
                </a:r>
                <a:endParaRPr lang="en-US" sz="1100" b="1" dirty="0" smtClean="0"/>
              </a:p>
            </p:txBody>
          </p:sp>
          <p:sp>
            <p:nvSpPr>
              <p:cNvPr id="22" name="TextBox 21"/>
              <p:cNvSpPr txBox="1"/>
              <p:nvPr/>
            </p:nvSpPr>
            <p:spPr>
              <a:xfrm>
                <a:off x="7751441" y="1256277"/>
                <a:ext cx="966611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lang="en-US" baseline="0" noProof="0" dirty="0" smtClean="0">
                    <a:latin typeface="+mn-lt"/>
                    <a:sym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 lang="en-US" baseline="0" noProof="0" dirty="0" smtClean="0">
                    <a:latin typeface="+mn-lt"/>
                    <a:sym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noProof="0" dirty="0" smtClean="0">
                    <a:latin typeface="+mn-lt"/>
                    <a:sym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lang="en-US" baseline="0" noProof="0" dirty="0" smtClean="0">
                    <a:latin typeface="+mn-lt"/>
                    <a:sym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de-DE" baseline="0" noProof="0" dirty="0">
                    <a:latin typeface="+mn-lt"/>
                    <a:sym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1100" dirty="0" smtClean="0">
                    <a:cs typeface="Arial" panose="020B0604020202020204" pitchFamily="34" charset="0"/>
                  </a:rPr>
                  <a:t>От 60 до 100%</a:t>
                </a:r>
                <a:endParaRPr lang="en-US" sz="11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28" name="Group 27"/>
            <p:cNvGrpSpPr/>
            <p:nvPr/>
          </p:nvGrpSpPr>
          <p:grpSpPr>
            <a:xfrm>
              <a:off x="7051420" y="1703546"/>
              <a:ext cx="980604" cy="252000"/>
              <a:chOff x="7445702" y="1494730"/>
              <a:chExt cx="980604" cy="252000"/>
            </a:xfrm>
          </p:grpSpPr>
          <p:sp>
            <p:nvSpPr>
              <p:cNvPr id="332" name="Oval 331"/>
              <p:cNvSpPr>
                <a:spLocks/>
              </p:cNvSpPr>
              <p:nvPr/>
            </p:nvSpPr>
            <p:spPr>
              <a:xfrm>
                <a:off x="7445702" y="1494730"/>
                <a:ext cx="252000" cy="252000"/>
              </a:xfrm>
              <a:prstGeom prst="ellipse">
                <a:avLst/>
              </a:prstGeom>
              <a:solidFill>
                <a:srgbClr val="92D050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lt1"/>
                  </a:buClr>
                </a:pPr>
                <a:r>
                  <a:rPr lang="ru-RU" sz="1100" b="1" dirty="0" smtClean="0"/>
                  <a:t>ХХ</a:t>
                </a:r>
                <a:endParaRPr lang="en-US" sz="1100" b="1" dirty="0" smtClean="0"/>
              </a:p>
            </p:txBody>
          </p:sp>
          <p:sp>
            <p:nvSpPr>
              <p:cNvPr id="24" name="TextBox 23"/>
              <p:cNvSpPr txBox="1"/>
              <p:nvPr/>
            </p:nvSpPr>
            <p:spPr>
              <a:xfrm>
                <a:off x="7751441" y="1536092"/>
                <a:ext cx="674865" cy="169277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lang="en-US" baseline="0" noProof="0" dirty="0" smtClean="0">
                    <a:latin typeface="+mn-lt"/>
                    <a:sym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 lang="en-US" baseline="0" noProof="0" dirty="0" smtClean="0">
                    <a:latin typeface="+mn-lt"/>
                    <a:sym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noProof="0" dirty="0" smtClean="0">
                    <a:latin typeface="+mn-lt"/>
                    <a:sym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lang="en-US" baseline="0" noProof="0" dirty="0" smtClean="0">
                    <a:latin typeface="+mn-lt"/>
                    <a:sym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de-DE" baseline="0" noProof="0" dirty="0">
                    <a:latin typeface="+mn-lt"/>
                    <a:sym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1100" dirty="0" smtClean="0">
                    <a:cs typeface="Arial" panose="020B0604020202020204" pitchFamily="34" charset="0"/>
                  </a:rPr>
                  <a:t>Ниже 60%</a:t>
                </a:r>
                <a:endParaRPr lang="en-US" sz="1100" dirty="0"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0" name="Group 29"/>
            <p:cNvGrpSpPr/>
            <p:nvPr/>
          </p:nvGrpSpPr>
          <p:grpSpPr>
            <a:xfrm>
              <a:off x="7051420" y="1993005"/>
              <a:ext cx="1719588" cy="338554"/>
              <a:chOff x="7445702" y="1738496"/>
              <a:chExt cx="1719588" cy="338554"/>
            </a:xfrm>
          </p:grpSpPr>
          <p:sp>
            <p:nvSpPr>
              <p:cNvPr id="179" name="Oval 178"/>
              <p:cNvSpPr>
                <a:spLocks/>
              </p:cNvSpPr>
              <p:nvPr/>
            </p:nvSpPr>
            <p:spPr>
              <a:xfrm>
                <a:off x="7445702" y="1738496"/>
                <a:ext cx="252000" cy="252000"/>
              </a:xfrm>
              <a:prstGeom prst="ellipse">
                <a:avLst/>
              </a:prstGeom>
              <a:solidFill>
                <a:schemeClr val="accent3"/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none" lIns="36000" tIns="36000" rIns="36000" bIns="36000" rtlCol="0" anchor="ctr">
                <a:noAutofit/>
              </a:bodyPr>
              <a:lstStyle/>
              <a:p>
                <a:pPr algn="ctr">
                  <a:buClr>
                    <a:schemeClr val="lt1"/>
                  </a:buClr>
                </a:pPr>
                <a:r>
                  <a:rPr lang="ru-RU" sz="1100" b="1" dirty="0" smtClean="0"/>
                  <a:t>ХХ</a:t>
                </a:r>
                <a:endParaRPr lang="en-US" sz="1100" b="1" dirty="0" smtClean="0"/>
              </a:p>
            </p:txBody>
          </p:sp>
          <p:sp>
            <p:nvSpPr>
              <p:cNvPr id="26" name="TextBox 25"/>
              <p:cNvSpPr txBox="1"/>
              <p:nvPr/>
            </p:nvSpPr>
            <p:spPr>
              <a:xfrm>
                <a:off x="7751441" y="1738496"/>
                <a:ext cx="1413849" cy="338554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  <a:effectLst/>
              <a:extLst>
                <a:ext uri="{909E8E84-426E-40dd-AFC4-6F175D3DCCD1}">
                  <a14:hiddenFill xmlns:a14="http://schemas.microsoft.com/office/drawing/2010/main" xmlns="">
                    <a:solidFill>
                      <a:schemeClr val="accent1"/>
                    </a:solidFill>
                  </a14:hiddenFill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none" lIns="0" tIns="0" rIns="0" bIns="0" numCol="1" anchor="t" anchorCtr="0" compatLnSpc="1">
                <a:prstTxWarp prst="textNoShape">
                  <a:avLst/>
                </a:prstTxWarp>
                <a:spAutoFit/>
              </a:bodyPr>
              <a:lstStyle>
                <a:lvl1pPr marL="0" lvl="0" indent="0" defTabSz="895350" eaLnBrk="1" hangingPunct="1">
                  <a:buClr>
                    <a:schemeClr val="tx2"/>
                  </a:buClr>
                  <a:defRPr lang="en-US" baseline="0" noProof="0" dirty="0" smtClean="0">
                    <a:latin typeface="+mn-lt"/>
                    <a:sym typeface="+mn-lt"/>
                  </a:defRPr>
                </a:lvl1pPr>
                <a:lvl2pPr marL="193675" lvl="1" indent="-192088" defTabSz="895350" eaLnBrk="1" hangingPunct="1">
                  <a:buClr>
                    <a:schemeClr val="tx2"/>
                  </a:buClr>
                  <a:buSzPct val="100000"/>
                  <a:buFont typeface="Wingdings" panose="05000000000000000000" pitchFamily="2" charset="2"/>
                  <a:buChar char="§"/>
                  <a:defRPr lang="en-US" baseline="0" noProof="0" dirty="0" smtClean="0">
                    <a:latin typeface="+mn-lt"/>
                    <a:sym typeface="+mn-lt"/>
                  </a:defRPr>
                </a:lvl2pPr>
                <a:lvl3pPr marL="457200" lvl="2" indent="-261938" defTabSz="895350" eaLnBrk="1" hangingPunct="1">
                  <a:buClr>
                    <a:schemeClr val="tx2"/>
                  </a:buClr>
                  <a:buSzPct val="120000"/>
                  <a:buFont typeface="Arial" charset="0"/>
                  <a:buChar char="–"/>
                  <a:defRPr lang="en-US" baseline="0" noProof="0" dirty="0" smtClean="0">
                    <a:latin typeface="+mn-lt"/>
                    <a:sym typeface="+mn-lt"/>
                  </a:defRPr>
                </a:lvl3pPr>
                <a:lvl4pPr marL="614363" lvl="3" indent="-155575" defTabSz="895350" eaLnBrk="1" hangingPunct="1">
                  <a:buClr>
                    <a:schemeClr val="tx2"/>
                  </a:buClr>
                  <a:buSzPct val="120000"/>
                  <a:buFont typeface="Arial" pitchFamily="34" charset="0"/>
                  <a:buChar char="▫"/>
                  <a:defRPr lang="en-US" baseline="0" noProof="0" dirty="0" smtClean="0">
                    <a:latin typeface="+mn-lt"/>
                    <a:sym typeface="+mn-lt"/>
                  </a:defRPr>
                </a:lvl4pPr>
                <a:lvl5pPr marL="749808" lvl="4" indent="-130175" defTabSz="895350" eaLnBrk="1" hangingPunct="1">
                  <a:buClr>
                    <a:schemeClr val="tx2"/>
                  </a:buClr>
                  <a:buSzPct val="89000"/>
                  <a:buFont typeface="Arial" charset="0"/>
                  <a:buChar char="-"/>
                  <a:defRPr lang="de-DE" baseline="0" noProof="0" dirty="0">
                    <a:latin typeface="+mn-lt"/>
                    <a:sym typeface="+mn-lt"/>
                  </a:defRPr>
                </a:lvl5pPr>
                <a:lvl6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6pPr>
                <a:lvl7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7pPr>
                <a:lvl8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8pPr>
                <a:lvl9pPr marL="749808" indent="-130175" defTabSz="895350" fontAlgn="base">
                  <a:spcBef>
                    <a:spcPct val="0"/>
                  </a:spcBef>
                  <a:spcAft>
                    <a:spcPct val="0"/>
                  </a:spcAft>
                  <a:buClr>
                    <a:schemeClr val="tx2"/>
                  </a:buClr>
                  <a:buSzPct val="89000"/>
                  <a:buFont typeface="Arial" charset="0"/>
                  <a:buChar char="-"/>
                  <a:defRPr baseline="0">
                    <a:latin typeface="+mn-lt"/>
                  </a:defRPr>
                </a:lvl9pPr>
              </a:lstStyle>
              <a:p>
                <a:r>
                  <a:rPr lang="ru-RU" sz="1100" dirty="0" smtClean="0">
                    <a:cs typeface="Arial" panose="020B0604020202020204" pitchFamily="34" charset="0"/>
                  </a:rPr>
                  <a:t>Отсутствую</a:t>
                </a:r>
                <a:r>
                  <a:rPr lang="ru-RU" sz="1100" dirty="0">
                    <a:cs typeface="Arial" panose="020B0604020202020204" pitchFamily="34" charset="0"/>
                  </a:rPr>
                  <a:t>т</a:t>
                </a:r>
                <a:r>
                  <a:rPr lang="en-US" sz="1100" dirty="0" smtClean="0">
                    <a:cs typeface="Arial" panose="020B0604020202020204" pitchFamily="34" charset="0"/>
                  </a:rPr>
                  <a:t> </a:t>
                </a:r>
                <a:r>
                  <a:rPr lang="ru-RU" sz="1100" dirty="0" smtClean="0"/>
                  <a:t>рабочие</a:t>
                </a:r>
                <a:r>
                  <a:rPr lang="ru-RU" sz="1100" dirty="0">
                    <a:cs typeface="Arial" panose="020B0604020202020204" pitchFamily="34" charset="0"/>
                  </a:rPr>
                  <a:t/>
                </a:r>
                <a:br>
                  <a:rPr lang="ru-RU" sz="1100" dirty="0">
                    <a:cs typeface="Arial" panose="020B0604020202020204" pitchFamily="34" charset="0"/>
                  </a:rPr>
                </a:br>
                <a:r>
                  <a:rPr lang="ru-RU" sz="1100" dirty="0" err="1" smtClean="0">
                    <a:cs typeface="Arial" panose="020B0604020202020204" pitchFamily="34" charset="0"/>
                  </a:rPr>
                  <a:t>КТ</a:t>
                </a:r>
                <a:r>
                  <a:rPr lang="ru-RU" sz="1100" dirty="0" smtClean="0">
                    <a:cs typeface="Arial" panose="020B0604020202020204" pitchFamily="34" charset="0"/>
                  </a:rPr>
                  <a:t>-аппараты</a:t>
                </a:r>
                <a:endParaRPr lang="en-US" sz="1100" dirty="0"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325" name="4. Footnote"/>
          <p:cNvSpPr txBox="1">
            <a:spLocks noChangeArrowheads="1"/>
          </p:cNvSpPr>
          <p:nvPr/>
        </p:nvSpPr>
        <p:spPr bwMode="gray">
          <a:xfrm>
            <a:off x="119063" y="6129249"/>
            <a:ext cx="8405812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solidFill>
                  <a:schemeClr val="accent6"/>
                </a:solidFill>
                <a:latin typeface="+mn-lt"/>
                <a:cs typeface="Arial" panose="020B0604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de-DE" dirty="0">
                <a:sym typeface="+mn-lt"/>
              </a:rPr>
              <a:t>1 </a:t>
            </a:r>
            <a:r>
              <a:rPr lang="ru-RU" dirty="0"/>
              <a:t>Исходя из нормативов </a:t>
            </a:r>
            <a:r>
              <a:rPr lang="ru-RU" dirty="0" err="1"/>
              <a:t>РосЗдравНадзора</a:t>
            </a:r>
            <a:r>
              <a:rPr lang="ru-RU" dirty="0"/>
              <a:t>, по данным за 4 квартал 2015 года</a:t>
            </a:r>
          </a:p>
          <a:p>
            <a:r>
              <a:rPr lang="ru-RU" dirty="0"/>
              <a:t>2 В </a:t>
            </a:r>
            <a:r>
              <a:rPr lang="ru-RU" dirty="0" err="1"/>
              <a:t>ЦАО</a:t>
            </a:r>
            <a:r>
              <a:rPr lang="ru-RU" dirty="0"/>
              <a:t> и </a:t>
            </a:r>
            <a:r>
              <a:rPr lang="ru-RU" dirty="0" err="1"/>
              <a:t>ЮВАО</a:t>
            </a:r>
            <a:r>
              <a:rPr lang="ru-RU" dirty="0"/>
              <a:t> все </a:t>
            </a:r>
            <a:r>
              <a:rPr lang="ru-RU" dirty="0" err="1"/>
              <a:t>КТ</a:t>
            </a:r>
            <a:r>
              <a:rPr lang="ru-RU" dirty="0"/>
              <a:t> загружены менее чем на 60%</a:t>
            </a:r>
          </a:p>
        </p:txBody>
      </p:sp>
      <p:sp>
        <p:nvSpPr>
          <p:cNvPr id="336" name="DirArrow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 rot="5400000">
            <a:off x="5297608" y="4154661"/>
            <a:ext cx="1543050" cy="17145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/>
          <a:p>
            <a:pPr defTabSz="895350">
              <a:buClr>
                <a:schemeClr val="tx2"/>
              </a:buClr>
            </a:pPr>
            <a:endParaRPr lang="en-US" sz="1200">
              <a:solidFill>
                <a:schemeClr val="accent1"/>
              </a:solidFill>
              <a:latin typeface="+mn-lt"/>
              <a:sym typeface="+mn-lt"/>
            </a:endParaRPr>
          </a:p>
        </p:txBody>
      </p:sp>
      <p:sp>
        <p:nvSpPr>
          <p:cNvPr id="323" name="McK 1. On-page tracker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19064" y="2693"/>
            <a:ext cx="494853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69875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АРШРУТИЗАЦИЯ ПАЦИЕНТОВ НА ИССЛЕДОВАНИЯ</a:t>
            </a:r>
          </a:p>
        </p:txBody>
      </p:sp>
      <p:sp>
        <p:nvSpPr>
          <p:cNvPr id="331" name="Oval 15"/>
          <p:cNvSpPr txBox="1"/>
          <p:nvPr>
            <p:custDataLst>
              <p:tags r:id="rId5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6247208" y="2598014"/>
            <a:ext cx="2568684" cy="3284745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  <a:cs typeface="+mn-cs"/>
              </a:rPr>
              <a:t>Предварительные   наблюдения</a:t>
            </a:r>
          </a:p>
          <a:p>
            <a:pPr lvl="1"/>
            <a:r>
              <a:rPr lang="ru-RU" sz="1200" dirty="0" smtClean="0">
                <a:cs typeface="+mn-cs"/>
              </a:rPr>
              <a:t>Количество </a:t>
            </a:r>
            <a:r>
              <a:rPr lang="ru-RU" sz="1200" dirty="0" err="1" smtClean="0">
                <a:cs typeface="+mn-cs"/>
              </a:rPr>
              <a:t>мед.учреждений</a:t>
            </a:r>
            <a:r>
              <a:rPr lang="ru-RU" sz="1200" dirty="0" smtClean="0">
                <a:cs typeface="+mn-cs"/>
              </a:rPr>
              <a:t> с </a:t>
            </a:r>
            <a:r>
              <a:rPr lang="ru-RU" sz="1200" dirty="0" err="1" smtClean="0">
                <a:cs typeface="+mn-cs"/>
              </a:rPr>
              <a:t>КТ</a:t>
            </a:r>
            <a:r>
              <a:rPr lang="ru-RU" sz="1200" dirty="0" smtClean="0">
                <a:cs typeface="+mn-cs"/>
              </a:rPr>
              <a:t>-аппаратами по округам Москвы варьируется, например</a:t>
            </a:r>
          </a:p>
          <a:p>
            <a:pPr lvl="2"/>
            <a:r>
              <a:rPr lang="ru-RU" sz="1200" dirty="0" smtClean="0">
                <a:cs typeface="+mn-cs"/>
              </a:rPr>
              <a:t>В </a:t>
            </a:r>
            <a:r>
              <a:rPr lang="ru-RU" sz="1200" dirty="0" err="1" smtClean="0">
                <a:cs typeface="+mn-cs"/>
              </a:rPr>
              <a:t>СЗАО</a:t>
            </a:r>
            <a:r>
              <a:rPr lang="ru-RU" sz="1200" dirty="0" smtClean="0">
                <a:cs typeface="+mn-cs"/>
              </a:rPr>
              <a:t> 1 работающий </a:t>
            </a:r>
            <a:r>
              <a:rPr lang="ru-RU" sz="1200" dirty="0" err="1" smtClean="0">
                <a:cs typeface="+mn-cs"/>
              </a:rPr>
              <a:t>КТ</a:t>
            </a:r>
            <a:endParaRPr lang="ru-RU" sz="1200" dirty="0" smtClean="0">
              <a:cs typeface="+mn-cs"/>
            </a:endParaRPr>
          </a:p>
          <a:p>
            <a:pPr lvl="2"/>
            <a:r>
              <a:rPr lang="ru-RU" sz="1200" dirty="0" smtClean="0">
                <a:cs typeface="+mn-cs"/>
              </a:rPr>
              <a:t>В </a:t>
            </a:r>
            <a:r>
              <a:rPr lang="ru-RU" sz="1200" dirty="0" err="1" smtClean="0">
                <a:cs typeface="+mn-cs"/>
              </a:rPr>
              <a:t>ЮВАО</a:t>
            </a:r>
            <a:r>
              <a:rPr lang="ru-RU" sz="1200" dirty="0" smtClean="0">
                <a:cs typeface="+mn-cs"/>
              </a:rPr>
              <a:t> 6 </a:t>
            </a:r>
            <a:r>
              <a:rPr lang="ru-RU" sz="1200" dirty="0" err="1" smtClean="0">
                <a:cs typeface="+mn-cs"/>
              </a:rPr>
              <a:t>КТ</a:t>
            </a:r>
            <a:endParaRPr lang="ru-RU" sz="1200" dirty="0" smtClean="0">
              <a:cs typeface="+mn-cs"/>
            </a:endParaRPr>
          </a:p>
          <a:p>
            <a:pPr lvl="1"/>
            <a:r>
              <a:rPr lang="ru-RU" sz="1200" dirty="0" smtClean="0">
                <a:cs typeface="+mn-cs"/>
              </a:rPr>
              <a:t>Загрузка </a:t>
            </a:r>
            <a:r>
              <a:rPr lang="ru-RU" sz="1200" dirty="0" err="1" smtClean="0">
                <a:cs typeface="+mn-cs"/>
              </a:rPr>
              <a:t>КТ</a:t>
            </a:r>
            <a:r>
              <a:rPr lang="ru-RU" sz="1200" dirty="0" smtClean="0">
                <a:cs typeface="+mn-cs"/>
              </a:rPr>
              <a:t> варьируется по округам, более 50% </a:t>
            </a:r>
            <a:r>
              <a:rPr lang="ru-RU" sz="1200" dirty="0" err="1" smtClean="0">
                <a:cs typeface="+mn-cs"/>
              </a:rPr>
              <a:t>КТ</a:t>
            </a:r>
            <a:r>
              <a:rPr lang="ru-RU" sz="1200" dirty="0" smtClean="0">
                <a:cs typeface="+mn-cs"/>
              </a:rPr>
              <a:t>-аппаратов недозагружено</a:t>
            </a:r>
            <a:r>
              <a:rPr lang="ru-RU" sz="1200" baseline="30000" dirty="0" smtClean="0">
                <a:cs typeface="+mn-cs"/>
              </a:rPr>
              <a:t>2</a:t>
            </a:r>
          </a:p>
          <a:p>
            <a:r>
              <a:rPr lang="ru-RU" sz="1200" dirty="0" smtClean="0">
                <a:solidFill>
                  <a:schemeClr val="accent1"/>
                </a:solidFill>
                <a:cs typeface="+mn-cs"/>
              </a:rPr>
              <a:t>Потенциальные решения</a:t>
            </a:r>
          </a:p>
          <a:p>
            <a:pPr lvl="1"/>
            <a:r>
              <a:rPr lang="ru-RU" sz="1200" dirty="0" smtClean="0">
                <a:cs typeface="+mn-cs"/>
              </a:rPr>
              <a:t>Приостановка закупки новых </a:t>
            </a:r>
            <a:r>
              <a:rPr lang="ru-RU" sz="1200" dirty="0" err="1" smtClean="0">
                <a:cs typeface="+mn-cs"/>
              </a:rPr>
              <a:t>МРТ</a:t>
            </a:r>
            <a:r>
              <a:rPr lang="ru-RU" sz="1200" dirty="0" smtClean="0">
                <a:cs typeface="+mn-cs"/>
              </a:rPr>
              <a:t>/</a:t>
            </a:r>
            <a:r>
              <a:rPr lang="ru-RU" sz="1200" dirty="0" err="1" smtClean="0">
                <a:cs typeface="+mn-cs"/>
              </a:rPr>
              <a:t>КТ</a:t>
            </a:r>
            <a:endParaRPr lang="ru-RU" sz="1200" dirty="0" smtClean="0">
              <a:cs typeface="+mn-cs"/>
            </a:endParaRPr>
          </a:p>
          <a:p>
            <a:pPr lvl="1"/>
            <a:r>
              <a:rPr lang="ru-RU" sz="1200" dirty="0" smtClean="0">
                <a:cs typeface="+mn-cs"/>
              </a:rPr>
              <a:t>Перераспределение МРТ/КТ между округами, из округов с наименьшим спросом в наибольшие</a:t>
            </a:r>
          </a:p>
        </p:txBody>
      </p:sp>
      <p:grpSp>
        <p:nvGrpSpPr>
          <p:cNvPr id="12" name="Group 11"/>
          <p:cNvGrpSpPr/>
          <p:nvPr/>
        </p:nvGrpSpPr>
        <p:grpSpPr>
          <a:xfrm>
            <a:off x="713582" y="1374076"/>
            <a:ext cx="4582955" cy="4569050"/>
            <a:chOff x="484643" y="1375838"/>
            <a:chExt cx="4582955" cy="4569050"/>
          </a:xfrm>
        </p:grpSpPr>
        <p:sp>
          <p:nvSpPr>
            <p:cNvPr id="190" name="Freeform 189"/>
            <p:cNvSpPr/>
            <p:nvPr/>
          </p:nvSpPr>
          <p:spPr>
            <a:xfrm>
              <a:off x="3945479" y="2829724"/>
              <a:ext cx="323090" cy="243652"/>
            </a:xfrm>
            <a:custGeom>
              <a:avLst/>
              <a:gdLst>
                <a:gd name="connsiteX0" fmla="*/ 300038 w 311944"/>
                <a:gd name="connsiteY0" fmla="*/ 16669 h 264319"/>
                <a:gd name="connsiteX1" fmla="*/ 311944 w 311944"/>
                <a:gd name="connsiteY1" fmla="*/ 176213 h 264319"/>
                <a:gd name="connsiteX2" fmla="*/ 269082 w 311944"/>
                <a:gd name="connsiteY2" fmla="*/ 228600 h 264319"/>
                <a:gd name="connsiteX3" fmla="*/ 69057 w 311944"/>
                <a:gd name="connsiteY3" fmla="*/ 264319 h 264319"/>
                <a:gd name="connsiteX4" fmla="*/ 0 w 311944"/>
                <a:gd name="connsiteY4" fmla="*/ 178594 h 264319"/>
                <a:gd name="connsiteX5" fmla="*/ 50007 w 311944"/>
                <a:gd name="connsiteY5" fmla="*/ 19050 h 264319"/>
                <a:gd name="connsiteX6" fmla="*/ 135732 w 311944"/>
                <a:gd name="connsiteY6" fmla="*/ 0 h 264319"/>
                <a:gd name="connsiteX7" fmla="*/ 180975 w 311944"/>
                <a:gd name="connsiteY7" fmla="*/ 9525 h 264319"/>
                <a:gd name="connsiteX8" fmla="*/ 197644 w 311944"/>
                <a:gd name="connsiteY8" fmla="*/ 16669 h 264319"/>
                <a:gd name="connsiteX9" fmla="*/ 300038 w 311944"/>
                <a:gd name="connsiteY9" fmla="*/ 16669 h 26431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311944" h="264319">
                  <a:moveTo>
                    <a:pt x="300038" y="16669"/>
                  </a:moveTo>
                  <a:lnTo>
                    <a:pt x="311944" y="176213"/>
                  </a:lnTo>
                  <a:lnTo>
                    <a:pt x="269082" y="228600"/>
                  </a:lnTo>
                  <a:lnTo>
                    <a:pt x="69057" y="264319"/>
                  </a:lnTo>
                  <a:lnTo>
                    <a:pt x="0" y="178594"/>
                  </a:lnTo>
                  <a:lnTo>
                    <a:pt x="50007" y="19050"/>
                  </a:lnTo>
                  <a:lnTo>
                    <a:pt x="135732" y="0"/>
                  </a:lnTo>
                  <a:cubicBezTo>
                    <a:pt x="154202" y="2842"/>
                    <a:pt x="165173" y="2753"/>
                    <a:pt x="180975" y="9525"/>
                  </a:cubicBezTo>
                  <a:lnTo>
                    <a:pt x="197644" y="16669"/>
                  </a:lnTo>
                  <a:lnTo>
                    <a:pt x="300038" y="16669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 err="1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192" name="Rectangle 288"/>
            <p:cNvSpPr>
              <a:spLocks/>
            </p:cNvSpPr>
            <p:nvPr/>
          </p:nvSpPr>
          <p:spPr>
            <a:xfrm>
              <a:off x="3694522" y="1502176"/>
              <a:ext cx="1093460" cy="829906"/>
            </a:xfrm>
            <a:custGeom>
              <a:avLst/>
              <a:gdLst/>
              <a:ahLst/>
              <a:cxnLst/>
              <a:rect l="l" t="t" r="r" b="b"/>
              <a:pathLst>
                <a:path w="1259888" h="1074392">
                  <a:moveTo>
                    <a:pt x="0" y="0"/>
                  </a:moveTo>
                  <a:lnTo>
                    <a:pt x="1259888" y="0"/>
                  </a:lnTo>
                  <a:lnTo>
                    <a:pt x="1259888" y="1074392"/>
                  </a:lnTo>
                  <a:lnTo>
                    <a:pt x="308070" y="1074392"/>
                  </a:lnTo>
                  <a:lnTo>
                    <a:pt x="0" y="803460"/>
                  </a:lnTo>
                  <a:close/>
                </a:path>
              </a:pathLst>
            </a:custGeom>
            <a:solidFill>
              <a:schemeClr val="bg1"/>
            </a:solidFill>
            <a:ln w="9525">
              <a:solidFill>
                <a:schemeClr val="accent6">
                  <a:lumMod val="40000"/>
                  <a:lumOff val="60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3" name="Freeform 192"/>
            <p:cNvSpPr/>
            <p:nvPr/>
          </p:nvSpPr>
          <p:spPr>
            <a:xfrm>
              <a:off x="3814786" y="1677932"/>
              <a:ext cx="892610" cy="621917"/>
            </a:xfrm>
            <a:custGeom>
              <a:avLst/>
              <a:gdLst>
                <a:gd name="connsiteX0" fmla="*/ 709612 w 3509962"/>
                <a:gd name="connsiteY0" fmla="*/ 342900 h 3128962"/>
                <a:gd name="connsiteX1" fmla="*/ 809625 w 3509962"/>
                <a:gd name="connsiteY1" fmla="*/ 319087 h 3128962"/>
                <a:gd name="connsiteX2" fmla="*/ 885825 w 3509962"/>
                <a:gd name="connsiteY2" fmla="*/ 328612 h 3128962"/>
                <a:gd name="connsiteX3" fmla="*/ 1009650 w 3509962"/>
                <a:gd name="connsiteY3" fmla="*/ 290512 h 3128962"/>
                <a:gd name="connsiteX4" fmla="*/ 1138237 w 3509962"/>
                <a:gd name="connsiteY4" fmla="*/ 280987 h 3128962"/>
                <a:gd name="connsiteX5" fmla="*/ 1295400 w 3509962"/>
                <a:gd name="connsiteY5" fmla="*/ 142875 h 3128962"/>
                <a:gd name="connsiteX6" fmla="*/ 1295400 w 3509962"/>
                <a:gd name="connsiteY6" fmla="*/ 85725 h 3128962"/>
                <a:gd name="connsiteX7" fmla="*/ 1319212 w 3509962"/>
                <a:gd name="connsiteY7" fmla="*/ 52387 h 3128962"/>
                <a:gd name="connsiteX8" fmla="*/ 1352550 w 3509962"/>
                <a:gd name="connsiteY8" fmla="*/ 71437 h 3128962"/>
                <a:gd name="connsiteX9" fmla="*/ 1409700 w 3509962"/>
                <a:gd name="connsiteY9" fmla="*/ 19050 h 3128962"/>
                <a:gd name="connsiteX10" fmla="*/ 1433512 w 3509962"/>
                <a:gd name="connsiteY10" fmla="*/ 0 h 3128962"/>
                <a:gd name="connsiteX11" fmla="*/ 1795462 w 3509962"/>
                <a:gd name="connsiteY11" fmla="*/ 252412 h 3128962"/>
                <a:gd name="connsiteX12" fmla="*/ 1847850 w 3509962"/>
                <a:gd name="connsiteY12" fmla="*/ 223837 h 3128962"/>
                <a:gd name="connsiteX13" fmla="*/ 1933575 w 3509962"/>
                <a:gd name="connsiteY13" fmla="*/ 233362 h 3128962"/>
                <a:gd name="connsiteX14" fmla="*/ 1938337 w 3509962"/>
                <a:gd name="connsiteY14" fmla="*/ 280987 h 3128962"/>
                <a:gd name="connsiteX15" fmla="*/ 1966912 w 3509962"/>
                <a:gd name="connsiteY15" fmla="*/ 347662 h 3128962"/>
                <a:gd name="connsiteX16" fmla="*/ 1966912 w 3509962"/>
                <a:gd name="connsiteY16" fmla="*/ 385762 h 3128962"/>
                <a:gd name="connsiteX17" fmla="*/ 3214687 w 3509962"/>
                <a:gd name="connsiteY17" fmla="*/ 1257300 h 3128962"/>
                <a:gd name="connsiteX18" fmla="*/ 3209925 w 3509962"/>
                <a:gd name="connsiteY18" fmla="*/ 1304925 h 3128962"/>
                <a:gd name="connsiteX19" fmla="*/ 3190875 w 3509962"/>
                <a:gd name="connsiteY19" fmla="*/ 1352550 h 3128962"/>
                <a:gd name="connsiteX20" fmla="*/ 3157537 w 3509962"/>
                <a:gd name="connsiteY20" fmla="*/ 1390650 h 3128962"/>
                <a:gd name="connsiteX21" fmla="*/ 3062287 w 3509962"/>
                <a:gd name="connsiteY21" fmla="*/ 1462087 h 3128962"/>
                <a:gd name="connsiteX22" fmla="*/ 3090862 w 3509962"/>
                <a:gd name="connsiteY22" fmla="*/ 1524000 h 3128962"/>
                <a:gd name="connsiteX23" fmla="*/ 3238500 w 3509962"/>
                <a:gd name="connsiteY23" fmla="*/ 1504950 h 3128962"/>
                <a:gd name="connsiteX24" fmla="*/ 3271837 w 3509962"/>
                <a:gd name="connsiteY24" fmla="*/ 1462087 h 3128962"/>
                <a:gd name="connsiteX25" fmla="*/ 3305175 w 3509962"/>
                <a:gd name="connsiteY25" fmla="*/ 1528762 h 3128962"/>
                <a:gd name="connsiteX26" fmla="*/ 3281362 w 3509962"/>
                <a:gd name="connsiteY26" fmla="*/ 1704975 h 3128962"/>
                <a:gd name="connsiteX27" fmla="*/ 3376612 w 3509962"/>
                <a:gd name="connsiteY27" fmla="*/ 1762125 h 3128962"/>
                <a:gd name="connsiteX28" fmla="*/ 3433762 w 3509962"/>
                <a:gd name="connsiteY28" fmla="*/ 1733550 h 3128962"/>
                <a:gd name="connsiteX29" fmla="*/ 3424237 w 3509962"/>
                <a:gd name="connsiteY29" fmla="*/ 1795462 h 3128962"/>
                <a:gd name="connsiteX30" fmla="*/ 3495675 w 3509962"/>
                <a:gd name="connsiteY30" fmla="*/ 1847850 h 3128962"/>
                <a:gd name="connsiteX31" fmla="*/ 3419475 w 3509962"/>
                <a:gd name="connsiteY31" fmla="*/ 2043112 h 3128962"/>
                <a:gd name="connsiteX32" fmla="*/ 3509962 w 3509962"/>
                <a:gd name="connsiteY32" fmla="*/ 2090737 h 3128962"/>
                <a:gd name="connsiteX33" fmla="*/ 3433762 w 3509962"/>
                <a:gd name="connsiteY33" fmla="*/ 2205037 h 3128962"/>
                <a:gd name="connsiteX34" fmla="*/ 3371850 w 3509962"/>
                <a:gd name="connsiteY34" fmla="*/ 2176462 h 3128962"/>
                <a:gd name="connsiteX35" fmla="*/ 3309937 w 3509962"/>
                <a:gd name="connsiteY35" fmla="*/ 2209800 h 3128962"/>
                <a:gd name="connsiteX36" fmla="*/ 3295650 w 3509962"/>
                <a:gd name="connsiteY36" fmla="*/ 2185987 h 3128962"/>
                <a:gd name="connsiteX37" fmla="*/ 3286125 w 3509962"/>
                <a:gd name="connsiteY37" fmla="*/ 2205037 h 3128962"/>
                <a:gd name="connsiteX38" fmla="*/ 3248025 w 3509962"/>
                <a:gd name="connsiteY38" fmla="*/ 2190750 h 3128962"/>
                <a:gd name="connsiteX39" fmla="*/ 3190875 w 3509962"/>
                <a:gd name="connsiteY39" fmla="*/ 2252662 h 3128962"/>
                <a:gd name="connsiteX40" fmla="*/ 3186112 w 3509962"/>
                <a:gd name="connsiteY40" fmla="*/ 2324100 h 3128962"/>
                <a:gd name="connsiteX41" fmla="*/ 3200400 w 3509962"/>
                <a:gd name="connsiteY41" fmla="*/ 2357437 h 3128962"/>
                <a:gd name="connsiteX42" fmla="*/ 3167062 w 3509962"/>
                <a:gd name="connsiteY42" fmla="*/ 2409825 h 3128962"/>
                <a:gd name="connsiteX43" fmla="*/ 3086100 w 3509962"/>
                <a:gd name="connsiteY43" fmla="*/ 2400300 h 3128962"/>
                <a:gd name="connsiteX44" fmla="*/ 3024187 w 3509962"/>
                <a:gd name="connsiteY44" fmla="*/ 2352675 h 3128962"/>
                <a:gd name="connsiteX45" fmla="*/ 3071812 w 3509962"/>
                <a:gd name="connsiteY45" fmla="*/ 2238375 h 3128962"/>
                <a:gd name="connsiteX46" fmla="*/ 3000375 w 3509962"/>
                <a:gd name="connsiteY46" fmla="*/ 2224087 h 3128962"/>
                <a:gd name="connsiteX47" fmla="*/ 3009900 w 3509962"/>
                <a:gd name="connsiteY47" fmla="*/ 2152650 h 3128962"/>
                <a:gd name="connsiteX48" fmla="*/ 3000375 w 3509962"/>
                <a:gd name="connsiteY48" fmla="*/ 2114550 h 3128962"/>
                <a:gd name="connsiteX49" fmla="*/ 2943225 w 3509962"/>
                <a:gd name="connsiteY49" fmla="*/ 2062162 h 3128962"/>
                <a:gd name="connsiteX50" fmla="*/ 2862262 w 3509962"/>
                <a:gd name="connsiteY50" fmla="*/ 1990725 h 3128962"/>
                <a:gd name="connsiteX51" fmla="*/ 2762250 w 3509962"/>
                <a:gd name="connsiteY51" fmla="*/ 1947862 h 3128962"/>
                <a:gd name="connsiteX52" fmla="*/ 2752725 w 3509962"/>
                <a:gd name="connsiteY52" fmla="*/ 1928812 h 3128962"/>
                <a:gd name="connsiteX53" fmla="*/ 2762250 w 3509962"/>
                <a:gd name="connsiteY53" fmla="*/ 1900237 h 3128962"/>
                <a:gd name="connsiteX54" fmla="*/ 2728912 w 3509962"/>
                <a:gd name="connsiteY54" fmla="*/ 1871662 h 3128962"/>
                <a:gd name="connsiteX55" fmla="*/ 2709862 w 3509962"/>
                <a:gd name="connsiteY55" fmla="*/ 1885950 h 3128962"/>
                <a:gd name="connsiteX56" fmla="*/ 2690812 w 3509962"/>
                <a:gd name="connsiteY56" fmla="*/ 1895475 h 3128962"/>
                <a:gd name="connsiteX57" fmla="*/ 2657475 w 3509962"/>
                <a:gd name="connsiteY57" fmla="*/ 1900237 h 3128962"/>
                <a:gd name="connsiteX58" fmla="*/ 2609850 w 3509962"/>
                <a:gd name="connsiteY58" fmla="*/ 1881187 h 3128962"/>
                <a:gd name="connsiteX59" fmla="*/ 2600325 w 3509962"/>
                <a:gd name="connsiteY59" fmla="*/ 1852612 h 3128962"/>
                <a:gd name="connsiteX60" fmla="*/ 2562225 w 3509962"/>
                <a:gd name="connsiteY60" fmla="*/ 1885950 h 3128962"/>
                <a:gd name="connsiteX61" fmla="*/ 2543175 w 3509962"/>
                <a:gd name="connsiteY61" fmla="*/ 1924050 h 3128962"/>
                <a:gd name="connsiteX62" fmla="*/ 2524125 w 3509962"/>
                <a:gd name="connsiteY62" fmla="*/ 1905000 h 3128962"/>
                <a:gd name="connsiteX63" fmla="*/ 2481262 w 3509962"/>
                <a:gd name="connsiteY63" fmla="*/ 1900237 h 3128962"/>
                <a:gd name="connsiteX64" fmla="*/ 2462212 w 3509962"/>
                <a:gd name="connsiteY64" fmla="*/ 1876425 h 3128962"/>
                <a:gd name="connsiteX65" fmla="*/ 2462212 w 3509962"/>
                <a:gd name="connsiteY65" fmla="*/ 1838325 h 3128962"/>
                <a:gd name="connsiteX66" fmla="*/ 2405062 w 3509962"/>
                <a:gd name="connsiteY66" fmla="*/ 1838325 h 3128962"/>
                <a:gd name="connsiteX67" fmla="*/ 2395537 w 3509962"/>
                <a:gd name="connsiteY67" fmla="*/ 1847850 h 3128962"/>
                <a:gd name="connsiteX68" fmla="*/ 2362200 w 3509962"/>
                <a:gd name="connsiteY68" fmla="*/ 1843087 h 3128962"/>
                <a:gd name="connsiteX69" fmla="*/ 2324100 w 3509962"/>
                <a:gd name="connsiteY69" fmla="*/ 1814512 h 3128962"/>
                <a:gd name="connsiteX70" fmla="*/ 2328862 w 3509962"/>
                <a:gd name="connsiteY70" fmla="*/ 1795462 h 3128962"/>
                <a:gd name="connsiteX71" fmla="*/ 2314575 w 3509962"/>
                <a:gd name="connsiteY71" fmla="*/ 1771650 h 3128962"/>
                <a:gd name="connsiteX72" fmla="*/ 2266950 w 3509962"/>
                <a:gd name="connsiteY72" fmla="*/ 1781175 h 3128962"/>
                <a:gd name="connsiteX73" fmla="*/ 2190750 w 3509962"/>
                <a:gd name="connsiteY73" fmla="*/ 1795462 h 3128962"/>
                <a:gd name="connsiteX74" fmla="*/ 2162175 w 3509962"/>
                <a:gd name="connsiteY74" fmla="*/ 1833562 h 3128962"/>
                <a:gd name="connsiteX75" fmla="*/ 2128837 w 3509962"/>
                <a:gd name="connsiteY75" fmla="*/ 1928812 h 3128962"/>
                <a:gd name="connsiteX76" fmla="*/ 2124075 w 3509962"/>
                <a:gd name="connsiteY76" fmla="*/ 1962150 h 3128962"/>
                <a:gd name="connsiteX77" fmla="*/ 2152650 w 3509962"/>
                <a:gd name="connsiteY77" fmla="*/ 1981200 h 3128962"/>
                <a:gd name="connsiteX78" fmla="*/ 2085975 w 3509962"/>
                <a:gd name="connsiteY78" fmla="*/ 2024062 h 3128962"/>
                <a:gd name="connsiteX79" fmla="*/ 2019300 w 3509962"/>
                <a:gd name="connsiteY79" fmla="*/ 2057400 h 3128962"/>
                <a:gd name="connsiteX80" fmla="*/ 1981200 w 3509962"/>
                <a:gd name="connsiteY80" fmla="*/ 2095500 h 3128962"/>
                <a:gd name="connsiteX81" fmla="*/ 1971675 w 3509962"/>
                <a:gd name="connsiteY81" fmla="*/ 2162175 h 3128962"/>
                <a:gd name="connsiteX82" fmla="*/ 1938337 w 3509962"/>
                <a:gd name="connsiteY82" fmla="*/ 2205037 h 3128962"/>
                <a:gd name="connsiteX83" fmla="*/ 1919287 w 3509962"/>
                <a:gd name="connsiteY83" fmla="*/ 2247900 h 3128962"/>
                <a:gd name="connsiteX84" fmla="*/ 1933575 w 3509962"/>
                <a:gd name="connsiteY84" fmla="*/ 2286000 h 3128962"/>
                <a:gd name="connsiteX85" fmla="*/ 1900237 w 3509962"/>
                <a:gd name="connsiteY85" fmla="*/ 2305050 h 3128962"/>
                <a:gd name="connsiteX86" fmla="*/ 1885950 w 3509962"/>
                <a:gd name="connsiteY86" fmla="*/ 2319337 h 3128962"/>
                <a:gd name="connsiteX87" fmla="*/ 1924050 w 3509962"/>
                <a:gd name="connsiteY87" fmla="*/ 2381250 h 3128962"/>
                <a:gd name="connsiteX88" fmla="*/ 1919287 w 3509962"/>
                <a:gd name="connsiteY88" fmla="*/ 2419350 h 3128962"/>
                <a:gd name="connsiteX89" fmla="*/ 1919287 w 3509962"/>
                <a:gd name="connsiteY89" fmla="*/ 2419350 h 3128962"/>
                <a:gd name="connsiteX90" fmla="*/ 1909762 w 3509962"/>
                <a:gd name="connsiteY90" fmla="*/ 2490787 h 3128962"/>
                <a:gd name="connsiteX91" fmla="*/ 1943100 w 3509962"/>
                <a:gd name="connsiteY91" fmla="*/ 2505075 h 3128962"/>
                <a:gd name="connsiteX92" fmla="*/ 1924050 w 3509962"/>
                <a:gd name="connsiteY92" fmla="*/ 2543175 h 3128962"/>
                <a:gd name="connsiteX93" fmla="*/ 1895475 w 3509962"/>
                <a:gd name="connsiteY93" fmla="*/ 2571750 h 3128962"/>
                <a:gd name="connsiteX94" fmla="*/ 1857375 w 3509962"/>
                <a:gd name="connsiteY94" fmla="*/ 2595562 h 3128962"/>
                <a:gd name="connsiteX95" fmla="*/ 1843087 w 3509962"/>
                <a:gd name="connsiteY95" fmla="*/ 2624137 h 3128962"/>
                <a:gd name="connsiteX96" fmla="*/ 1843087 w 3509962"/>
                <a:gd name="connsiteY96" fmla="*/ 2657475 h 3128962"/>
                <a:gd name="connsiteX97" fmla="*/ 1843087 w 3509962"/>
                <a:gd name="connsiteY97" fmla="*/ 2657475 h 3128962"/>
                <a:gd name="connsiteX98" fmla="*/ 1871662 w 3509962"/>
                <a:gd name="connsiteY98" fmla="*/ 2719387 h 3128962"/>
                <a:gd name="connsiteX99" fmla="*/ 1938337 w 3509962"/>
                <a:gd name="connsiteY99" fmla="*/ 2757487 h 3128962"/>
                <a:gd name="connsiteX100" fmla="*/ 1947862 w 3509962"/>
                <a:gd name="connsiteY100" fmla="*/ 2881312 h 3128962"/>
                <a:gd name="connsiteX101" fmla="*/ 2114550 w 3509962"/>
                <a:gd name="connsiteY101" fmla="*/ 2938462 h 3128962"/>
                <a:gd name="connsiteX102" fmla="*/ 2157412 w 3509962"/>
                <a:gd name="connsiteY102" fmla="*/ 2971800 h 3128962"/>
                <a:gd name="connsiteX103" fmla="*/ 2143125 w 3509962"/>
                <a:gd name="connsiteY103" fmla="*/ 3014662 h 3128962"/>
                <a:gd name="connsiteX104" fmla="*/ 2185987 w 3509962"/>
                <a:gd name="connsiteY104" fmla="*/ 3048000 h 3128962"/>
                <a:gd name="connsiteX105" fmla="*/ 2157412 w 3509962"/>
                <a:gd name="connsiteY105" fmla="*/ 3128962 h 3128962"/>
                <a:gd name="connsiteX106" fmla="*/ 1376362 w 3509962"/>
                <a:gd name="connsiteY106" fmla="*/ 2838450 h 3128962"/>
                <a:gd name="connsiteX107" fmla="*/ 1276350 w 3509962"/>
                <a:gd name="connsiteY107" fmla="*/ 2609850 h 3128962"/>
                <a:gd name="connsiteX108" fmla="*/ 1166812 w 3509962"/>
                <a:gd name="connsiteY108" fmla="*/ 2643187 h 3128962"/>
                <a:gd name="connsiteX109" fmla="*/ 1147762 w 3509962"/>
                <a:gd name="connsiteY109" fmla="*/ 2667000 h 3128962"/>
                <a:gd name="connsiteX110" fmla="*/ 1157287 w 3509962"/>
                <a:gd name="connsiteY110" fmla="*/ 2709862 h 3128962"/>
                <a:gd name="connsiteX111" fmla="*/ 1185862 w 3509962"/>
                <a:gd name="connsiteY111" fmla="*/ 2728912 h 3128962"/>
                <a:gd name="connsiteX112" fmla="*/ 1219200 w 3509962"/>
                <a:gd name="connsiteY112" fmla="*/ 2714625 h 3128962"/>
                <a:gd name="connsiteX113" fmla="*/ 1243012 w 3509962"/>
                <a:gd name="connsiteY113" fmla="*/ 2733675 h 3128962"/>
                <a:gd name="connsiteX114" fmla="*/ 1276350 w 3509962"/>
                <a:gd name="connsiteY114" fmla="*/ 2747962 h 3128962"/>
                <a:gd name="connsiteX115" fmla="*/ 1328737 w 3509962"/>
                <a:gd name="connsiteY115" fmla="*/ 2838450 h 3128962"/>
                <a:gd name="connsiteX116" fmla="*/ 1304925 w 3509962"/>
                <a:gd name="connsiteY116" fmla="*/ 2843212 h 3128962"/>
                <a:gd name="connsiteX117" fmla="*/ 1252537 w 3509962"/>
                <a:gd name="connsiteY117" fmla="*/ 2809875 h 3128962"/>
                <a:gd name="connsiteX118" fmla="*/ 1223962 w 3509962"/>
                <a:gd name="connsiteY118" fmla="*/ 2819400 h 3128962"/>
                <a:gd name="connsiteX119" fmla="*/ 1223962 w 3509962"/>
                <a:gd name="connsiteY119" fmla="*/ 2819400 h 3128962"/>
                <a:gd name="connsiteX120" fmla="*/ 1152525 w 3509962"/>
                <a:gd name="connsiteY120" fmla="*/ 2805112 h 3128962"/>
                <a:gd name="connsiteX121" fmla="*/ 1076325 w 3509962"/>
                <a:gd name="connsiteY121" fmla="*/ 2857500 h 3128962"/>
                <a:gd name="connsiteX122" fmla="*/ 1009650 w 3509962"/>
                <a:gd name="connsiteY122" fmla="*/ 2828925 h 3128962"/>
                <a:gd name="connsiteX123" fmla="*/ 1038225 w 3509962"/>
                <a:gd name="connsiteY123" fmla="*/ 2795587 h 3128962"/>
                <a:gd name="connsiteX124" fmla="*/ 1047750 w 3509962"/>
                <a:gd name="connsiteY124" fmla="*/ 2762250 h 3128962"/>
                <a:gd name="connsiteX125" fmla="*/ 995362 w 3509962"/>
                <a:gd name="connsiteY125" fmla="*/ 2709862 h 3128962"/>
                <a:gd name="connsiteX126" fmla="*/ 947737 w 3509962"/>
                <a:gd name="connsiteY126" fmla="*/ 2705100 h 3128962"/>
                <a:gd name="connsiteX127" fmla="*/ 914400 w 3509962"/>
                <a:gd name="connsiteY127" fmla="*/ 2724150 h 3128962"/>
                <a:gd name="connsiteX128" fmla="*/ 919162 w 3509962"/>
                <a:gd name="connsiteY128" fmla="*/ 2781300 h 3128962"/>
                <a:gd name="connsiteX129" fmla="*/ 904875 w 3509962"/>
                <a:gd name="connsiteY129" fmla="*/ 2795587 h 3128962"/>
                <a:gd name="connsiteX130" fmla="*/ 885825 w 3509962"/>
                <a:gd name="connsiteY130" fmla="*/ 2786062 h 3128962"/>
                <a:gd name="connsiteX131" fmla="*/ 857250 w 3509962"/>
                <a:gd name="connsiteY131" fmla="*/ 2814637 h 3128962"/>
                <a:gd name="connsiteX132" fmla="*/ 842962 w 3509962"/>
                <a:gd name="connsiteY132" fmla="*/ 2809875 h 3128962"/>
                <a:gd name="connsiteX133" fmla="*/ 838200 w 3509962"/>
                <a:gd name="connsiteY133" fmla="*/ 2781300 h 3128962"/>
                <a:gd name="connsiteX134" fmla="*/ 790575 w 3509962"/>
                <a:gd name="connsiteY134" fmla="*/ 2800350 h 3128962"/>
                <a:gd name="connsiteX135" fmla="*/ 790575 w 3509962"/>
                <a:gd name="connsiteY135" fmla="*/ 2762250 h 3128962"/>
                <a:gd name="connsiteX136" fmla="*/ 766762 w 3509962"/>
                <a:gd name="connsiteY136" fmla="*/ 2767012 h 3128962"/>
                <a:gd name="connsiteX137" fmla="*/ 733425 w 3509962"/>
                <a:gd name="connsiteY137" fmla="*/ 2681287 h 3128962"/>
                <a:gd name="connsiteX138" fmla="*/ 700087 w 3509962"/>
                <a:gd name="connsiteY138" fmla="*/ 2676525 h 3128962"/>
                <a:gd name="connsiteX139" fmla="*/ 685800 w 3509962"/>
                <a:gd name="connsiteY139" fmla="*/ 2628900 h 3128962"/>
                <a:gd name="connsiteX140" fmla="*/ 666750 w 3509962"/>
                <a:gd name="connsiteY140" fmla="*/ 2662237 h 3128962"/>
                <a:gd name="connsiteX141" fmla="*/ 638175 w 3509962"/>
                <a:gd name="connsiteY141" fmla="*/ 2647950 h 3128962"/>
                <a:gd name="connsiteX142" fmla="*/ 585787 w 3509962"/>
                <a:gd name="connsiteY142" fmla="*/ 2667000 h 3128962"/>
                <a:gd name="connsiteX143" fmla="*/ 542925 w 3509962"/>
                <a:gd name="connsiteY143" fmla="*/ 2647950 h 3128962"/>
                <a:gd name="connsiteX144" fmla="*/ 495300 w 3509962"/>
                <a:gd name="connsiteY144" fmla="*/ 2662237 h 3128962"/>
                <a:gd name="connsiteX145" fmla="*/ 442912 w 3509962"/>
                <a:gd name="connsiteY145" fmla="*/ 2676525 h 3128962"/>
                <a:gd name="connsiteX146" fmla="*/ 428625 w 3509962"/>
                <a:gd name="connsiteY146" fmla="*/ 2719387 h 3128962"/>
                <a:gd name="connsiteX147" fmla="*/ 404812 w 3509962"/>
                <a:gd name="connsiteY147" fmla="*/ 2667000 h 3128962"/>
                <a:gd name="connsiteX148" fmla="*/ 347662 w 3509962"/>
                <a:gd name="connsiteY148" fmla="*/ 2624137 h 3128962"/>
                <a:gd name="connsiteX149" fmla="*/ 385762 w 3509962"/>
                <a:gd name="connsiteY149" fmla="*/ 2552700 h 3128962"/>
                <a:gd name="connsiteX150" fmla="*/ 385762 w 3509962"/>
                <a:gd name="connsiteY150" fmla="*/ 2519362 h 3128962"/>
                <a:gd name="connsiteX151" fmla="*/ 361950 w 3509962"/>
                <a:gd name="connsiteY151" fmla="*/ 2457450 h 3128962"/>
                <a:gd name="connsiteX152" fmla="*/ 342900 w 3509962"/>
                <a:gd name="connsiteY152" fmla="*/ 2281237 h 3128962"/>
                <a:gd name="connsiteX153" fmla="*/ 333375 w 3509962"/>
                <a:gd name="connsiteY153" fmla="*/ 2219325 h 3128962"/>
                <a:gd name="connsiteX154" fmla="*/ 319087 w 3509962"/>
                <a:gd name="connsiteY154" fmla="*/ 2190750 h 3128962"/>
                <a:gd name="connsiteX155" fmla="*/ 295275 w 3509962"/>
                <a:gd name="connsiteY155" fmla="*/ 2195512 h 3128962"/>
                <a:gd name="connsiteX156" fmla="*/ 304800 w 3509962"/>
                <a:gd name="connsiteY156" fmla="*/ 2157412 h 3128962"/>
                <a:gd name="connsiteX157" fmla="*/ 323850 w 3509962"/>
                <a:gd name="connsiteY157" fmla="*/ 2143125 h 3128962"/>
                <a:gd name="connsiteX158" fmla="*/ 357187 w 3509962"/>
                <a:gd name="connsiteY158" fmla="*/ 2152650 h 3128962"/>
                <a:gd name="connsiteX159" fmla="*/ 371475 w 3509962"/>
                <a:gd name="connsiteY159" fmla="*/ 1933575 h 3128962"/>
                <a:gd name="connsiteX160" fmla="*/ 419100 w 3509962"/>
                <a:gd name="connsiteY160" fmla="*/ 1909762 h 3128962"/>
                <a:gd name="connsiteX161" fmla="*/ 309562 w 3509962"/>
                <a:gd name="connsiteY161" fmla="*/ 1409700 h 3128962"/>
                <a:gd name="connsiteX162" fmla="*/ 381000 w 3509962"/>
                <a:gd name="connsiteY162" fmla="*/ 1366837 h 3128962"/>
                <a:gd name="connsiteX163" fmla="*/ 414337 w 3509962"/>
                <a:gd name="connsiteY163" fmla="*/ 1376362 h 3128962"/>
                <a:gd name="connsiteX164" fmla="*/ 447675 w 3509962"/>
                <a:gd name="connsiteY164" fmla="*/ 1357312 h 3128962"/>
                <a:gd name="connsiteX165" fmla="*/ 428625 w 3509962"/>
                <a:gd name="connsiteY165" fmla="*/ 1309687 h 3128962"/>
                <a:gd name="connsiteX166" fmla="*/ 466725 w 3509962"/>
                <a:gd name="connsiteY166" fmla="*/ 1266825 h 3128962"/>
                <a:gd name="connsiteX167" fmla="*/ 528637 w 3509962"/>
                <a:gd name="connsiteY167" fmla="*/ 1266825 h 3128962"/>
                <a:gd name="connsiteX168" fmla="*/ 514350 w 3509962"/>
                <a:gd name="connsiteY168" fmla="*/ 1219200 h 3128962"/>
                <a:gd name="connsiteX169" fmla="*/ 514350 w 3509962"/>
                <a:gd name="connsiteY169" fmla="*/ 1166812 h 3128962"/>
                <a:gd name="connsiteX170" fmla="*/ 442912 w 3509962"/>
                <a:gd name="connsiteY170" fmla="*/ 1066800 h 3128962"/>
                <a:gd name="connsiteX171" fmla="*/ 457200 w 3509962"/>
                <a:gd name="connsiteY171" fmla="*/ 995362 h 3128962"/>
                <a:gd name="connsiteX172" fmla="*/ 0 w 3509962"/>
                <a:gd name="connsiteY172" fmla="*/ 257175 h 3128962"/>
                <a:gd name="connsiteX173" fmla="*/ 23812 w 3509962"/>
                <a:gd name="connsiteY173" fmla="*/ 190500 h 3128962"/>
                <a:gd name="connsiteX174" fmla="*/ 100012 w 3509962"/>
                <a:gd name="connsiteY174" fmla="*/ 114300 h 3128962"/>
                <a:gd name="connsiteX175" fmla="*/ 238125 w 3509962"/>
                <a:gd name="connsiteY175" fmla="*/ 223837 h 3128962"/>
                <a:gd name="connsiteX176" fmla="*/ 304800 w 3509962"/>
                <a:gd name="connsiteY176" fmla="*/ 204787 h 3128962"/>
                <a:gd name="connsiteX177" fmla="*/ 357187 w 3509962"/>
                <a:gd name="connsiteY177" fmla="*/ 161925 h 3128962"/>
                <a:gd name="connsiteX178" fmla="*/ 457200 w 3509962"/>
                <a:gd name="connsiteY178" fmla="*/ 219075 h 3128962"/>
                <a:gd name="connsiteX179" fmla="*/ 561975 w 3509962"/>
                <a:gd name="connsiteY179" fmla="*/ 176212 h 3128962"/>
                <a:gd name="connsiteX180" fmla="*/ 666750 w 3509962"/>
                <a:gd name="connsiteY180" fmla="*/ 157162 h 3128962"/>
                <a:gd name="connsiteX181" fmla="*/ 681037 w 3509962"/>
                <a:gd name="connsiteY181" fmla="*/ 209550 h 3128962"/>
                <a:gd name="connsiteX182" fmla="*/ 671512 w 3509962"/>
                <a:gd name="connsiteY182" fmla="*/ 280987 h 3128962"/>
                <a:gd name="connsiteX183" fmla="*/ 709612 w 3509962"/>
                <a:gd name="connsiteY183" fmla="*/ 342900 h 312896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  <a:cxn ang="0">
                  <a:pos x="connsiteX49" y="connsiteY49"/>
                </a:cxn>
                <a:cxn ang="0">
                  <a:pos x="connsiteX50" y="connsiteY50"/>
                </a:cxn>
                <a:cxn ang="0">
                  <a:pos x="connsiteX51" y="connsiteY51"/>
                </a:cxn>
                <a:cxn ang="0">
                  <a:pos x="connsiteX52" y="connsiteY52"/>
                </a:cxn>
                <a:cxn ang="0">
                  <a:pos x="connsiteX53" y="connsiteY53"/>
                </a:cxn>
                <a:cxn ang="0">
                  <a:pos x="connsiteX54" y="connsiteY54"/>
                </a:cxn>
                <a:cxn ang="0">
                  <a:pos x="connsiteX55" y="connsiteY55"/>
                </a:cxn>
                <a:cxn ang="0">
                  <a:pos x="connsiteX56" y="connsiteY56"/>
                </a:cxn>
                <a:cxn ang="0">
                  <a:pos x="connsiteX57" y="connsiteY57"/>
                </a:cxn>
                <a:cxn ang="0">
                  <a:pos x="connsiteX58" y="connsiteY58"/>
                </a:cxn>
                <a:cxn ang="0">
                  <a:pos x="connsiteX59" y="connsiteY59"/>
                </a:cxn>
                <a:cxn ang="0">
                  <a:pos x="connsiteX60" y="connsiteY60"/>
                </a:cxn>
                <a:cxn ang="0">
                  <a:pos x="connsiteX61" y="connsiteY61"/>
                </a:cxn>
                <a:cxn ang="0">
                  <a:pos x="connsiteX62" y="connsiteY62"/>
                </a:cxn>
                <a:cxn ang="0">
                  <a:pos x="connsiteX63" y="connsiteY63"/>
                </a:cxn>
                <a:cxn ang="0">
                  <a:pos x="connsiteX64" y="connsiteY64"/>
                </a:cxn>
                <a:cxn ang="0">
                  <a:pos x="connsiteX65" y="connsiteY65"/>
                </a:cxn>
                <a:cxn ang="0">
                  <a:pos x="connsiteX66" y="connsiteY66"/>
                </a:cxn>
                <a:cxn ang="0">
                  <a:pos x="connsiteX67" y="connsiteY67"/>
                </a:cxn>
                <a:cxn ang="0">
                  <a:pos x="connsiteX68" y="connsiteY68"/>
                </a:cxn>
                <a:cxn ang="0">
                  <a:pos x="connsiteX69" y="connsiteY69"/>
                </a:cxn>
                <a:cxn ang="0">
                  <a:pos x="connsiteX70" y="connsiteY70"/>
                </a:cxn>
                <a:cxn ang="0">
                  <a:pos x="connsiteX71" y="connsiteY71"/>
                </a:cxn>
                <a:cxn ang="0">
                  <a:pos x="connsiteX72" y="connsiteY72"/>
                </a:cxn>
                <a:cxn ang="0">
                  <a:pos x="connsiteX73" y="connsiteY73"/>
                </a:cxn>
                <a:cxn ang="0">
                  <a:pos x="connsiteX74" y="connsiteY74"/>
                </a:cxn>
                <a:cxn ang="0">
                  <a:pos x="connsiteX75" y="connsiteY75"/>
                </a:cxn>
                <a:cxn ang="0">
                  <a:pos x="connsiteX76" y="connsiteY76"/>
                </a:cxn>
                <a:cxn ang="0">
                  <a:pos x="connsiteX77" y="connsiteY77"/>
                </a:cxn>
                <a:cxn ang="0">
                  <a:pos x="connsiteX78" y="connsiteY78"/>
                </a:cxn>
                <a:cxn ang="0">
                  <a:pos x="connsiteX79" y="connsiteY79"/>
                </a:cxn>
                <a:cxn ang="0">
                  <a:pos x="connsiteX80" y="connsiteY80"/>
                </a:cxn>
                <a:cxn ang="0">
                  <a:pos x="connsiteX81" y="connsiteY81"/>
                </a:cxn>
                <a:cxn ang="0">
                  <a:pos x="connsiteX82" y="connsiteY82"/>
                </a:cxn>
                <a:cxn ang="0">
                  <a:pos x="connsiteX83" y="connsiteY83"/>
                </a:cxn>
                <a:cxn ang="0">
                  <a:pos x="connsiteX84" y="connsiteY84"/>
                </a:cxn>
                <a:cxn ang="0">
                  <a:pos x="connsiteX85" y="connsiteY85"/>
                </a:cxn>
                <a:cxn ang="0">
                  <a:pos x="connsiteX86" y="connsiteY86"/>
                </a:cxn>
                <a:cxn ang="0">
                  <a:pos x="connsiteX87" y="connsiteY87"/>
                </a:cxn>
                <a:cxn ang="0">
                  <a:pos x="connsiteX88" y="connsiteY88"/>
                </a:cxn>
                <a:cxn ang="0">
                  <a:pos x="connsiteX89" y="connsiteY89"/>
                </a:cxn>
                <a:cxn ang="0">
                  <a:pos x="connsiteX90" y="connsiteY90"/>
                </a:cxn>
                <a:cxn ang="0">
                  <a:pos x="connsiteX91" y="connsiteY91"/>
                </a:cxn>
                <a:cxn ang="0">
                  <a:pos x="connsiteX92" y="connsiteY92"/>
                </a:cxn>
                <a:cxn ang="0">
                  <a:pos x="connsiteX93" y="connsiteY93"/>
                </a:cxn>
                <a:cxn ang="0">
                  <a:pos x="connsiteX94" y="connsiteY94"/>
                </a:cxn>
                <a:cxn ang="0">
                  <a:pos x="connsiteX95" y="connsiteY95"/>
                </a:cxn>
                <a:cxn ang="0">
                  <a:pos x="connsiteX96" y="connsiteY96"/>
                </a:cxn>
                <a:cxn ang="0">
                  <a:pos x="connsiteX97" y="connsiteY97"/>
                </a:cxn>
                <a:cxn ang="0">
                  <a:pos x="connsiteX98" y="connsiteY98"/>
                </a:cxn>
                <a:cxn ang="0">
                  <a:pos x="connsiteX99" y="connsiteY99"/>
                </a:cxn>
                <a:cxn ang="0">
                  <a:pos x="connsiteX100" y="connsiteY100"/>
                </a:cxn>
                <a:cxn ang="0">
                  <a:pos x="connsiteX101" y="connsiteY101"/>
                </a:cxn>
                <a:cxn ang="0">
                  <a:pos x="connsiteX102" y="connsiteY102"/>
                </a:cxn>
                <a:cxn ang="0">
                  <a:pos x="connsiteX103" y="connsiteY103"/>
                </a:cxn>
                <a:cxn ang="0">
                  <a:pos x="connsiteX104" y="connsiteY104"/>
                </a:cxn>
                <a:cxn ang="0">
                  <a:pos x="connsiteX105" y="connsiteY105"/>
                </a:cxn>
                <a:cxn ang="0">
                  <a:pos x="connsiteX106" y="connsiteY106"/>
                </a:cxn>
                <a:cxn ang="0">
                  <a:pos x="connsiteX107" y="connsiteY107"/>
                </a:cxn>
                <a:cxn ang="0">
                  <a:pos x="connsiteX108" y="connsiteY108"/>
                </a:cxn>
                <a:cxn ang="0">
                  <a:pos x="connsiteX109" y="connsiteY109"/>
                </a:cxn>
                <a:cxn ang="0">
                  <a:pos x="connsiteX110" y="connsiteY110"/>
                </a:cxn>
                <a:cxn ang="0">
                  <a:pos x="connsiteX111" y="connsiteY111"/>
                </a:cxn>
                <a:cxn ang="0">
                  <a:pos x="connsiteX112" y="connsiteY112"/>
                </a:cxn>
                <a:cxn ang="0">
                  <a:pos x="connsiteX113" y="connsiteY113"/>
                </a:cxn>
                <a:cxn ang="0">
                  <a:pos x="connsiteX114" y="connsiteY114"/>
                </a:cxn>
                <a:cxn ang="0">
                  <a:pos x="connsiteX115" y="connsiteY115"/>
                </a:cxn>
                <a:cxn ang="0">
                  <a:pos x="connsiteX116" y="connsiteY116"/>
                </a:cxn>
                <a:cxn ang="0">
                  <a:pos x="connsiteX117" y="connsiteY117"/>
                </a:cxn>
                <a:cxn ang="0">
                  <a:pos x="connsiteX118" y="connsiteY118"/>
                </a:cxn>
                <a:cxn ang="0">
                  <a:pos x="connsiteX119" y="connsiteY119"/>
                </a:cxn>
                <a:cxn ang="0">
                  <a:pos x="connsiteX120" y="connsiteY120"/>
                </a:cxn>
                <a:cxn ang="0">
                  <a:pos x="connsiteX121" y="connsiteY121"/>
                </a:cxn>
                <a:cxn ang="0">
                  <a:pos x="connsiteX122" y="connsiteY122"/>
                </a:cxn>
                <a:cxn ang="0">
                  <a:pos x="connsiteX123" y="connsiteY123"/>
                </a:cxn>
                <a:cxn ang="0">
                  <a:pos x="connsiteX124" y="connsiteY124"/>
                </a:cxn>
                <a:cxn ang="0">
                  <a:pos x="connsiteX125" y="connsiteY125"/>
                </a:cxn>
                <a:cxn ang="0">
                  <a:pos x="connsiteX126" y="connsiteY126"/>
                </a:cxn>
                <a:cxn ang="0">
                  <a:pos x="connsiteX127" y="connsiteY127"/>
                </a:cxn>
                <a:cxn ang="0">
                  <a:pos x="connsiteX128" y="connsiteY128"/>
                </a:cxn>
                <a:cxn ang="0">
                  <a:pos x="connsiteX129" y="connsiteY129"/>
                </a:cxn>
                <a:cxn ang="0">
                  <a:pos x="connsiteX130" y="connsiteY130"/>
                </a:cxn>
                <a:cxn ang="0">
                  <a:pos x="connsiteX131" y="connsiteY131"/>
                </a:cxn>
                <a:cxn ang="0">
                  <a:pos x="connsiteX132" y="connsiteY132"/>
                </a:cxn>
                <a:cxn ang="0">
                  <a:pos x="connsiteX133" y="connsiteY133"/>
                </a:cxn>
                <a:cxn ang="0">
                  <a:pos x="connsiteX134" y="connsiteY134"/>
                </a:cxn>
                <a:cxn ang="0">
                  <a:pos x="connsiteX135" y="connsiteY135"/>
                </a:cxn>
                <a:cxn ang="0">
                  <a:pos x="connsiteX136" y="connsiteY136"/>
                </a:cxn>
                <a:cxn ang="0">
                  <a:pos x="connsiteX137" y="connsiteY137"/>
                </a:cxn>
                <a:cxn ang="0">
                  <a:pos x="connsiteX138" y="connsiteY138"/>
                </a:cxn>
                <a:cxn ang="0">
                  <a:pos x="connsiteX139" y="connsiteY139"/>
                </a:cxn>
                <a:cxn ang="0">
                  <a:pos x="connsiteX140" y="connsiteY140"/>
                </a:cxn>
                <a:cxn ang="0">
                  <a:pos x="connsiteX141" y="connsiteY141"/>
                </a:cxn>
                <a:cxn ang="0">
                  <a:pos x="connsiteX142" y="connsiteY142"/>
                </a:cxn>
                <a:cxn ang="0">
                  <a:pos x="connsiteX143" y="connsiteY143"/>
                </a:cxn>
                <a:cxn ang="0">
                  <a:pos x="connsiteX144" y="connsiteY144"/>
                </a:cxn>
                <a:cxn ang="0">
                  <a:pos x="connsiteX145" y="connsiteY145"/>
                </a:cxn>
                <a:cxn ang="0">
                  <a:pos x="connsiteX146" y="connsiteY146"/>
                </a:cxn>
                <a:cxn ang="0">
                  <a:pos x="connsiteX147" y="connsiteY147"/>
                </a:cxn>
                <a:cxn ang="0">
                  <a:pos x="connsiteX148" y="connsiteY148"/>
                </a:cxn>
                <a:cxn ang="0">
                  <a:pos x="connsiteX149" y="connsiteY149"/>
                </a:cxn>
                <a:cxn ang="0">
                  <a:pos x="connsiteX150" y="connsiteY150"/>
                </a:cxn>
                <a:cxn ang="0">
                  <a:pos x="connsiteX151" y="connsiteY151"/>
                </a:cxn>
                <a:cxn ang="0">
                  <a:pos x="connsiteX152" y="connsiteY152"/>
                </a:cxn>
                <a:cxn ang="0">
                  <a:pos x="connsiteX153" y="connsiteY153"/>
                </a:cxn>
                <a:cxn ang="0">
                  <a:pos x="connsiteX154" y="connsiteY154"/>
                </a:cxn>
                <a:cxn ang="0">
                  <a:pos x="connsiteX155" y="connsiteY155"/>
                </a:cxn>
                <a:cxn ang="0">
                  <a:pos x="connsiteX156" y="connsiteY156"/>
                </a:cxn>
                <a:cxn ang="0">
                  <a:pos x="connsiteX157" y="connsiteY157"/>
                </a:cxn>
                <a:cxn ang="0">
                  <a:pos x="connsiteX158" y="connsiteY158"/>
                </a:cxn>
                <a:cxn ang="0">
                  <a:pos x="connsiteX159" y="connsiteY159"/>
                </a:cxn>
                <a:cxn ang="0">
                  <a:pos x="connsiteX160" y="connsiteY160"/>
                </a:cxn>
                <a:cxn ang="0">
                  <a:pos x="connsiteX161" y="connsiteY161"/>
                </a:cxn>
                <a:cxn ang="0">
                  <a:pos x="connsiteX162" y="connsiteY162"/>
                </a:cxn>
                <a:cxn ang="0">
                  <a:pos x="connsiteX163" y="connsiteY163"/>
                </a:cxn>
                <a:cxn ang="0">
                  <a:pos x="connsiteX164" y="connsiteY164"/>
                </a:cxn>
                <a:cxn ang="0">
                  <a:pos x="connsiteX165" y="connsiteY165"/>
                </a:cxn>
                <a:cxn ang="0">
                  <a:pos x="connsiteX166" y="connsiteY166"/>
                </a:cxn>
                <a:cxn ang="0">
                  <a:pos x="connsiteX167" y="connsiteY167"/>
                </a:cxn>
                <a:cxn ang="0">
                  <a:pos x="connsiteX168" y="connsiteY168"/>
                </a:cxn>
                <a:cxn ang="0">
                  <a:pos x="connsiteX169" y="connsiteY169"/>
                </a:cxn>
                <a:cxn ang="0">
                  <a:pos x="connsiteX170" y="connsiteY170"/>
                </a:cxn>
                <a:cxn ang="0">
                  <a:pos x="connsiteX171" y="connsiteY171"/>
                </a:cxn>
                <a:cxn ang="0">
                  <a:pos x="connsiteX172" y="connsiteY172"/>
                </a:cxn>
                <a:cxn ang="0">
                  <a:pos x="connsiteX173" y="connsiteY173"/>
                </a:cxn>
                <a:cxn ang="0">
                  <a:pos x="connsiteX174" y="connsiteY174"/>
                </a:cxn>
                <a:cxn ang="0">
                  <a:pos x="connsiteX175" y="connsiteY175"/>
                </a:cxn>
                <a:cxn ang="0">
                  <a:pos x="connsiteX176" y="connsiteY176"/>
                </a:cxn>
                <a:cxn ang="0">
                  <a:pos x="connsiteX177" y="connsiteY177"/>
                </a:cxn>
                <a:cxn ang="0">
                  <a:pos x="connsiteX178" y="connsiteY178"/>
                </a:cxn>
                <a:cxn ang="0">
                  <a:pos x="connsiteX179" y="connsiteY179"/>
                </a:cxn>
                <a:cxn ang="0">
                  <a:pos x="connsiteX180" y="connsiteY180"/>
                </a:cxn>
                <a:cxn ang="0">
                  <a:pos x="connsiteX181" y="connsiteY181"/>
                </a:cxn>
                <a:cxn ang="0">
                  <a:pos x="connsiteX182" y="connsiteY182"/>
                </a:cxn>
                <a:cxn ang="0">
                  <a:pos x="connsiteX183" y="connsiteY183"/>
                </a:cxn>
              </a:cxnLst>
              <a:rect l="l" t="t" r="r" b="b"/>
              <a:pathLst>
                <a:path w="3509962" h="3128962">
                  <a:moveTo>
                    <a:pt x="709612" y="342900"/>
                  </a:moveTo>
                  <a:lnTo>
                    <a:pt x="809625" y="319087"/>
                  </a:lnTo>
                  <a:lnTo>
                    <a:pt x="885825" y="328612"/>
                  </a:lnTo>
                  <a:lnTo>
                    <a:pt x="1009650" y="290512"/>
                  </a:lnTo>
                  <a:lnTo>
                    <a:pt x="1138237" y="280987"/>
                  </a:lnTo>
                  <a:lnTo>
                    <a:pt x="1295400" y="142875"/>
                  </a:lnTo>
                  <a:lnTo>
                    <a:pt x="1295400" y="85725"/>
                  </a:lnTo>
                  <a:lnTo>
                    <a:pt x="1319212" y="52387"/>
                  </a:lnTo>
                  <a:lnTo>
                    <a:pt x="1352550" y="71437"/>
                  </a:lnTo>
                  <a:lnTo>
                    <a:pt x="1409700" y="19050"/>
                  </a:lnTo>
                  <a:lnTo>
                    <a:pt x="1433512" y="0"/>
                  </a:lnTo>
                  <a:lnTo>
                    <a:pt x="1795462" y="252412"/>
                  </a:lnTo>
                  <a:lnTo>
                    <a:pt x="1847850" y="223837"/>
                  </a:lnTo>
                  <a:lnTo>
                    <a:pt x="1933575" y="233362"/>
                  </a:lnTo>
                  <a:lnTo>
                    <a:pt x="1938337" y="280987"/>
                  </a:lnTo>
                  <a:lnTo>
                    <a:pt x="1966912" y="347662"/>
                  </a:lnTo>
                  <a:lnTo>
                    <a:pt x="1966912" y="385762"/>
                  </a:lnTo>
                  <a:lnTo>
                    <a:pt x="3214687" y="1257300"/>
                  </a:lnTo>
                  <a:lnTo>
                    <a:pt x="3209925" y="1304925"/>
                  </a:lnTo>
                  <a:lnTo>
                    <a:pt x="3190875" y="1352550"/>
                  </a:lnTo>
                  <a:lnTo>
                    <a:pt x="3157537" y="1390650"/>
                  </a:lnTo>
                  <a:lnTo>
                    <a:pt x="3062287" y="1462087"/>
                  </a:lnTo>
                  <a:lnTo>
                    <a:pt x="3090862" y="1524000"/>
                  </a:lnTo>
                  <a:lnTo>
                    <a:pt x="3238500" y="1504950"/>
                  </a:lnTo>
                  <a:lnTo>
                    <a:pt x="3271837" y="1462087"/>
                  </a:lnTo>
                  <a:lnTo>
                    <a:pt x="3305175" y="1528762"/>
                  </a:lnTo>
                  <a:lnTo>
                    <a:pt x="3281362" y="1704975"/>
                  </a:lnTo>
                  <a:lnTo>
                    <a:pt x="3376612" y="1762125"/>
                  </a:lnTo>
                  <a:lnTo>
                    <a:pt x="3433762" y="1733550"/>
                  </a:lnTo>
                  <a:lnTo>
                    <a:pt x="3424237" y="1795462"/>
                  </a:lnTo>
                  <a:lnTo>
                    <a:pt x="3495675" y="1847850"/>
                  </a:lnTo>
                  <a:lnTo>
                    <a:pt x="3419475" y="2043112"/>
                  </a:lnTo>
                  <a:lnTo>
                    <a:pt x="3509962" y="2090737"/>
                  </a:lnTo>
                  <a:lnTo>
                    <a:pt x="3433762" y="2205037"/>
                  </a:lnTo>
                  <a:lnTo>
                    <a:pt x="3371850" y="2176462"/>
                  </a:lnTo>
                  <a:lnTo>
                    <a:pt x="3309937" y="2209800"/>
                  </a:lnTo>
                  <a:lnTo>
                    <a:pt x="3295650" y="2185987"/>
                  </a:lnTo>
                  <a:lnTo>
                    <a:pt x="3286125" y="2205037"/>
                  </a:lnTo>
                  <a:lnTo>
                    <a:pt x="3248025" y="2190750"/>
                  </a:lnTo>
                  <a:lnTo>
                    <a:pt x="3190875" y="2252662"/>
                  </a:lnTo>
                  <a:lnTo>
                    <a:pt x="3186112" y="2324100"/>
                  </a:lnTo>
                  <a:lnTo>
                    <a:pt x="3200400" y="2357437"/>
                  </a:lnTo>
                  <a:lnTo>
                    <a:pt x="3167062" y="2409825"/>
                  </a:lnTo>
                  <a:lnTo>
                    <a:pt x="3086100" y="2400300"/>
                  </a:lnTo>
                  <a:lnTo>
                    <a:pt x="3024187" y="2352675"/>
                  </a:lnTo>
                  <a:lnTo>
                    <a:pt x="3071812" y="2238375"/>
                  </a:lnTo>
                  <a:lnTo>
                    <a:pt x="3000375" y="2224087"/>
                  </a:lnTo>
                  <a:lnTo>
                    <a:pt x="3009900" y="2152650"/>
                  </a:lnTo>
                  <a:lnTo>
                    <a:pt x="3000375" y="2114550"/>
                  </a:lnTo>
                  <a:lnTo>
                    <a:pt x="2943225" y="2062162"/>
                  </a:lnTo>
                  <a:lnTo>
                    <a:pt x="2862262" y="1990725"/>
                  </a:lnTo>
                  <a:lnTo>
                    <a:pt x="2762250" y="1947862"/>
                  </a:lnTo>
                  <a:lnTo>
                    <a:pt x="2752725" y="1928812"/>
                  </a:lnTo>
                  <a:lnTo>
                    <a:pt x="2762250" y="1900237"/>
                  </a:lnTo>
                  <a:lnTo>
                    <a:pt x="2728912" y="1871662"/>
                  </a:lnTo>
                  <a:lnTo>
                    <a:pt x="2709862" y="1885950"/>
                  </a:lnTo>
                  <a:lnTo>
                    <a:pt x="2690812" y="1895475"/>
                  </a:lnTo>
                  <a:lnTo>
                    <a:pt x="2657475" y="1900237"/>
                  </a:lnTo>
                  <a:lnTo>
                    <a:pt x="2609850" y="1881187"/>
                  </a:lnTo>
                  <a:lnTo>
                    <a:pt x="2600325" y="1852612"/>
                  </a:lnTo>
                  <a:lnTo>
                    <a:pt x="2562225" y="1885950"/>
                  </a:lnTo>
                  <a:lnTo>
                    <a:pt x="2543175" y="1924050"/>
                  </a:lnTo>
                  <a:lnTo>
                    <a:pt x="2524125" y="1905000"/>
                  </a:lnTo>
                  <a:lnTo>
                    <a:pt x="2481262" y="1900237"/>
                  </a:lnTo>
                  <a:lnTo>
                    <a:pt x="2462212" y="1876425"/>
                  </a:lnTo>
                  <a:lnTo>
                    <a:pt x="2462212" y="1838325"/>
                  </a:lnTo>
                  <a:lnTo>
                    <a:pt x="2405062" y="1838325"/>
                  </a:lnTo>
                  <a:lnTo>
                    <a:pt x="2395537" y="1847850"/>
                  </a:lnTo>
                  <a:lnTo>
                    <a:pt x="2362200" y="1843087"/>
                  </a:lnTo>
                  <a:lnTo>
                    <a:pt x="2324100" y="1814512"/>
                  </a:lnTo>
                  <a:lnTo>
                    <a:pt x="2328862" y="1795462"/>
                  </a:lnTo>
                  <a:lnTo>
                    <a:pt x="2314575" y="1771650"/>
                  </a:lnTo>
                  <a:lnTo>
                    <a:pt x="2266950" y="1781175"/>
                  </a:lnTo>
                  <a:lnTo>
                    <a:pt x="2190750" y="1795462"/>
                  </a:lnTo>
                  <a:lnTo>
                    <a:pt x="2162175" y="1833562"/>
                  </a:lnTo>
                  <a:lnTo>
                    <a:pt x="2128837" y="1928812"/>
                  </a:lnTo>
                  <a:lnTo>
                    <a:pt x="2124075" y="1962150"/>
                  </a:lnTo>
                  <a:lnTo>
                    <a:pt x="2152650" y="1981200"/>
                  </a:lnTo>
                  <a:lnTo>
                    <a:pt x="2085975" y="2024062"/>
                  </a:lnTo>
                  <a:lnTo>
                    <a:pt x="2019300" y="2057400"/>
                  </a:lnTo>
                  <a:lnTo>
                    <a:pt x="1981200" y="2095500"/>
                  </a:lnTo>
                  <a:lnTo>
                    <a:pt x="1971675" y="2162175"/>
                  </a:lnTo>
                  <a:lnTo>
                    <a:pt x="1938337" y="2205037"/>
                  </a:lnTo>
                  <a:lnTo>
                    <a:pt x="1919287" y="2247900"/>
                  </a:lnTo>
                  <a:lnTo>
                    <a:pt x="1933575" y="2286000"/>
                  </a:lnTo>
                  <a:lnTo>
                    <a:pt x="1900237" y="2305050"/>
                  </a:lnTo>
                  <a:lnTo>
                    <a:pt x="1885950" y="2319337"/>
                  </a:lnTo>
                  <a:lnTo>
                    <a:pt x="1924050" y="2381250"/>
                  </a:lnTo>
                  <a:lnTo>
                    <a:pt x="1919287" y="2419350"/>
                  </a:lnTo>
                  <a:lnTo>
                    <a:pt x="1919287" y="2419350"/>
                  </a:lnTo>
                  <a:lnTo>
                    <a:pt x="1909762" y="2490787"/>
                  </a:lnTo>
                  <a:lnTo>
                    <a:pt x="1943100" y="2505075"/>
                  </a:lnTo>
                  <a:lnTo>
                    <a:pt x="1924050" y="2543175"/>
                  </a:lnTo>
                  <a:lnTo>
                    <a:pt x="1895475" y="2571750"/>
                  </a:lnTo>
                  <a:lnTo>
                    <a:pt x="1857375" y="2595562"/>
                  </a:lnTo>
                  <a:lnTo>
                    <a:pt x="1843087" y="2624137"/>
                  </a:lnTo>
                  <a:lnTo>
                    <a:pt x="1843087" y="2657475"/>
                  </a:lnTo>
                  <a:lnTo>
                    <a:pt x="1843087" y="2657475"/>
                  </a:lnTo>
                  <a:lnTo>
                    <a:pt x="1871662" y="2719387"/>
                  </a:lnTo>
                  <a:lnTo>
                    <a:pt x="1938337" y="2757487"/>
                  </a:lnTo>
                  <a:lnTo>
                    <a:pt x="1947862" y="2881312"/>
                  </a:lnTo>
                  <a:lnTo>
                    <a:pt x="2114550" y="2938462"/>
                  </a:lnTo>
                  <a:lnTo>
                    <a:pt x="2157412" y="2971800"/>
                  </a:lnTo>
                  <a:lnTo>
                    <a:pt x="2143125" y="3014662"/>
                  </a:lnTo>
                  <a:lnTo>
                    <a:pt x="2185987" y="3048000"/>
                  </a:lnTo>
                  <a:lnTo>
                    <a:pt x="2157412" y="3128962"/>
                  </a:lnTo>
                  <a:lnTo>
                    <a:pt x="1376362" y="2838450"/>
                  </a:lnTo>
                  <a:lnTo>
                    <a:pt x="1276350" y="2609850"/>
                  </a:lnTo>
                  <a:lnTo>
                    <a:pt x="1166812" y="2643187"/>
                  </a:lnTo>
                  <a:lnTo>
                    <a:pt x="1147762" y="2667000"/>
                  </a:lnTo>
                  <a:lnTo>
                    <a:pt x="1157287" y="2709862"/>
                  </a:lnTo>
                  <a:lnTo>
                    <a:pt x="1185862" y="2728912"/>
                  </a:lnTo>
                  <a:lnTo>
                    <a:pt x="1219200" y="2714625"/>
                  </a:lnTo>
                  <a:lnTo>
                    <a:pt x="1243012" y="2733675"/>
                  </a:lnTo>
                  <a:lnTo>
                    <a:pt x="1276350" y="2747962"/>
                  </a:lnTo>
                  <a:lnTo>
                    <a:pt x="1328737" y="2838450"/>
                  </a:lnTo>
                  <a:lnTo>
                    <a:pt x="1304925" y="2843212"/>
                  </a:lnTo>
                  <a:lnTo>
                    <a:pt x="1252537" y="2809875"/>
                  </a:lnTo>
                  <a:lnTo>
                    <a:pt x="1223962" y="2819400"/>
                  </a:lnTo>
                  <a:lnTo>
                    <a:pt x="1223962" y="2819400"/>
                  </a:lnTo>
                  <a:lnTo>
                    <a:pt x="1152525" y="2805112"/>
                  </a:lnTo>
                  <a:lnTo>
                    <a:pt x="1076325" y="2857500"/>
                  </a:lnTo>
                  <a:lnTo>
                    <a:pt x="1009650" y="2828925"/>
                  </a:lnTo>
                  <a:lnTo>
                    <a:pt x="1038225" y="2795587"/>
                  </a:lnTo>
                  <a:lnTo>
                    <a:pt x="1047750" y="2762250"/>
                  </a:lnTo>
                  <a:lnTo>
                    <a:pt x="995362" y="2709862"/>
                  </a:lnTo>
                  <a:lnTo>
                    <a:pt x="947737" y="2705100"/>
                  </a:lnTo>
                  <a:lnTo>
                    <a:pt x="914400" y="2724150"/>
                  </a:lnTo>
                  <a:lnTo>
                    <a:pt x="919162" y="2781300"/>
                  </a:lnTo>
                  <a:lnTo>
                    <a:pt x="904875" y="2795587"/>
                  </a:lnTo>
                  <a:lnTo>
                    <a:pt x="885825" y="2786062"/>
                  </a:lnTo>
                  <a:lnTo>
                    <a:pt x="857250" y="2814637"/>
                  </a:lnTo>
                  <a:lnTo>
                    <a:pt x="842962" y="2809875"/>
                  </a:lnTo>
                  <a:lnTo>
                    <a:pt x="838200" y="2781300"/>
                  </a:lnTo>
                  <a:lnTo>
                    <a:pt x="790575" y="2800350"/>
                  </a:lnTo>
                  <a:lnTo>
                    <a:pt x="790575" y="2762250"/>
                  </a:lnTo>
                  <a:lnTo>
                    <a:pt x="766762" y="2767012"/>
                  </a:lnTo>
                  <a:lnTo>
                    <a:pt x="733425" y="2681287"/>
                  </a:lnTo>
                  <a:lnTo>
                    <a:pt x="700087" y="2676525"/>
                  </a:lnTo>
                  <a:lnTo>
                    <a:pt x="685800" y="2628900"/>
                  </a:lnTo>
                  <a:lnTo>
                    <a:pt x="666750" y="2662237"/>
                  </a:lnTo>
                  <a:lnTo>
                    <a:pt x="638175" y="2647950"/>
                  </a:lnTo>
                  <a:lnTo>
                    <a:pt x="585787" y="2667000"/>
                  </a:lnTo>
                  <a:lnTo>
                    <a:pt x="542925" y="2647950"/>
                  </a:lnTo>
                  <a:lnTo>
                    <a:pt x="495300" y="2662237"/>
                  </a:lnTo>
                  <a:lnTo>
                    <a:pt x="442912" y="2676525"/>
                  </a:lnTo>
                  <a:lnTo>
                    <a:pt x="428625" y="2719387"/>
                  </a:lnTo>
                  <a:lnTo>
                    <a:pt x="404812" y="2667000"/>
                  </a:lnTo>
                  <a:lnTo>
                    <a:pt x="347662" y="2624137"/>
                  </a:lnTo>
                  <a:lnTo>
                    <a:pt x="385762" y="2552700"/>
                  </a:lnTo>
                  <a:lnTo>
                    <a:pt x="385762" y="2519362"/>
                  </a:lnTo>
                  <a:lnTo>
                    <a:pt x="361950" y="2457450"/>
                  </a:lnTo>
                  <a:lnTo>
                    <a:pt x="342900" y="2281237"/>
                  </a:lnTo>
                  <a:lnTo>
                    <a:pt x="333375" y="2219325"/>
                  </a:lnTo>
                  <a:lnTo>
                    <a:pt x="319087" y="2190750"/>
                  </a:lnTo>
                  <a:lnTo>
                    <a:pt x="295275" y="2195512"/>
                  </a:lnTo>
                  <a:lnTo>
                    <a:pt x="304800" y="2157412"/>
                  </a:lnTo>
                  <a:lnTo>
                    <a:pt x="323850" y="2143125"/>
                  </a:lnTo>
                  <a:lnTo>
                    <a:pt x="357187" y="2152650"/>
                  </a:lnTo>
                  <a:lnTo>
                    <a:pt x="371475" y="1933575"/>
                  </a:lnTo>
                  <a:lnTo>
                    <a:pt x="419100" y="1909762"/>
                  </a:lnTo>
                  <a:lnTo>
                    <a:pt x="309562" y="1409700"/>
                  </a:lnTo>
                  <a:lnTo>
                    <a:pt x="381000" y="1366837"/>
                  </a:lnTo>
                  <a:lnTo>
                    <a:pt x="414337" y="1376362"/>
                  </a:lnTo>
                  <a:lnTo>
                    <a:pt x="447675" y="1357312"/>
                  </a:lnTo>
                  <a:lnTo>
                    <a:pt x="428625" y="1309687"/>
                  </a:lnTo>
                  <a:lnTo>
                    <a:pt x="466725" y="1266825"/>
                  </a:lnTo>
                  <a:lnTo>
                    <a:pt x="528637" y="1266825"/>
                  </a:lnTo>
                  <a:lnTo>
                    <a:pt x="514350" y="1219200"/>
                  </a:lnTo>
                  <a:lnTo>
                    <a:pt x="514350" y="1166812"/>
                  </a:lnTo>
                  <a:lnTo>
                    <a:pt x="442912" y="1066800"/>
                  </a:lnTo>
                  <a:lnTo>
                    <a:pt x="457200" y="995362"/>
                  </a:lnTo>
                  <a:lnTo>
                    <a:pt x="0" y="257175"/>
                  </a:lnTo>
                  <a:lnTo>
                    <a:pt x="23812" y="190500"/>
                  </a:lnTo>
                  <a:lnTo>
                    <a:pt x="100012" y="114300"/>
                  </a:lnTo>
                  <a:lnTo>
                    <a:pt x="238125" y="223837"/>
                  </a:lnTo>
                  <a:lnTo>
                    <a:pt x="304800" y="204787"/>
                  </a:lnTo>
                  <a:lnTo>
                    <a:pt x="357187" y="161925"/>
                  </a:lnTo>
                  <a:lnTo>
                    <a:pt x="457200" y="219075"/>
                  </a:lnTo>
                  <a:lnTo>
                    <a:pt x="561975" y="176212"/>
                  </a:lnTo>
                  <a:lnTo>
                    <a:pt x="666750" y="157162"/>
                  </a:lnTo>
                  <a:lnTo>
                    <a:pt x="681037" y="209550"/>
                  </a:lnTo>
                  <a:lnTo>
                    <a:pt x="671512" y="280987"/>
                  </a:lnTo>
                  <a:lnTo>
                    <a:pt x="709612" y="34290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2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94" name="Freeform 17"/>
            <p:cNvSpPr>
              <a:spLocks/>
            </p:cNvSpPr>
            <p:nvPr/>
          </p:nvSpPr>
          <p:spPr bwMode="auto">
            <a:xfrm>
              <a:off x="1541065" y="5251213"/>
              <a:ext cx="1342239" cy="693675"/>
            </a:xfrm>
            <a:custGeom>
              <a:avLst/>
              <a:gdLst>
                <a:gd name="T0" fmla="*/ 226 w 1221"/>
                <a:gd name="T1" fmla="*/ 447 h 709"/>
                <a:gd name="T2" fmla="*/ 299 w 1221"/>
                <a:gd name="T3" fmla="*/ 435 h 709"/>
                <a:gd name="T4" fmla="*/ 317 w 1221"/>
                <a:gd name="T5" fmla="*/ 500 h 709"/>
                <a:gd name="T6" fmla="*/ 358 w 1221"/>
                <a:gd name="T7" fmla="*/ 493 h 709"/>
                <a:gd name="T8" fmla="*/ 415 w 1221"/>
                <a:gd name="T9" fmla="*/ 409 h 709"/>
                <a:gd name="T10" fmla="*/ 503 w 1221"/>
                <a:gd name="T11" fmla="*/ 322 h 709"/>
                <a:gd name="T12" fmla="*/ 860 w 1221"/>
                <a:gd name="T13" fmla="*/ 709 h 709"/>
                <a:gd name="T14" fmla="*/ 932 w 1221"/>
                <a:gd name="T15" fmla="*/ 664 h 709"/>
                <a:gd name="T16" fmla="*/ 972 w 1221"/>
                <a:gd name="T17" fmla="*/ 666 h 709"/>
                <a:gd name="T18" fmla="*/ 1039 w 1221"/>
                <a:gd name="T19" fmla="*/ 675 h 709"/>
                <a:gd name="T20" fmla="*/ 1035 w 1221"/>
                <a:gd name="T21" fmla="*/ 701 h 709"/>
                <a:gd name="T22" fmla="*/ 1047 w 1221"/>
                <a:gd name="T23" fmla="*/ 703 h 709"/>
                <a:gd name="T24" fmla="*/ 1073 w 1221"/>
                <a:gd name="T25" fmla="*/ 669 h 709"/>
                <a:gd name="T26" fmla="*/ 1068 w 1221"/>
                <a:gd name="T27" fmla="*/ 617 h 709"/>
                <a:gd name="T28" fmla="*/ 1129 w 1221"/>
                <a:gd name="T29" fmla="*/ 653 h 709"/>
                <a:gd name="T30" fmla="*/ 1160 w 1221"/>
                <a:gd name="T31" fmla="*/ 650 h 709"/>
                <a:gd name="T32" fmla="*/ 1181 w 1221"/>
                <a:gd name="T33" fmla="*/ 630 h 709"/>
                <a:gd name="T34" fmla="*/ 1192 w 1221"/>
                <a:gd name="T35" fmla="*/ 653 h 709"/>
                <a:gd name="T36" fmla="*/ 1221 w 1221"/>
                <a:gd name="T37" fmla="*/ 646 h 709"/>
                <a:gd name="T38" fmla="*/ 1200 w 1221"/>
                <a:gd name="T39" fmla="*/ 448 h 709"/>
                <a:gd name="T40" fmla="*/ 1176 w 1221"/>
                <a:gd name="T41" fmla="*/ 444 h 709"/>
                <a:gd name="T42" fmla="*/ 1189 w 1221"/>
                <a:gd name="T43" fmla="*/ 421 h 709"/>
                <a:gd name="T44" fmla="*/ 1178 w 1221"/>
                <a:gd name="T45" fmla="*/ 415 h 709"/>
                <a:gd name="T46" fmla="*/ 1160 w 1221"/>
                <a:gd name="T47" fmla="*/ 438 h 709"/>
                <a:gd name="T48" fmla="*/ 1151 w 1221"/>
                <a:gd name="T49" fmla="*/ 408 h 709"/>
                <a:gd name="T50" fmla="*/ 1137 w 1221"/>
                <a:gd name="T51" fmla="*/ 407 h 709"/>
                <a:gd name="T52" fmla="*/ 1087 w 1221"/>
                <a:gd name="T53" fmla="*/ 440 h 709"/>
                <a:gd name="T54" fmla="*/ 1089 w 1221"/>
                <a:gd name="T55" fmla="*/ 600 h 709"/>
                <a:gd name="T56" fmla="*/ 1038 w 1221"/>
                <a:gd name="T57" fmla="*/ 563 h 709"/>
                <a:gd name="T58" fmla="*/ 954 w 1221"/>
                <a:gd name="T59" fmla="*/ 580 h 709"/>
                <a:gd name="T60" fmla="*/ 713 w 1221"/>
                <a:gd name="T61" fmla="*/ 356 h 709"/>
                <a:gd name="T62" fmla="*/ 616 w 1221"/>
                <a:gd name="T63" fmla="*/ 328 h 709"/>
                <a:gd name="T64" fmla="*/ 739 w 1221"/>
                <a:gd name="T65" fmla="*/ 316 h 709"/>
                <a:gd name="T66" fmla="*/ 406 w 1221"/>
                <a:gd name="T67" fmla="*/ 91 h 709"/>
                <a:gd name="T68" fmla="*/ 178 w 1221"/>
                <a:gd name="T69" fmla="*/ 0 h 709"/>
                <a:gd name="T70" fmla="*/ 37 w 1221"/>
                <a:gd name="T71" fmla="*/ 59 h 709"/>
                <a:gd name="T72" fmla="*/ 0 w 1221"/>
                <a:gd name="T73" fmla="*/ 196 h 709"/>
                <a:gd name="T74" fmla="*/ 12 w 1221"/>
                <a:gd name="T75" fmla="*/ 270 h 709"/>
                <a:gd name="T76" fmla="*/ 38 w 1221"/>
                <a:gd name="T77" fmla="*/ 248 h 709"/>
                <a:gd name="T78" fmla="*/ 73 w 1221"/>
                <a:gd name="T79" fmla="*/ 279 h 709"/>
                <a:gd name="T80" fmla="*/ 58 w 1221"/>
                <a:gd name="T81" fmla="*/ 300 h 709"/>
                <a:gd name="T82" fmla="*/ 90 w 1221"/>
                <a:gd name="T83" fmla="*/ 312 h 709"/>
                <a:gd name="T84" fmla="*/ 123 w 1221"/>
                <a:gd name="T85" fmla="*/ 345 h 709"/>
                <a:gd name="T86" fmla="*/ 70 w 1221"/>
                <a:gd name="T87" fmla="*/ 351 h 709"/>
                <a:gd name="T88" fmla="*/ 80 w 1221"/>
                <a:gd name="T89" fmla="*/ 387 h 709"/>
                <a:gd name="T90" fmla="*/ 71 w 1221"/>
                <a:gd name="T91" fmla="*/ 461 h 709"/>
                <a:gd name="T92" fmla="*/ 116 w 1221"/>
                <a:gd name="T93" fmla="*/ 404 h 709"/>
                <a:gd name="T94" fmla="*/ 194 w 1221"/>
                <a:gd name="T95" fmla="*/ 414 h 709"/>
                <a:gd name="T96" fmla="*/ 226 w 1221"/>
                <a:gd name="T97" fmla="*/ 447 h 70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221" h="709">
                  <a:moveTo>
                    <a:pt x="226" y="447"/>
                  </a:moveTo>
                  <a:lnTo>
                    <a:pt x="299" y="435"/>
                  </a:lnTo>
                  <a:lnTo>
                    <a:pt x="317" y="500"/>
                  </a:lnTo>
                  <a:lnTo>
                    <a:pt x="358" y="493"/>
                  </a:lnTo>
                  <a:lnTo>
                    <a:pt x="415" y="409"/>
                  </a:lnTo>
                  <a:lnTo>
                    <a:pt x="503" y="322"/>
                  </a:lnTo>
                  <a:lnTo>
                    <a:pt x="860" y="709"/>
                  </a:lnTo>
                  <a:lnTo>
                    <a:pt x="932" y="664"/>
                  </a:lnTo>
                  <a:lnTo>
                    <a:pt x="972" y="666"/>
                  </a:lnTo>
                  <a:lnTo>
                    <a:pt x="1039" y="675"/>
                  </a:lnTo>
                  <a:lnTo>
                    <a:pt x="1035" y="701"/>
                  </a:lnTo>
                  <a:lnTo>
                    <a:pt x="1047" y="703"/>
                  </a:lnTo>
                  <a:lnTo>
                    <a:pt x="1073" y="669"/>
                  </a:lnTo>
                  <a:lnTo>
                    <a:pt x="1068" y="617"/>
                  </a:lnTo>
                  <a:lnTo>
                    <a:pt x="1129" y="653"/>
                  </a:lnTo>
                  <a:lnTo>
                    <a:pt x="1160" y="650"/>
                  </a:lnTo>
                  <a:lnTo>
                    <a:pt x="1181" y="630"/>
                  </a:lnTo>
                  <a:lnTo>
                    <a:pt x="1192" y="653"/>
                  </a:lnTo>
                  <a:lnTo>
                    <a:pt x="1221" y="646"/>
                  </a:lnTo>
                  <a:lnTo>
                    <a:pt x="1200" y="448"/>
                  </a:lnTo>
                  <a:lnTo>
                    <a:pt x="1176" y="444"/>
                  </a:lnTo>
                  <a:lnTo>
                    <a:pt x="1189" y="421"/>
                  </a:lnTo>
                  <a:lnTo>
                    <a:pt x="1178" y="415"/>
                  </a:lnTo>
                  <a:lnTo>
                    <a:pt x="1160" y="438"/>
                  </a:lnTo>
                  <a:lnTo>
                    <a:pt x="1151" y="408"/>
                  </a:lnTo>
                  <a:lnTo>
                    <a:pt x="1137" y="407"/>
                  </a:lnTo>
                  <a:lnTo>
                    <a:pt x="1087" y="440"/>
                  </a:lnTo>
                  <a:lnTo>
                    <a:pt x="1089" y="600"/>
                  </a:lnTo>
                  <a:lnTo>
                    <a:pt x="1038" y="563"/>
                  </a:lnTo>
                  <a:lnTo>
                    <a:pt x="954" y="580"/>
                  </a:lnTo>
                  <a:lnTo>
                    <a:pt x="713" y="356"/>
                  </a:lnTo>
                  <a:lnTo>
                    <a:pt x="616" y="328"/>
                  </a:lnTo>
                  <a:lnTo>
                    <a:pt x="739" y="316"/>
                  </a:lnTo>
                  <a:lnTo>
                    <a:pt x="406" y="91"/>
                  </a:lnTo>
                  <a:lnTo>
                    <a:pt x="178" y="0"/>
                  </a:lnTo>
                  <a:lnTo>
                    <a:pt x="37" y="59"/>
                  </a:lnTo>
                  <a:lnTo>
                    <a:pt x="0" y="196"/>
                  </a:lnTo>
                  <a:lnTo>
                    <a:pt x="12" y="270"/>
                  </a:lnTo>
                  <a:lnTo>
                    <a:pt x="38" y="248"/>
                  </a:lnTo>
                  <a:lnTo>
                    <a:pt x="73" y="279"/>
                  </a:lnTo>
                  <a:lnTo>
                    <a:pt x="58" y="300"/>
                  </a:lnTo>
                  <a:lnTo>
                    <a:pt x="90" y="312"/>
                  </a:lnTo>
                  <a:lnTo>
                    <a:pt x="123" y="345"/>
                  </a:lnTo>
                  <a:lnTo>
                    <a:pt x="70" y="351"/>
                  </a:lnTo>
                  <a:lnTo>
                    <a:pt x="80" y="387"/>
                  </a:lnTo>
                  <a:lnTo>
                    <a:pt x="71" y="461"/>
                  </a:lnTo>
                  <a:lnTo>
                    <a:pt x="116" y="404"/>
                  </a:lnTo>
                  <a:lnTo>
                    <a:pt x="194" y="414"/>
                  </a:lnTo>
                  <a:lnTo>
                    <a:pt x="226" y="44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95" name="Freeform 18"/>
            <p:cNvSpPr>
              <a:spLocks/>
            </p:cNvSpPr>
            <p:nvPr/>
          </p:nvSpPr>
          <p:spPr bwMode="auto">
            <a:xfrm>
              <a:off x="2218229" y="5564296"/>
              <a:ext cx="447413" cy="336563"/>
            </a:xfrm>
            <a:custGeom>
              <a:avLst/>
              <a:gdLst>
                <a:gd name="T0" fmla="*/ 151 w 407"/>
                <a:gd name="T1" fmla="*/ 188 h 344"/>
                <a:gd name="T2" fmla="*/ 168 w 407"/>
                <a:gd name="T3" fmla="*/ 202 h 344"/>
                <a:gd name="T4" fmla="*/ 194 w 407"/>
                <a:gd name="T5" fmla="*/ 219 h 344"/>
                <a:gd name="T6" fmla="*/ 184 w 407"/>
                <a:gd name="T7" fmla="*/ 301 h 344"/>
                <a:gd name="T8" fmla="*/ 203 w 407"/>
                <a:gd name="T9" fmla="*/ 305 h 344"/>
                <a:gd name="T10" fmla="*/ 229 w 407"/>
                <a:gd name="T11" fmla="*/ 332 h 344"/>
                <a:gd name="T12" fmla="*/ 255 w 407"/>
                <a:gd name="T13" fmla="*/ 334 h 344"/>
                <a:gd name="T14" fmla="*/ 307 w 407"/>
                <a:gd name="T15" fmla="*/ 308 h 344"/>
                <a:gd name="T16" fmla="*/ 359 w 407"/>
                <a:gd name="T17" fmla="*/ 316 h 344"/>
                <a:gd name="T18" fmla="*/ 355 w 407"/>
                <a:gd name="T19" fmla="*/ 334 h 344"/>
                <a:gd name="T20" fmla="*/ 389 w 407"/>
                <a:gd name="T21" fmla="*/ 344 h 344"/>
                <a:gd name="T22" fmla="*/ 401 w 407"/>
                <a:gd name="T23" fmla="*/ 255 h 344"/>
                <a:gd name="T24" fmla="*/ 376 w 407"/>
                <a:gd name="T25" fmla="*/ 239 h 344"/>
                <a:gd name="T26" fmla="*/ 407 w 407"/>
                <a:gd name="T27" fmla="*/ 45 h 344"/>
                <a:gd name="T28" fmla="*/ 89 w 407"/>
                <a:gd name="T29" fmla="*/ 0 h 344"/>
                <a:gd name="T30" fmla="*/ 0 w 407"/>
                <a:gd name="T31" fmla="*/ 8 h 344"/>
                <a:gd name="T32" fmla="*/ 2 w 407"/>
                <a:gd name="T33" fmla="*/ 18 h 344"/>
                <a:gd name="T34" fmla="*/ 78 w 407"/>
                <a:gd name="T35" fmla="*/ 38 h 344"/>
                <a:gd name="T36" fmla="*/ 149 w 407"/>
                <a:gd name="T37" fmla="*/ 148 h 344"/>
                <a:gd name="T38" fmla="*/ 151 w 407"/>
                <a:gd name="T39" fmla="*/ 188 h 3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407" h="344">
                  <a:moveTo>
                    <a:pt x="151" y="188"/>
                  </a:moveTo>
                  <a:lnTo>
                    <a:pt x="168" y="202"/>
                  </a:lnTo>
                  <a:lnTo>
                    <a:pt x="194" y="219"/>
                  </a:lnTo>
                  <a:lnTo>
                    <a:pt x="184" y="301"/>
                  </a:lnTo>
                  <a:lnTo>
                    <a:pt x="203" y="305"/>
                  </a:lnTo>
                  <a:lnTo>
                    <a:pt x="229" y="332"/>
                  </a:lnTo>
                  <a:lnTo>
                    <a:pt x="255" y="334"/>
                  </a:lnTo>
                  <a:lnTo>
                    <a:pt x="307" y="308"/>
                  </a:lnTo>
                  <a:lnTo>
                    <a:pt x="359" y="316"/>
                  </a:lnTo>
                  <a:lnTo>
                    <a:pt x="355" y="334"/>
                  </a:lnTo>
                  <a:lnTo>
                    <a:pt x="389" y="344"/>
                  </a:lnTo>
                  <a:lnTo>
                    <a:pt x="401" y="255"/>
                  </a:lnTo>
                  <a:lnTo>
                    <a:pt x="376" y="239"/>
                  </a:lnTo>
                  <a:lnTo>
                    <a:pt x="407" y="45"/>
                  </a:lnTo>
                  <a:lnTo>
                    <a:pt x="89" y="0"/>
                  </a:lnTo>
                  <a:lnTo>
                    <a:pt x="0" y="8"/>
                  </a:lnTo>
                  <a:lnTo>
                    <a:pt x="2" y="18"/>
                  </a:lnTo>
                  <a:lnTo>
                    <a:pt x="78" y="38"/>
                  </a:lnTo>
                  <a:lnTo>
                    <a:pt x="149" y="148"/>
                  </a:lnTo>
                  <a:lnTo>
                    <a:pt x="151" y="188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96" name="Freeform 23"/>
            <p:cNvSpPr>
              <a:spLocks/>
            </p:cNvSpPr>
            <p:nvPr/>
          </p:nvSpPr>
          <p:spPr bwMode="auto">
            <a:xfrm>
              <a:off x="991416" y="4226845"/>
              <a:ext cx="922309" cy="756290"/>
            </a:xfrm>
            <a:custGeom>
              <a:avLst/>
              <a:gdLst>
                <a:gd name="T0" fmla="*/ 232 w 839"/>
                <a:gd name="T1" fmla="*/ 677 h 773"/>
                <a:gd name="T2" fmla="*/ 260 w 839"/>
                <a:gd name="T3" fmla="*/ 707 h 773"/>
                <a:gd name="T4" fmla="*/ 302 w 839"/>
                <a:gd name="T5" fmla="*/ 702 h 773"/>
                <a:gd name="T6" fmla="*/ 433 w 839"/>
                <a:gd name="T7" fmla="*/ 773 h 773"/>
                <a:gd name="T8" fmla="*/ 553 w 839"/>
                <a:gd name="T9" fmla="*/ 662 h 773"/>
                <a:gd name="T10" fmla="*/ 552 w 839"/>
                <a:gd name="T11" fmla="*/ 604 h 773"/>
                <a:gd name="T12" fmla="*/ 618 w 839"/>
                <a:gd name="T13" fmla="*/ 499 h 773"/>
                <a:gd name="T14" fmla="*/ 596 w 839"/>
                <a:gd name="T15" fmla="*/ 492 h 773"/>
                <a:gd name="T16" fmla="*/ 604 w 839"/>
                <a:gd name="T17" fmla="*/ 464 h 773"/>
                <a:gd name="T18" fmla="*/ 744 w 839"/>
                <a:gd name="T19" fmla="*/ 477 h 773"/>
                <a:gd name="T20" fmla="*/ 809 w 839"/>
                <a:gd name="T21" fmla="*/ 357 h 773"/>
                <a:gd name="T22" fmla="*/ 784 w 839"/>
                <a:gd name="T23" fmla="*/ 334 h 773"/>
                <a:gd name="T24" fmla="*/ 784 w 839"/>
                <a:gd name="T25" fmla="*/ 267 h 773"/>
                <a:gd name="T26" fmla="*/ 839 w 839"/>
                <a:gd name="T27" fmla="*/ 199 h 773"/>
                <a:gd name="T28" fmla="*/ 715 w 839"/>
                <a:gd name="T29" fmla="*/ 0 h 773"/>
                <a:gd name="T30" fmla="*/ 615 w 839"/>
                <a:gd name="T31" fmla="*/ 19 h 773"/>
                <a:gd name="T32" fmla="*/ 561 w 839"/>
                <a:gd name="T33" fmla="*/ 318 h 773"/>
                <a:gd name="T34" fmla="*/ 259 w 839"/>
                <a:gd name="T35" fmla="*/ 258 h 773"/>
                <a:gd name="T36" fmla="*/ 253 w 839"/>
                <a:gd name="T37" fmla="*/ 320 h 773"/>
                <a:gd name="T38" fmla="*/ 134 w 839"/>
                <a:gd name="T39" fmla="*/ 365 h 773"/>
                <a:gd name="T40" fmla="*/ 127 w 839"/>
                <a:gd name="T41" fmla="*/ 330 h 773"/>
                <a:gd name="T42" fmla="*/ 68 w 839"/>
                <a:gd name="T43" fmla="*/ 309 h 773"/>
                <a:gd name="T44" fmla="*/ 0 w 839"/>
                <a:gd name="T45" fmla="*/ 432 h 773"/>
                <a:gd name="T46" fmla="*/ 20 w 839"/>
                <a:gd name="T47" fmla="*/ 539 h 773"/>
                <a:gd name="T48" fmla="*/ 43 w 839"/>
                <a:gd name="T49" fmla="*/ 641 h 773"/>
                <a:gd name="T50" fmla="*/ 119 w 839"/>
                <a:gd name="T51" fmla="*/ 697 h 773"/>
                <a:gd name="T52" fmla="*/ 163 w 839"/>
                <a:gd name="T53" fmla="*/ 688 h 773"/>
                <a:gd name="T54" fmla="*/ 164 w 839"/>
                <a:gd name="T55" fmla="*/ 652 h 773"/>
                <a:gd name="T56" fmla="*/ 197 w 839"/>
                <a:gd name="T57" fmla="*/ 689 h 773"/>
                <a:gd name="T58" fmla="*/ 218 w 839"/>
                <a:gd name="T59" fmla="*/ 723 h 773"/>
                <a:gd name="T60" fmla="*/ 232 w 839"/>
                <a:gd name="T61" fmla="*/ 677 h 773"/>
                <a:gd name="T62" fmla="*/ 232 w 839"/>
                <a:gd name="T63" fmla="*/ 677 h 7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839" h="773">
                  <a:moveTo>
                    <a:pt x="232" y="677"/>
                  </a:moveTo>
                  <a:lnTo>
                    <a:pt x="260" y="707"/>
                  </a:lnTo>
                  <a:lnTo>
                    <a:pt x="302" y="702"/>
                  </a:lnTo>
                  <a:lnTo>
                    <a:pt x="433" y="773"/>
                  </a:lnTo>
                  <a:lnTo>
                    <a:pt x="553" y="662"/>
                  </a:lnTo>
                  <a:lnTo>
                    <a:pt x="552" y="604"/>
                  </a:lnTo>
                  <a:lnTo>
                    <a:pt x="618" y="499"/>
                  </a:lnTo>
                  <a:lnTo>
                    <a:pt x="596" y="492"/>
                  </a:lnTo>
                  <a:lnTo>
                    <a:pt x="604" y="464"/>
                  </a:lnTo>
                  <a:lnTo>
                    <a:pt x="744" y="477"/>
                  </a:lnTo>
                  <a:lnTo>
                    <a:pt x="809" y="357"/>
                  </a:lnTo>
                  <a:lnTo>
                    <a:pt x="784" y="334"/>
                  </a:lnTo>
                  <a:lnTo>
                    <a:pt x="784" y="267"/>
                  </a:lnTo>
                  <a:lnTo>
                    <a:pt x="839" y="199"/>
                  </a:lnTo>
                  <a:lnTo>
                    <a:pt x="715" y="0"/>
                  </a:lnTo>
                  <a:lnTo>
                    <a:pt x="615" y="19"/>
                  </a:lnTo>
                  <a:lnTo>
                    <a:pt x="561" y="318"/>
                  </a:lnTo>
                  <a:lnTo>
                    <a:pt x="259" y="258"/>
                  </a:lnTo>
                  <a:lnTo>
                    <a:pt x="253" y="320"/>
                  </a:lnTo>
                  <a:lnTo>
                    <a:pt x="134" y="365"/>
                  </a:lnTo>
                  <a:lnTo>
                    <a:pt x="127" y="330"/>
                  </a:lnTo>
                  <a:lnTo>
                    <a:pt x="68" y="309"/>
                  </a:lnTo>
                  <a:lnTo>
                    <a:pt x="0" y="432"/>
                  </a:lnTo>
                  <a:lnTo>
                    <a:pt x="20" y="539"/>
                  </a:lnTo>
                  <a:lnTo>
                    <a:pt x="43" y="641"/>
                  </a:lnTo>
                  <a:lnTo>
                    <a:pt x="119" y="697"/>
                  </a:lnTo>
                  <a:lnTo>
                    <a:pt x="163" y="688"/>
                  </a:lnTo>
                  <a:lnTo>
                    <a:pt x="164" y="652"/>
                  </a:lnTo>
                  <a:lnTo>
                    <a:pt x="197" y="689"/>
                  </a:lnTo>
                  <a:lnTo>
                    <a:pt x="218" y="723"/>
                  </a:lnTo>
                  <a:lnTo>
                    <a:pt x="232" y="677"/>
                  </a:lnTo>
                  <a:lnTo>
                    <a:pt x="232" y="67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97" name="Freeform 24"/>
            <p:cNvSpPr>
              <a:spLocks/>
            </p:cNvSpPr>
            <p:nvPr/>
          </p:nvSpPr>
          <p:spPr bwMode="auto">
            <a:xfrm>
              <a:off x="1846667" y="4424479"/>
              <a:ext cx="272626" cy="344389"/>
            </a:xfrm>
            <a:custGeom>
              <a:avLst/>
              <a:gdLst>
                <a:gd name="T0" fmla="*/ 33 w 248"/>
                <a:gd name="T1" fmla="*/ 163 h 352"/>
                <a:gd name="T2" fmla="*/ 109 w 248"/>
                <a:gd name="T3" fmla="*/ 206 h 352"/>
                <a:gd name="T4" fmla="*/ 106 w 248"/>
                <a:gd name="T5" fmla="*/ 265 h 352"/>
                <a:gd name="T6" fmla="*/ 116 w 248"/>
                <a:gd name="T7" fmla="*/ 307 h 352"/>
                <a:gd name="T8" fmla="*/ 128 w 248"/>
                <a:gd name="T9" fmla="*/ 330 h 352"/>
                <a:gd name="T10" fmla="*/ 212 w 248"/>
                <a:gd name="T11" fmla="*/ 352 h 352"/>
                <a:gd name="T12" fmla="*/ 248 w 248"/>
                <a:gd name="T13" fmla="*/ 273 h 352"/>
                <a:gd name="T14" fmla="*/ 57 w 248"/>
                <a:gd name="T15" fmla="*/ 0 h 352"/>
                <a:gd name="T16" fmla="*/ 3 w 248"/>
                <a:gd name="T17" fmla="*/ 61 h 352"/>
                <a:gd name="T18" fmla="*/ 0 w 248"/>
                <a:gd name="T19" fmla="*/ 130 h 352"/>
                <a:gd name="T20" fmla="*/ 33 w 248"/>
                <a:gd name="T21" fmla="*/ 163 h 352"/>
                <a:gd name="T22" fmla="*/ 33 w 248"/>
                <a:gd name="T23" fmla="*/ 163 h 3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48" h="352">
                  <a:moveTo>
                    <a:pt x="33" y="163"/>
                  </a:moveTo>
                  <a:lnTo>
                    <a:pt x="109" y="206"/>
                  </a:lnTo>
                  <a:lnTo>
                    <a:pt x="106" y="265"/>
                  </a:lnTo>
                  <a:lnTo>
                    <a:pt x="116" y="307"/>
                  </a:lnTo>
                  <a:lnTo>
                    <a:pt x="128" y="330"/>
                  </a:lnTo>
                  <a:lnTo>
                    <a:pt x="212" y="352"/>
                  </a:lnTo>
                  <a:lnTo>
                    <a:pt x="248" y="273"/>
                  </a:lnTo>
                  <a:lnTo>
                    <a:pt x="57" y="0"/>
                  </a:lnTo>
                  <a:lnTo>
                    <a:pt x="3" y="61"/>
                  </a:lnTo>
                  <a:lnTo>
                    <a:pt x="0" y="130"/>
                  </a:lnTo>
                  <a:lnTo>
                    <a:pt x="33" y="163"/>
                  </a:lnTo>
                  <a:lnTo>
                    <a:pt x="33" y="16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98" name="Freeform 25"/>
            <p:cNvSpPr>
              <a:spLocks/>
            </p:cNvSpPr>
            <p:nvPr/>
          </p:nvSpPr>
          <p:spPr bwMode="auto">
            <a:xfrm>
              <a:off x="1390460" y="4581020"/>
              <a:ext cx="1150960" cy="855106"/>
            </a:xfrm>
            <a:custGeom>
              <a:avLst/>
              <a:gdLst>
                <a:gd name="T0" fmla="*/ 456 w 1047"/>
                <a:gd name="T1" fmla="*/ 779 h 874"/>
                <a:gd name="T2" fmla="*/ 423 w 1047"/>
                <a:gd name="T3" fmla="*/ 755 h 874"/>
                <a:gd name="T4" fmla="*/ 397 w 1047"/>
                <a:gd name="T5" fmla="*/ 755 h 874"/>
                <a:gd name="T6" fmla="*/ 347 w 1047"/>
                <a:gd name="T7" fmla="*/ 735 h 874"/>
                <a:gd name="T8" fmla="*/ 325 w 1047"/>
                <a:gd name="T9" fmla="*/ 735 h 874"/>
                <a:gd name="T10" fmla="*/ 278 w 1047"/>
                <a:gd name="T11" fmla="*/ 791 h 874"/>
                <a:gd name="T12" fmla="*/ 243 w 1047"/>
                <a:gd name="T13" fmla="*/ 729 h 874"/>
                <a:gd name="T14" fmla="*/ 188 w 1047"/>
                <a:gd name="T15" fmla="*/ 764 h 874"/>
                <a:gd name="T16" fmla="*/ 200 w 1047"/>
                <a:gd name="T17" fmla="*/ 691 h 874"/>
                <a:gd name="T18" fmla="*/ 186 w 1047"/>
                <a:gd name="T19" fmla="*/ 662 h 874"/>
                <a:gd name="T20" fmla="*/ 138 w 1047"/>
                <a:gd name="T21" fmla="*/ 631 h 874"/>
                <a:gd name="T22" fmla="*/ 122 w 1047"/>
                <a:gd name="T23" fmla="*/ 593 h 874"/>
                <a:gd name="T24" fmla="*/ 58 w 1047"/>
                <a:gd name="T25" fmla="*/ 550 h 874"/>
                <a:gd name="T26" fmla="*/ 50 w 1047"/>
                <a:gd name="T27" fmla="*/ 497 h 874"/>
                <a:gd name="T28" fmla="*/ 0 w 1047"/>
                <a:gd name="T29" fmla="*/ 506 h 874"/>
                <a:gd name="T30" fmla="*/ 44 w 1047"/>
                <a:gd name="T31" fmla="*/ 405 h 874"/>
                <a:gd name="T32" fmla="*/ 70 w 1047"/>
                <a:gd name="T33" fmla="*/ 411 h 874"/>
                <a:gd name="T34" fmla="*/ 190 w 1047"/>
                <a:gd name="T35" fmla="*/ 297 h 874"/>
                <a:gd name="T36" fmla="*/ 185 w 1047"/>
                <a:gd name="T37" fmla="*/ 235 h 874"/>
                <a:gd name="T38" fmla="*/ 258 w 1047"/>
                <a:gd name="T39" fmla="*/ 139 h 874"/>
                <a:gd name="T40" fmla="*/ 232 w 1047"/>
                <a:gd name="T41" fmla="*/ 128 h 874"/>
                <a:gd name="T42" fmla="*/ 237 w 1047"/>
                <a:gd name="T43" fmla="*/ 102 h 874"/>
                <a:gd name="T44" fmla="*/ 382 w 1047"/>
                <a:gd name="T45" fmla="*/ 111 h 874"/>
                <a:gd name="T46" fmla="*/ 447 w 1047"/>
                <a:gd name="T47" fmla="*/ 0 h 874"/>
                <a:gd name="T48" fmla="*/ 529 w 1047"/>
                <a:gd name="T49" fmla="*/ 50 h 874"/>
                <a:gd name="T50" fmla="*/ 521 w 1047"/>
                <a:gd name="T51" fmla="*/ 131 h 874"/>
                <a:gd name="T52" fmla="*/ 541 w 1047"/>
                <a:gd name="T53" fmla="*/ 168 h 874"/>
                <a:gd name="T54" fmla="*/ 621 w 1047"/>
                <a:gd name="T55" fmla="*/ 199 h 874"/>
                <a:gd name="T56" fmla="*/ 667 w 1047"/>
                <a:gd name="T57" fmla="*/ 123 h 874"/>
                <a:gd name="T58" fmla="*/ 984 w 1047"/>
                <a:gd name="T59" fmla="*/ 375 h 874"/>
                <a:gd name="T60" fmla="*/ 1047 w 1047"/>
                <a:gd name="T61" fmla="*/ 626 h 874"/>
                <a:gd name="T62" fmla="*/ 1004 w 1047"/>
                <a:gd name="T63" fmla="*/ 691 h 874"/>
                <a:gd name="T64" fmla="*/ 586 w 1047"/>
                <a:gd name="T65" fmla="*/ 874 h 874"/>
                <a:gd name="T66" fmla="*/ 557 w 1047"/>
                <a:gd name="T67" fmla="*/ 827 h 874"/>
                <a:gd name="T68" fmla="*/ 532 w 1047"/>
                <a:gd name="T69" fmla="*/ 825 h 874"/>
                <a:gd name="T70" fmla="*/ 533 w 1047"/>
                <a:gd name="T71" fmla="*/ 792 h 874"/>
                <a:gd name="T72" fmla="*/ 456 w 1047"/>
                <a:gd name="T73" fmla="*/ 779 h 874"/>
                <a:gd name="T74" fmla="*/ 456 w 1047"/>
                <a:gd name="T75" fmla="*/ 779 h 874"/>
                <a:gd name="T76" fmla="*/ 456 w 1047"/>
                <a:gd name="T77" fmla="*/ 779 h 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47" h="874">
                  <a:moveTo>
                    <a:pt x="456" y="779"/>
                  </a:moveTo>
                  <a:lnTo>
                    <a:pt x="423" y="755"/>
                  </a:lnTo>
                  <a:lnTo>
                    <a:pt x="397" y="755"/>
                  </a:lnTo>
                  <a:lnTo>
                    <a:pt x="347" y="735"/>
                  </a:lnTo>
                  <a:lnTo>
                    <a:pt x="325" y="735"/>
                  </a:lnTo>
                  <a:lnTo>
                    <a:pt x="278" y="791"/>
                  </a:lnTo>
                  <a:lnTo>
                    <a:pt x="243" y="729"/>
                  </a:lnTo>
                  <a:lnTo>
                    <a:pt x="188" y="764"/>
                  </a:lnTo>
                  <a:lnTo>
                    <a:pt x="200" y="691"/>
                  </a:lnTo>
                  <a:lnTo>
                    <a:pt x="186" y="662"/>
                  </a:lnTo>
                  <a:lnTo>
                    <a:pt x="138" y="631"/>
                  </a:lnTo>
                  <a:lnTo>
                    <a:pt x="122" y="593"/>
                  </a:lnTo>
                  <a:lnTo>
                    <a:pt x="58" y="550"/>
                  </a:lnTo>
                  <a:lnTo>
                    <a:pt x="50" y="497"/>
                  </a:lnTo>
                  <a:lnTo>
                    <a:pt x="0" y="506"/>
                  </a:lnTo>
                  <a:lnTo>
                    <a:pt x="44" y="405"/>
                  </a:lnTo>
                  <a:lnTo>
                    <a:pt x="70" y="411"/>
                  </a:lnTo>
                  <a:lnTo>
                    <a:pt x="190" y="297"/>
                  </a:lnTo>
                  <a:lnTo>
                    <a:pt x="185" y="235"/>
                  </a:lnTo>
                  <a:lnTo>
                    <a:pt x="258" y="139"/>
                  </a:lnTo>
                  <a:lnTo>
                    <a:pt x="232" y="128"/>
                  </a:lnTo>
                  <a:lnTo>
                    <a:pt x="237" y="102"/>
                  </a:lnTo>
                  <a:lnTo>
                    <a:pt x="382" y="111"/>
                  </a:lnTo>
                  <a:lnTo>
                    <a:pt x="447" y="0"/>
                  </a:lnTo>
                  <a:lnTo>
                    <a:pt x="529" y="50"/>
                  </a:lnTo>
                  <a:lnTo>
                    <a:pt x="521" y="131"/>
                  </a:lnTo>
                  <a:lnTo>
                    <a:pt x="541" y="168"/>
                  </a:lnTo>
                  <a:lnTo>
                    <a:pt x="621" y="199"/>
                  </a:lnTo>
                  <a:lnTo>
                    <a:pt x="667" y="123"/>
                  </a:lnTo>
                  <a:lnTo>
                    <a:pt x="984" y="375"/>
                  </a:lnTo>
                  <a:lnTo>
                    <a:pt x="1047" y="626"/>
                  </a:lnTo>
                  <a:lnTo>
                    <a:pt x="1004" y="691"/>
                  </a:lnTo>
                  <a:lnTo>
                    <a:pt x="586" y="874"/>
                  </a:lnTo>
                  <a:lnTo>
                    <a:pt x="557" y="827"/>
                  </a:lnTo>
                  <a:lnTo>
                    <a:pt x="532" y="825"/>
                  </a:lnTo>
                  <a:lnTo>
                    <a:pt x="533" y="792"/>
                  </a:lnTo>
                  <a:lnTo>
                    <a:pt x="456" y="779"/>
                  </a:lnTo>
                  <a:lnTo>
                    <a:pt x="456" y="779"/>
                  </a:lnTo>
                  <a:lnTo>
                    <a:pt x="456" y="779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99" name="Freeform 26"/>
            <p:cNvSpPr>
              <a:spLocks/>
            </p:cNvSpPr>
            <p:nvPr/>
          </p:nvSpPr>
          <p:spPr bwMode="auto">
            <a:xfrm>
              <a:off x="1124432" y="3571330"/>
              <a:ext cx="784896" cy="491146"/>
            </a:xfrm>
            <a:custGeom>
              <a:avLst/>
              <a:gdLst>
                <a:gd name="T0" fmla="*/ 1028 w 2144"/>
                <a:gd name="T1" fmla="*/ 817 h 1507"/>
                <a:gd name="T2" fmla="*/ 1098 w 2144"/>
                <a:gd name="T3" fmla="*/ 939 h 1507"/>
                <a:gd name="T4" fmla="*/ 1065 w 2144"/>
                <a:gd name="T5" fmla="*/ 973 h 1507"/>
                <a:gd name="T6" fmla="*/ 1054 w 2144"/>
                <a:gd name="T7" fmla="*/ 972 h 1507"/>
                <a:gd name="T8" fmla="*/ 984 w 2144"/>
                <a:gd name="T9" fmla="*/ 976 h 1507"/>
                <a:gd name="T10" fmla="*/ 864 w 2144"/>
                <a:gd name="T11" fmla="*/ 973 h 1507"/>
                <a:gd name="T12" fmla="*/ 857 w 2144"/>
                <a:gd name="T13" fmla="*/ 725 h 1507"/>
                <a:gd name="T14" fmla="*/ 844 w 2144"/>
                <a:gd name="T15" fmla="*/ 645 h 1507"/>
                <a:gd name="T16" fmla="*/ 799 w 2144"/>
                <a:gd name="T17" fmla="*/ 608 h 1507"/>
                <a:gd name="T18" fmla="*/ 774 w 2144"/>
                <a:gd name="T19" fmla="*/ 615 h 1507"/>
                <a:gd name="T20" fmla="*/ 759 w 2144"/>
                <a:gd name="T21" fmla="*/ 620 h 1507"/>
                <a:gd name="T22" fmla="*/ 743 w 2144"/>
                <a:gd name="T23" fmla="*/ 623 h 1507"/>
                <a:gd name="T24" fmla="*/ 635 w 2144"/>
                <a:gd name="T25" fmla="*/ 674 h 1507"/>
                <a:gd name="T26" fmla="*/ 661 w 2144"/>
                <a:gd name="T27" fmla="*/ 699 h 1507"/>
                <a:gd name="T28" fmla="*/ 697 w 2144"/>
                <a:gd name="T29" fmla="*/ 712 h 1507"/>
                <a:gd name="T30" fmla="*/ 681 w 2144"/>
                <a:gd name="T31" fmla="*/ 757 h 1507"/>
                <a:gd name="T32" fmla="*/ 693 w 2144"/>
                <a:gd name="T33" fmla="*/ 785 h 1507"/>
                <a:gd name="T34" fmla="*/ 707 w 2144"/>
                <a:gd name="T35" fmla="*/ 820 h 1507"/>
                <a:gd name="T36" fmla="*/ 673 w 2144"/>
                <a:gd name="T37" fmla="*/ 847 h 1507"/>
                <a:gd name="T38" fmla="*/ 649 w 2144"/>
                <a:gd name="T39" fmla="*/ 854 h 1507"/>
                <a:gd name="T40" fmla="*/ 654 w 2144"/>
                <a:gd name="T41" fmla="*/ 877 h 1507"/>
                <a:gd name="T42" fmla="*/ 585 w 2144"/>
                <a:gd name="T43" fmla="*/ 886 h 1507"/>
                <a:gd name="T44" fmla="*/ 490 w 2144"/>
                <a:gd name="T45" fmla="*/ 893 h 1507"/>
                <a:gd name="T46" fmla="*/ 497 w 2144"/>
                <a:gd name="T47" fmla="*/ 779 h 1507"/>
                <a:gd name="T48" fmla="*/ 423 w 2144"/>
                <a:gd name="T49" fmla="*/ 900 h 1507"/>
                <a:gd name="T50" fmla="*/ 310 w 2144"/>
                <a:gd name="T51" fmla="*/ 941 h 1507"/>
                <a:gd name="T52" fmla="*/ 292 w 2144"/>
                <a:gd name="T53" fmla="*/ 1168 h 1507"/>
                <a:gd name="T54" fmla="*/ 271 w 2144"/>
                <a:gd name="T55" fmla="*/ 1190 h 1507"/>
                <a:gd name="T56" fmla="*/ 218 w 2144"/>
                <a:gd name="T57" fmla="*/ 1224 h 1507"/>
                <a:gd name="T58" fmla="*/ 198 w 2144"/>
                <a:gd name="T59" fmla="*/ 1165 h 1507"/>
                <a:gd name="T60" fmla="*/ 172 w 2144"/>
                <a:gd name="T61" fmla="*/ 1094 h 1507"/>
                <a:gd name="T62" fmla="*/ 82 w 2144"/>
                <a:gd name="T63" fmla="*/ 1223 h 1507"/>
                <a:gd name="T64" fmla="*/ 127 w 2144"/>
                <a:gd name="T65" fmla="*/ 1303 h 1507"/>
                <a:gd name="T66" fmla="*/ 130 w 2144"/>
                <a:gd name="T67" fmla="*/ 1312 h 1507"/>
                <a:gd name="T68" fmla="*/ 40 w 2144"/>
                <a:gd name="T69" fmla="*/ 1304 h 1507"/>
                <a:gd name="T70" fmla="*/ 50 w 2144"/>
                <a:gd name="T71" fmla="*/ 1271 h 1507"/>
                <a:gd name="T72" fmla="*/ 72 w 2144"/>
                <a:gd name="T73" fmla="*/ 1375 h 1507"/>
                <a:gd name="T74" fmla="*/ 125 w 2144"/>
                <a:gd name="T75" fmla="*/ 1402 h 1507"/>
                <a:gd name="T76" fmla="*/ 392 w 2144"/>
                <a:gd name="T77" fmla="*/ 1457 h 1507"/>
                <a:gd name="T78" fmla="*/ 556 w 2144"/>
                <a:gd name="T79" fmla="*/ 1333 h 1507"/>
                <a:gd name="T80" fmla="*/ 484 w 2144"/>
                <a:gd name="T81" fmla="*/ 1265 h 1507"/>
                <a:gd name="T82" fmla="*/ 508 w 2144"/>
                <a:gd name="T83" fmla="*/ 1212 h 1507"/>
                <a:gd name="T84" fmla="*/ 507 w 2144"/>
                <a:gd name="T85" fmla="*/ 1173 h 1507"/>
                <a:gd name="T86" fmla="*/ 548 w 2144"/>
                <a:gd name="T87" fmla="*/ 1133 h 1507"/>
                <a:gd name="T88" fmla="*/ 632 w 2144"/>
                <a:gd name="T89" fmla="*/ 1139 h 1507"/>
                <a:gd name="T90" fmla="*/ 752 w 2144"/>
                <a:gd name="T91" fmla="*/ 1156 h 1507"/>
                <a:gd name="T92" fmla="*/ 948 w 2144"/>
                <a:gd name="T93" fmla="*/ 1073 h 1507"/>
                <a:gd name="T94" fmla="*/ 959 w 2144"/>
                <a:gd name="T95" fmla="*/ 1066 h 1507"/>
                <a:gd name="T96" fmla="*/ 991 w 2144"/>
                <a:gd name="T97" fmla="*/ 1037 h 1507"/>
                <a:gd name="T98" fmla="*/ 1129 w 2144"/>
                <a:gd name="T99" fmla="*/ 994 h 1507"/>
                <a:gd name="T100" fmla="*/ 1157 w 2144"/>
                <a:gd name="T101" fmla="*/ 942 h 1507"/>
                <a:gd name="T102" fmla="*/ 1174 w 2144"/>
                <a:gd name="T103" fmla="*/ 987 h 1507"/>
                <a:gd name="T104" fmla="*/ 1246 w 2144"/>
                <a:gd name="T105" fmla="*/ 950 h 1507"/>
                <a:gd name="T106" fmla="*/ 1575 w 2144"/>
                <a:gd name="T107" fmla="*/ 764 h 1507"/>
                <a:gd name="T108" fmla="*/ 1444 w 2144"/>
                <a:gd name="T109" fmla="*/ 95 h 1507"/>
                <a:gd name="T110" fmla="*/ 1012 w 2144"/>
                <a:gd name="T111" fmla="*/ 580 h 1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4" h="1507">
                  <a:moveTo>
                    <a:pt x="1126" y="741"/>
                  </a:moveTo>
                  <a:cubicBezTo>
                    <a:pt x="1128" y="740"/>
                    <a:pt x="1128" y="741"/>
                    <a:pt x="1126" y="741"/>
                  </a:cubicBezTo>
                  <a:cubicBezTo>
                    <a:pt x="1126" y="741"/>
                    <a:pt x="1126" y="741"/>
                    <a:pt x="1126" y="741"/>
                  </a:cubicBezTo>
                  <a:cubicBezTo>
                    <a:pt x="1124" y="743"/>
                    <a:pt x="1117" y="745"/>
                    <a:pt x="1105" y="751"/>
                  </a:cubicBezTo>
                  <a:cubicBezTo>
                    <a:pt x="1104" y="752"/>
                    <a:pt x="1104" y="752"/>
                    <a:pt x="1104" y="752"/>
                  </a:cubicBezTo>
                  <a:cubicBezTo>
                    <a:pt x="1027" y="798"/>
                    <a:pt x="1027" y="798"/>
                    <a:pt x="1027" y="798"/>
                  </a:cubicBezTo>
                  <a:cubicBezTo>
                    <a:pt x="1033" y="810"/>
                    <a:pt x="1033" y="810"/>
                    <a:pt x="1033" y="810"/>
                  </a:cubicBezTo>
                  <a:cubicBezTo>
                    <a:pt x="1028" y="817"/>
                    <a:pt x="1028" y="817"/>
                    <a:pt x="1028" y="817"/>
                  </a:cubicBezTo>
                  <a:cubicBezTo>
                    <a:pt x="1064" y="836"/>
                    <a:pt x="1064" y="836"/>
                    <a:pt x="1064" y="836"/>
                  </a:cubicBezTo>
                  <a:cubicBezTo>
                    <a:pt x="1059" y="842"/>
                    <a:pt x="1059" y="842"/>
                    <a:pt x="1059" y="842"/>
                  </a:cubicBezTo>
                  <a:cubicBezTo>
                    <a:pt x="1065" y="846"/>
                    <a:pt x="1065" y="846"/>
                    <a:pt x="1065" y="846"/>
                  </a:cubicBezTo>
                  <a:cubicBezTo>
                    <a:pt x="1060" y="856"/>
                    <a:pt x="1060" y="856"/>
                    <a:pt x="1060" y="856"/>
                  </a:cubicBezTo>
                  <a:cubicBezTo>
                    <a:pt x="1050" y="868"/>
                    <a:pt x="1050" y="868"/>
                    <a:pt x="1050" y="868"/>
                  </a:cubicBezTo>
                  <a:cubicBezTo>
                    <a:pt x="1041" y="878"/>
                    <a:pt x="1041" y="878"/>
                    <a:pt x="1041" y="878"/>
                  </a:cubicBezTo>
                  <a:cubicBezTo>
                    <a:pt x="1078" y="918"/>
                    <a:pt x="1078" y="918"/>
                    <a:pt x="1078" y="918"/>
                  </a:cubicBezTo>
                  <a:cubicBezTo>
                    <a:pt x="1098" y="939"/>
                    <a:pt x="1098" y="939"/>
                    <a:pt x="1098" y="939"/>
                  </a:cubicBezTo>
                  <a:cubicBezTo>
                    <a:pt x="1093" y="942"/>
                    <a:pt x="1093" y="942"/>
                    <a:pt x="1093" y="942"/>
                  </a:cubicBezTo>
                  <a:cubicBezTo>
                    <a:pt x="1095" y="943"/>
                    <a:pt x="1095" y="943"/>
                    <a:pt x="1095" y="943"/>
                  </a:cubicBezTo>
                  <a:cubicBezTo>
                    <a:pt x="1086" y="951"/>
                    <a:pt x="1086" y="951"/>
                    <a:pt x="1086" y="951"/>
                  </a:cubicBezTo>
                  <a:cubicBezTo>
                    <a:pt x="1080" y="956"/>
                    <a:pt x="1080" y="956"/>
                    <a:pt x="1080" y="956"/>
                  </a:cubicBezTo>
                  <a:cubicBezTo>
                    <a:pt x="1081" y="957"/>
                    <a:pt x="1081" y="957"/>
                    <a:pt x="1081" y="957"/>
                  </a:cubicBezTo>
                  <a:cubicBezTo>
                    <a:pt x="1082" y="957"/>
                    <a:pt x="1082" y="957"/>
                    <a:pt x="1082" y="957"/>
                  </a:cubicBezTo>
                  <a:cubicBezTo>
                    <a:pt x="1082" y="959"/>
                    <a:pt x="1082" y="959"/>
                    <a:pt x="1082" y="959"/>
                  </a:cubicBezTo>
                  <a:cubicBezTo>
                    <a:pt x="1065" y="973"/>
                    <a:pt x="1065" y="973"/>
                    <a:pt x="1065" y="973"/>
                  </a:cubicBezTo>
                  <a:cubicBezTo>
                    <a:pt x="1063" y="974"/>
                    <a:pt x="1063" y="974"/>
                    <a:pt x="1063" y="974"/>
                  </a:cubicBezTo>
                  <a:cubicBezTo>
                    <a:pt x="1061" y="974"/>
                    <a:pt x="1061" y="974"/>
                    <a:pt x="1061" y="974"/>
                  </a:cubicBezTo>
                  <a:cubicBezTo>
                    <a:pt x="1059" y="973"/>
                    <a:pt x="1059" y="973"/>
                    <a:pt x="1059" y="973"/>
                  </a:cubicBezTo>
                  <a:cubicBezTo>
                    <a:pt x="1058" y="973"/>
                    <a:pt x="1058" y="973"/>
                    <a:pt x="1058" y="973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4" y="972"/>
                    <a:pt x="1054" y="972"/>
                    <a:pt x="1054" y="972"/>
                  </a:cubicBezTo>
                  <a:cubicBezTo>
                    <a:pt x="1055" y="974"/>
                    <a:pt x="1055" y="974"/>
                    <a:pt x="1055" y="974"/>
                  </a:cubicBezTo>
                  <a:cubicBezTo>
                    <a:pt x="1054" y="976"/>
                    <a:pt x="1054" y="976"/>
                    <a:pt x="1054" y="976"/>
                  </a:cubicBezTo>
                  <a:cubicBezTo>
                    <a:pt x="1052" y="974"/>
                    <a:pt x="1052" y="974"/>
                    <a:pt x="1052" y="974"/>
                  </a:cubicBezTo>
                  <a:cubicBezTo>
                    <a:pt x="1048" y="967"/>
                    <a:pt x="1048" y="967"/>
                    <a:pt x="1048" y="967"/>
                  </a:cubicBezTo>
                  <a:cubicBezTo>
                    <a:pt x="1046" y="968"/>
                    <a:pt x="1046" y="968"/>
                    <a:pt x="1046" y="968"/>
                  </a:cubicBezTo>
                  <a:cubicBezTo>
                    <a:pt x="1025" y="945"/>
                    <a:pt x="1025" y="945"/>
                    <a:pt x="1025" y="945"/>
                  </a:cubicBezTo>
                  <a:cubicBezTo>
                    <a:pt x="1004" y="960"/>
                    <a:pt x="1004" y="960"/>
                    <a:pt x="1004" y="960"/>
                  </a:cubicBezTo>
                  <a:cubicBezTo>
                    <a:pt x="984" y="976"/>
                    <a:pt x="984" y="976"/>
                    <a:pt x="984" y="976"/>
                  </a:cubicBezTo>
                  <a:cubicBezTo>
                    <a:pt x="928" y="934"/>
                    <a:pt x="928" y="934"/>
                    <a:pt x="928" y="934"/>
                  </a:cubicBezTo>
                  <a:cubicBezTo>
                    <a:pt x="899" y="954"/>
                    <a:pt x="899" y="954"/>
                    <a:pt x="899" y="954"/>
                  </a:cubicBezTo>
                  <a:cubicBezTo>
                    <a:pt x="878" y="970"/>
                    <a:pt x="878" y="970"/>
                    <a:pt x="878" y="970"/>
                  </a:cubicBezTo>
                  <a:cubicBezTo>
                    <a:pt x="886" y="979"/>
                    <a:pt x="886" y="979"/>
                    <a:pt x="886" y="979"/>
                  </a:cubicBezTo>
                  <a:cubicBezTo>
                    <a:pt x="880" y="983"/>
                    <a:pt x="880" y="983"/>
                    <a:pt x="880" y="983"/>
                  </a:cubicBezTo>
                  <a:cubicBezTo>
                    <a:pt x="873" y="974"/>
                    <a:pt x="873" y="974"/>
                    <a:pt x="873" y="974"/>
                  </a:cubicBezTo>
                  <a:cubicBezTo>
                    <a:pt x="864" y="981"/>
                    <a:pt x="864" y="981"/>
                    <a:pt x="864" y="981"/>
                  </a:cubicBezTo>
                  <a:cubicBezTo>
                    <a:pt x="864" y="973"/>
                    <a:pt x="864" y="973"/>
                    <a:pt x="864" y="973"/>
                  </a:cubicBezTo>
                  <a:cubicBezTo>
                    <a:pt x="862" y="919"/>
                    <a:pt x="862" y="919"/>
                    <a:pt x="862" y="919"/>
                  </a:cubicBezTo>
                  <a:cubicBezTo>
                    <a:pt x="861" y="898"/>
                    <a:pt x="861" y="898"/>
                    <a:pt x="861" y="898"/>
                  </a:cubicBezTo>
                  <a:cubicBezTo>
                    <a:pt x="859" y="838"/>
                    <a:pt x="859" y="838"/>
                    <a:pt x="859" y="838"/>
                  </a:cubicBezTo>
                  <a:cubicBezTo>
                    <a:pt x="859" y="802"/>
                    <a:pt x="859" y="802"/>
                    <a:pt x="859" y="802"/>
                  </a:cubicBezTo>
                  <a:cubicBezTo>
                    <a:pt x="858" y="785"/>
                    <a:pt x="858" y="785"/>
                    <a:pt x="858" y="785"/>
                  </a:cubicBezTo>
                  <a:cubicBezTo>
                    <a:pt x="857" y="752"/>
                    <a:pt x="857" y="752"/>
                    <a:pt x="857" y="752"/>
                  </a:cubicBezTo>
                  <a:cubicBezTo>
                    <a:pt x="857" y="736"/>
                    <a:pt x="857" y="736"/>
                    <a:pt x="857" y="736"/>
                  </a:cubicBezTo>
                  <a:cubicBezTo>
                    <a:pt x="857" y="725"/>
                    <a:pt x="857" y="725"/>
                    <a:pt x="857" y="725"/>
                  </a:cubicBezTo>
                  <a:cubicBezTo>
                    <a:pt x="857" y="725"/>
                    <a:pt x="857" y="725"/>
                    <a:pt x="857" y="725"/>
                  </a:cubicBezTo>
                  <a:cubicBezTo>
                    <a:pt x="855" y="696"/>
                    <a:pt x="855" y="696"/>
                    <a:pt x="855" y="696"/>
                  </a:cubicBezTo>
                  <a:cubicBezTo>
                    <a:pt x="855" y="684"/>
                    <a:pt x="855" y="684"/>
                    <a:pt x="855" y="684"/>
                  </a:cubicBezTo>
                  <a:cubicBezTo>
                    <a:pt x="855" y="679"/>
                    <a:pt x="855" y="679"/>
                    <a:pt x="855" y="679"/>
                  </a:cubicBezTo>
                  <a:cubicBezTo>
                    <a:pt x="854" y="674"/>
                    <a:pt x="854" y="674"/>
                    <a:pt x="854" y="674"/>
                  </a:cubicBezTo>
                  <a:cubicBezTo>
                    <a:pt x="852" y="662"/>
                    <a:pt x="852" y="662"/>
                    <a:pt x="852" y="662"/>
                  </a:cubicBezTo>
                  <a:cubicBezTo>
                    <a:pt x="845" y="645"/>
                    <a:pt x="845" y="645"/>
                    <a:pt x="845" y="645"/>
                  </a:cubicBezTo>
                  <a:cubicBezTo>
                    <a:pt x="844" y="645"/>
                    <a:pt x="844" y="645"/>
                    <a:pt x="844" y="645"/>
                  </a:cubicBezTo>
                  <a:cubicBezTo>
                    <a:pt x="839" y="629"/>
                    <a:pt x="839" y="629"/>
                    <a:pt x="839" y="629"/>
                  </a:cubicBezTo>
                  <a:cubicBezTo>
                    <a:pt x="830" y="630"/>
                    <a:pt x="830" y="630"/>
                    <a:pt x="830" y="630"/>
                  </a:cubicBezTo>
                  <a:cubicBezTo>
                    <a:pt x="818" y="607"/>
                    <a:pt x="818" y="607"/>
                    <a:pt x="818" y="607"/>
                  </a:cubicBezTo>
                  <a:cubicBezTo>
                    <a:pt x="817" y="602"/>
                    <a:pt x="817" y="602"/>
                    <a:pt x="817" y="602"/>
                  </a:cubicBezTo>
                  <a:cubicBezTo>
                    <a:pt x="817" y="602"/>
                    <a:pt x="817" y="602"/>
                    <a:pt x="817" y="602"/>
                  </a:cubicBezTo>
                  <a:cubicBezTo>
                    <a:pt x="812" y="603"/>
                    <a:pt x="812" y="603"/>
                    <a:pt x="812" y="603"/>
                  </a:cubicBezTo>
                  <a:cubicBezTo>
                    <a:pt x="811" y="605"/>
                    <a:pt x="811" y="605"/>
                    <a:pt x="811" y="605"/>
                  </a:cubicBezTo>
                  <a:cubicBezTo>
                    <a:pt x="799" y="608"/>
                    <a:pt x="799" y="608"/>
                    <a:pt x="799" y="608"/>
                  </a:cubicBezTo>
                  <a:cubicBezTo>
                    <a:pt x="800" y="610"/>
                    <a:pt x="800" y="610"/>
                    <a:pt x="800" y="610"/>
                  </a:cubicBezTo>
                  <a:cubicBezTo>
                    <a:pt x="798" y="610"/>
                    <a:pt x="798" y="610"/>
                    <a:pt x="798" y="610"/>
                  </a:cubicBezTo>
                  <a:cubicBezTo>
                    <a:pt x="798" y="610"/>
                    <a:pt x="798" y="610"/>
                    <a:pt x="798" y="610"/>
                  </a:cubicBezTo>
                  <a:cubicBezTo>
                    <a:pt x="791" y="611"/>
                    <a:pt x="791" y="611"/>
                    <a:pt x="791" y="611"/>
                  </a:cubicBezTo>
                  <a:cubicBezTo>
                    <a:pt x="791" y="613"/>
                    <a:pt x="791" y="613"/>
                    <a:pt x="791" y="613"/>
                  </a:cubicBezTo>
                  <a:cubicBezTo>
                    <a:pt x="789" y="613"/>
                    <a:pt x="789" y="613"/>
                    <a:pt x="789" y="613"/>
                  </a:cubicBezTo>
                  <a:cubicBezTo>
                    <a:pt x="789" y="612"/>
                    <a:pt x="789" y="612"/>
                    <a:pt x="789" y="612"/>
                  </a:cubicBezTo>
                  <a:cubicBezTo>
                    <a:pt x="774" y="615"/>
                    <a:pt x="774" y="615"/>
                    <a:pt x="774" y="615"/>
                  </a:cubicBezTo>
                  <a:cubicBezTo>
                    <a:pt x="775" y="617"/>
                    <a:pt x="775" y="617"/>
                    <a:pt x="775" y="617"/>
                  </a:cubicBezTo>
                  <a:cubicBezTo>
                    <a:pt x="771" y="618"/>
                    <a:pt x="771" y="618"/>
                    <a:pt x="771" y="618"/>
                  </a:cubicBezTo>
                  <a:cubicBezTo>
                    <a:pt x="771" y="616"/>
                    <a:pt x="771" y="616"/>
                    <a:pt x="771" y="616"/>
                  </a:cubicBezTo>
                  <a:cubicBezTo>
                    <a:pt x="765" y="618"/>
                    <a:pt x="765" y="618"/>
                    <a:pt x="765" y="618"/>
                  </a:cubicBezTo>
                  <a:cubicBezTo>
                    <a:pt x="765" y="619"/>
                    <a:pt x="765" y="619"/>
                    <a:pt x="765" y="619"/>
                  </a:cubicBezTo>
                  <a:cubicBezTo>
                    <a:pt x="763" y="620"/>
                    <a:pt x="763" y="620"/>
                    <a:pt x="763" y="620"/>
                  </a:cubicBezTo>
                  <a:cubicBezTo>
                    <a:pt x="763" y="619"/>
                    <a:pt x="763" y="619"/>
                    <a:pt x="763" y="619"/>
                  </a:cubicBezTo>
                  <a:cubicBezTo>
                    <a:pt x="759" y="620"/>
                    <a:pt x="759" y="620"/>
                    <a:pt x="759" y="620"/>
                  </a:cubicBezTo>
                  <a:cubicBezTo>
                    <a:pt x="759" y="621"/>
                    <a:pt x="759" y="621"/>
                    <a:pt x="759" y="621"/>
                  </a:cubicBezTo>
                  <a:cubicBezTo>
                    <a:pt x="758" y="622"/>
                    <a:pt x="758" y="622"/>
                    <a:pt x="758" y="622"/>
                  </a:cubicBezTo>
                  <a:cubicBezTo>
                    <a:pt x="756" y="622"/>
                    <a:pt x="756" y="622"/>
                    <a:pt x="756" y="622"/>
                  </a:cubicBezTo>
                  <a:cubicBezTo>
                    <a:pt x="755" y="621"/>
                    <a:pt x="755" y="621"/>
                    <a:pt x="755" y="621"/>
                  </a:cubicBezTo>
                  <a:cubicBezTo>
                    <a:pt x="748" y="623"/>
                    <a:pt x="748" y="623"/>
                    <a:pt x="748" y="623"/>
                  </a:cubicBezTo>
                  <a:cubicBezTo>
                    <a:pt x="746" y="623"/>
                    <a:pt x="746" y="623"/>
                    <a:pt x="746" y="623"/>
                  </a:cubicBezTo>
                  <a:cubicBezTo>
                    <a:pt x="744" y="623"/>
                    <a:pt x="744" y="623"/>
                    <a:pt x="744" y="623"/>
                  </a:cubicBezTo>
                  <a:cubicBezTo>
                    <a:pt x="743" y="623"/>
                    <a:pt x="743" y="623"/>
                    <a:pt x="743" y="623"/>
                  </a:cubicBezTo>
                  <a:cubicBezTo>
                    <a:pt x="734" y="625"/>
                    <a:pt x="734" y="625"/>
                    <a:pt x="734" y="625"/>
                  </a:cubicBezTo>
                  <a:cubicBezTo>
                    <a:pt x="733" y="626"/>
                    <a:pt x="733" y="626"/>
                    <a:pt x="733" y="626"/>
                  </a:cubicBezTo>
                  <a:cubicBezTo>
                    <a:pt x="733" y="628"/>
                    <a:pt x="733" y="628"/>
                    <a:pt x="733" y="628"/>
                  </a:cubicBezTo>
                  <a:cubicBezTo>
                    <a:pt x="718" y="634"/>
                    <a:pt x="718" y="634"/>
                    <a:pt x="718" y="634"/>
                  </a:cubicBezTo>
                  <a:cubicBezTo>
                    <a:pt x="689" y="645"/>
                    <a:pt x="689" y="645"/>
                    <a:pt x="689" y="645"/>
                  </a:cubicBezTo>
                  <a:cubicBezTo>
                    <a:pt x="661" y="657"/>
                    <a:pt x="661" y="657"/>
                    <a:pt x="661" y="657"/>
                  </a:cubicBezTo>
                  <a:cubicBezTo>
                    <a:pt x="634" y="672"/>
                    <a:pt x="634" y="672"/>
                    <a:pt x="634" y="672"/>
                  </a:cubicBezTo>
                  <a:cubicBezTo>
                    <a:pt x="635" y="674"/>
                    <a:pt x="635" y="674"/>
                    <a:pt x="635" y="674"/>
                  </a:cubicBezTo>
                  <a:cubicBezTo>
                    <a:pt x="633" y="675"/>
                    <a:pt x="633" y="675"/>
                    <a:pt x="633" y="675"/>
                  </a:cubicBezTo>
                  <a:cubicBezTo>
                    <a:pt x="642" y="688"/>
                    <a:pt x="642" y="688"/>
                    <a:pt x="642" y="688"/>
                  </a:cubicBezTo>
                  <a:cubicBezTo>
                    <a:pt x="642" y="689"/>
                    <a:pt x="642" y="689"/>
                    <a:pt x="642" y="689"/>
                  </a:cubicBezTo>
                  <a:cubicBezTo>
                    <a:pt x="644" y="691"/>
                    <a:pt x="644" y="691"/>
                    <a:pt x="644" y="691"/>
                  </a:cubicBezTo>
                  <a:cubicBezTo>
                    <a:pt x="644" y="692"/>
                    <a:pt x="644" y="692"/>
                    <a:pt x="644" y="692"/>
                  </a:cubicBezTo>
                  <a:cubicBezTo>
                    <a:pt x="651" y="703"/>
                    <a:pt x="651" y="703"/>
                    <a:pt x="651" y="703"/>
                  </a:cubicBezTo>
                  <a:cubicBezTo>
                    <a:pt x="658" y="700"/>
                    <a:pt x="658" y="700"/>
                    <a:pt x="658" y="700"/>
                  </a:cubicBezTo>
                  <a:cubicBezTo>
                    <a:pt x="661" y="699"/>
                    <a:pt x="661" y="699"/>
                    <a:pt x="661" y="699"/>
                  </a:cubicBezTo>
                  <a:cubicBezTo>
                    <a:pt x="668" y="698"/>
                    <a:pt x="668" y="698"/>
                    <a:pt x="668" y="698"/>
                  </a:cubicBezTo>
                  <a:cubicBezTo>
                    <a:pt x="686" y="699"/>
                    <a:pt x="686" y="699"/>
                    <a:pt x="686" y="699"/>
                  </a:cubicBezTo>
                  <a:cubicBezTo>
                    <a:pt x="686" y="691"/>
                    <a:pt x="686" y="691"/>
                    <a:pt x="686" y="691"/>
                  </a:cubicBezTo>
                  <a:cubicBezTo>
                    <a:pt x="699" y="693"/>
                    <a:pt x="699" y="693"/>
                    <a:pt x="699" y="693"/>
                  </a:cubicBezTo>
                  <a:cubicBezTo>
                    <a:pt x="700" y="684"/>
                    <a:pt x="700" y="684"/>
                    <a:pt x="700" y="684"/>
                  </a:cubicBezTo>
                  <a:cubicBezTo>
                    <a:pt x="715" y="684"/>
                    <a:pt x="715" y="684"/>
                    <a:pt x="715" y="684"/>
                  </a:cubicBezTo>
                  <a:cubicBezTo>
                    <a:pt x="712" y="712"/>
                    <a:pt x="712" y="712"/>
                    <a:pt x="712" y="712"/>
                  </a:cubicBezTo>
                  <a:cubicBezTo>
                    <a:pt x="697" y="712"/>
                    <a:pt x="697" y="712"/>
                    <a:pt x="697" y="712"/>
                  </a:cubicBezTo>
                  <a:cubicBezTo>
                    <a:pt x="694" y="712"/>
                    <a:pt x="694" y="712"/>
                    <a:pt x="694" y="712"/>
                  </a:cubicBezTo>
                  <a:cubicBezTo>
                    <a:pt x="677" y="717"/>
                    <a:pt x="677" y="717"/>
                    <a:pt x="677" y="717"/>
                  </a:cubicBezTo>
                  <a:cubicBezTo>
                    <a:pt x="669" y="717"/>
                    <a:pt x="669" y="717"/>
                    <a:pt x="669" y="717"/>
                  </a:cubicBezTo>
                  <a:cubicBezTo>
                    <a:pt x="661" y="720"/>
                    <a:pt x="661" y="720"/>
                    <a:pt x="661" y="720"/>
                  </a:cubicBezTo>
                  <a:cubicBezTo>
                    <a:pt x="667" y="729"/>
                    <a:pt x="667" y="729"/>
                    <a:pt x="667" y="729"/>
                  </a:cubicBezTo>
                  <a:cubicBezTo>
                    <a:pt x="670" y="735"/>
                    <a:pt x="670" y="735"/>
                    <a:pt x="670" y="735"/>
                  </a:cubicBezTo>
                  <a:cubicBezTo>
                    <a:pt x="679" y="752"/>
                    <a:pt x="679" y="752"/>
                    <a:pt x="679" y="752"/>
                  </a:cubicBezTo>
                  <a:cubicBezTo>
                    <a:pt x="681" y="757"/>
                    <a:pt x="681" y="757"/>
                    <a:pt x="681" y="757"/>
                  </a:cubicBezTo>
                  <a:cubicBezTo>
                    <a:pt x="682" y="758"/>
                    <a:pt x="682" y="758"/>
                    <a:pt x="682" y="758"/>
                  </a:cubicBezTo>
                  <a:cubicBezTo>
                    <a:pt x="680" y="758"/>
                    <a:pt x="680" y="758"/>
                    <a:pt x="680" y="758"/>
                  </a:cubicBezTo>
                  <a:cubicBezTo>
                    <a:pt x="683" y="766"/>
                    <a:pt x="683" y="766"/>
                    <a:pt x="683" y="766"/>
                  </a:cubicBezTo>
                  <a:cubicBezTo>
                    <a:pt x="685" y="769"/>
                    <a:pt x="685" y="769"/>
                    <a:pt x="685" y="769"/>
                  </a:cubicBezTo>
                  <a:cubicBezTo>
                    <a:pt x="688" y="775"/>
                    <a:pt x="688" y="775"/>
                    <a:pt x="688" y="775"/>
                  </a:cubicBezTo>
                  <a:cubicBezTo>
                    <a:pt x="693" y="782"/>
                    <a:pt x="693" y="782"/>
                    <a:pt x="693" y="782"/>
                  </a:cubicBezTo>
                  <a:cubicBezTo>
                    <a:pt x="695" y="785"/>
                    <a:pt x="695" y="785"/>
                    <a:pt x="695" y="785"/>
                  </a:cubicBezTo>
                  <a:cubicBezTo>
                    <a:pt x="693" y="785"/>
                    <a:pt x="693" y="785"/>
                    <a:pt x="693" y="785"/>
                  </a:cubicBezTo>
                  <a:cubicBezTo>
                    <a:pt x="702" y="805"/>
                    <a:pt x="702" y="805"/>
                    <a:pt x="702" y="805"/>
                  </a:cubicBezTo>
                  <a:cubicBezTo>
                    <a:pt x="701" y="808"/>
                    <a:pt x="701" y="808"/>
                    <a:pt x="701" y="808"/>
                  </a:cubicBezTo>
                  <a:cubicBezTo>
                    <a:pt x="735" y="795"/>
                    <a:pt x="735" y="795"/>
                    <a:pt x="735" y="795"/>
                  </a:cubicBezTo>
                  <a:cubicBezTo>
                    <a:pt x="735" y="796"/>
                    <a:pt x="735" y="796"/>
                    <a:pt x="735" y="796"/>
                  </a:cubicBezTo>
                  <a:cubicBezTo>
                    <a:pt x="740" y="803"/>
                    <a:pt x="740" y="803"/>
                    <a:pt x="740" y="803"/>
                  </a:cubicBezTo>
                  <a:cubicBezTo>
                    <a:pt x="743" y="807"/>
                    <a:pt x="743" y="807"/>
                    <a:pt x="743" y="807"/>
                  </a:cubicBezTo>
                  <a:cubicBezTo>
                    <a:pt x="742" y="807"/>
                    <a:pt x="742" y="807"/>
                    <a:pt x="742" y="807"/>
                  </a:cubicBezTo>
                  <a:cubicBezTo>
                    <a:pt x="707" y="820"/>
                    <a:pt x="707" y="820"/>
                    <a:pt x="707" y="820"/>
                  </a:cubicBezTo>
                  <a:cubicBezTo>
                    <a:pt x="705" y="813"/>
                    <a:pt x="705" y="813"/>
                    <a:pt x="705" y="813"/>
                  </a:cubicBezTo>
                  <a:cubicBezTo>
                    <a:pt x="705" y="813"/>
                    <a:pt x="705" y="813"/>
                    <a:pt x="705" y="813"/>
                  </a:cubicBezTo>
                  <a:cubicBezTo>
                    <a:pt x="703" y="813"/>
                    <a:pt x="703" y="813"/>
                    <a:pt x="703" y="813"/>
                  </a:cubicBezTo>
                  <a:cubicBezTo>
                    <a:pt x="689" y="817"/>
                    <a:pt x="689" y="817"/>
                    <a:pt x="689" y="817"/>
                  </a:cubicBezTo>
                  <a:cubicBezTo>
                    <a:pt x="693" y="833"/>
                    <a:pt x="693" y="833"/>
                    <a:pt x="693" y="833"/>
                  </a:cubicBezTo>
                  <a:cubicBezTo>
                    <a:pt x="710" y="831"/>
                    <a:pt x="710" y="831"/>
                    <a:pt x="710" y="831"/>
                  </a:cubicBezTo>
                  <a:cubicBezTo>
                    <a:pt x="713" y="838"/>
                    <a:pt x="713" y="838"/>
                    <a:pt x="713" y="838"/>
                  </a:cubicBezTo>
                  <a:cubicBezTo>
                    <a:pt x="673" y="847"/>
                    <a:pt x="673" y="847"/>
                    <a:pt x="673" y="847"/>
                  </a:cubicBezTo>
                  <a:cubicBezTo>
                    <a:pt x="668" y="823"/>
                    <a:pt x="668" y="823"/>
                    <a:pt x="668" y="823"/>
                  </a:cubicBezTo>
                  <a:cubicBezTo>
                    <a:pt x="660" y="827"/>
                    <a:pt x="660" y="827"/>
                    <a:pt x="660" y="827"/>
                  </a:cubicBezTo>
                  <a:cubicBezTo>
                    <a:pt x="659" y="837"/>
                    <a:pt x="659" y="837"/>
                    <a:pt x="659" y="837"/>
                  </a:cubicBezTo>
                  <a:cubicBezTo>
                    <a:pt x="658" y="838"/>
                    <a:pt x="658" y="838"/>
                    <a:pt x="658" y="838"/>
                  </a:cubicBezTo>
                  <a:cubicBezTo>
                    <a:pt x="658" y="839"/>
                    <a:pt x="658" y="839"/>
                    <a:pt x="658" y="839"/>
                  </a:cubicBezTo>
                  <a:cubicBezTo>
                    <a:pt x="654" y="847"/>
                    <a:pt x="654" y="847"/>
                    <a:pt x="654" y="847"/>
                  </a:cubicBezTo>
                  <a:cubicBezTo>
                    <a:pt x="653" y="849"/>
                    <a:pt x="653" y="849"/>
                    <a:pt x="653" y="849"/>
                  </a:cubicBezTo>
                  <a:cubicBezTo>
                    <a:pt x="649" y="854"/>
                    <a:pt x="649" y="854"/>
                    <a:pt x="649" y="854"/>
                  </a:cubicBezTo>
                  <a:cubicBezTo>
                    <a:pt x="640" y="854"/>
                    <a:pt x="640" y="854"/>
                    <a:pt x="640" y="854"/>
                  </a:cubicBezTo>
                  <a:cubicBezTo>
                    <a:pt x="643" y="857"/>
                    <a:pt x="643" y="857"/>
                    <a:pt x="643" y="857"/>
                  </a:cubicBezTo>
                  <a:cubicBezTo>
                    <a:pt x="647" y="864"/>
                    <a:pt x="647" y="864"/>
                    <a:pt x="647" y="864"/>
                  </a:cubicBezTo>
                  <a:cubicBezTo>
                    <a:pt x="650" y="864"/>
                    <a:pt x="650" y="864"/>
                    <a:pt x="650" y="864"/>
                  </a:cubicBezTo>
                  <a:cubicBezTo>
                    <a:pt x="651" y="864"/>
                    <a:pt x="651" y="864"/>
                    <a:pt x="651" y="864"/>
                  </a:cubicBezTo>
                  <a:cubicBezTo>
                    <a:pt x="651" y="865"/>
                    <a:pt x="651" y="865"/>
                    <a:pt x="651" y="865"/>
                  </a:cubicBezTo>
                  <a:cubicBezTo>
                    <a:pt x="654" y="869"/>
                    <a:pt x="654" y="869"/>
                    <a:pt x="654" y="869"/>
                  </a:cubicBezTo>
                  <a:cubicBezTo>
                    <a:pt x="654" y="877"/>
                    <a:pt x="654" y="877"/>
                    <a:pt x="654" y="877"/>
                  </a:cubicBezTo>
                  <a:cubicBezTo>
                    <a:pt x="635" y="879"/>
                    <a:pt x="635" y="879"/>
                    <a:pt x="635" y="879"/>
                  </a:cubicBezTo>
                  <a:cubicBezTo>
                    <a:pt x="632" y="877"/>
                    <a:pt x="632" y="877"/>
                    <a:pt x="632" y="877"/>
                  </a:cubicBezTo>
                  <a:cubicBezTo>
                    <a:pt x="632" y="876"/>
                    <a:pt x="632" y="876"/>
                    <a:pt x="632" y="876"/>
                  </a:cubicBezTo>
                  <a:cubicBezTo>
                    <a:pt x="618" y="862"/>
                    <a:pt x="618" y="862"/>
                    <a:pt x="618" y="862"/>
                  </a:cubicBezTo>
                  <a:cubicBezTo>
                    <a:pt x="619" y="855"/>
                    <a:pt x="619" y="855"/>
                    <a:pt x="619" y="855"/>
                  </a:cubicBezTo>
                  <a:cubicBezTo>
                    <a:pt x="616" y="855"/>
                    <a:pt x="616" y="855"/>
                    <a:pt x="616" y="855"/>
                  </a:cubicBezTo>
                  <a:cubicBezTo>
                    <a:pt x="614" y="884"/>
                    <a:pt x="614" y="884"/>
                    <a:pt x="614" y="884"/>
                  </a:cubicBezTo>
                  <a:cubicBezTo>
                    <a:pt x="585" y="886"/>
                    <a:pt x="585" y="886"/>
                    <a:pt x="585" y="886"/>
                  </a:cubicBezTo>
                  <a:cubicBezTo>
                    <a:pt x="589" y="933"/>
                    <a:pt x="589" y="933"/>
                    <a:pt x="589" y="933"/>
                  </a:cubicBezTo>
                  <a:cubicBezTo>
                    <a:pt x="523" y="938"/>
                    <a:pt x="523" y="938"/>
                    <a:pt x="523" y="938"/>
                  </a:cubicBezTo>
                  <a:cubicBezTo>
                    <a:pt x="520" y="914"/>
                    <a:pt x="520" y="914"/>
                    <a:pt x="520" y="914"/>
                  </a:cubicBezTo>
                  <a:cubicBezTo>
                    <a:pt x="518" y="914"/>
                    <a:pt x="518" y="914"/>
                    <a:pt x="518" y="914"/>
                  </a:cubicBezTo>
                  <a:cubicBezTo>
                    <a:pt x="508" y="914"/>
                    <a:pt x="508" y="914"/>
                    <a:pt x="508" y="914"/>
                  </a:cubicBezTo>
                  <a:cubicBezTo>
                    <a:pt x="502" y="914"/>
                    <a:pt x="502" y="914"/>
                    <a:pt x="502" y="914"/>
                  </a:cubicBezTo>
                  <a:cubicBezTo>
                    <a:pt x="491" y="915"/>
                    <a:pt x="491" y="915"/>
                    <a:pt x="491" y="915"/>
                  </a:cubicBezTo>
                  <a:cubicBezTo>
                    <a:pt x="490" y="893"/>
                    <a:pt x="490" y="893"/>
                    <a:pt x="490" y="893"/>
                  </a:cubicBezTo>
                  <a:cubicBezTo>
                    <a:pt x="489" y="888"/>
                    <a:pt x="489" y="888"/>
                    <a:pt x="489" y="888"/>
                  </a:cubicBezTo>
                  <a:cubicBezTo>
                    <a:pt x="452" y="890"/>
                    <a:pt x="452" y="890"/>
                    <a:pt x="452" y="890"/>
                  </a:cubicBezTo>
                  <a:cubicBezTo>
                    <a:pt x="448" y="856"/>
                    <a:pt x="448" y="856"/>
                    <a:pt x="448" y="856"/>
                  </a:cubicBezTo>
                  <a:cubicBezTo>
                    <a:pt x="464" y="842"/>
                    <a:pt x="464" y="842"/>
                    <a:pt x="464" y="842"/>
                  </a:cubicBezTo>
                  <a:cubicBezTo>
                    <a:pt x="463" y="835"/>
                    <a:pt x="463" y="835"/>
                    <a:pt x="463" y="835"/>
                  </a:cubicBezTo>
                  <a:cubicBezTo>
                    <a:pt x="461" y="822"/>
                    <a:pt x="461" y="822"/>
                    <a:pt x="461" y="822"/>
                  </a:cubicBezTo>
                  <a:cubicBezTo>
                    <a:pt x="502" y="784"/>
                    <a:pt x="502" y="784"/>
                    <a:pt x="502" y="784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48" y="820"/>
                    <a:pt x="448" y="820"/>
                    <a:pt x="448" y="820"/>
                  </a:cubicBezTo>
                  <a:cubicBezTo>
                    <a:pt x="431" y="834"/>
                    <a:pt x="431" y="834"/>
                    <a:pt x="431" y="834"/>
                  </a:cubicBezTo>
                  <a:cubicBezTo>
                    <a:pt x="422" y="842"/>
                    <a:pt x="422" y="842"/>
                    <a:pt x="422" y="842"/>
                  </a:cubicBezTo>
                  <a:cubicBezTo>
                    <a:pt x="420" y="844"/>
                    <a:pt x="420" y="844"/>
                    <a:pt x="420" y="844"/>
                  </a:cubicBezTo>
                  <a:cubicBezTo>
                    <a:pt x="420" y="853"/>
                    <a:pt x="420" y="853"/>
                    <a:pt x="420" y="853"/>
                  </a:cubicBezTo>
                  <a:cubicBezTo>
                    <a:pt x="422" y="855"/>
                    <a:pt x="422" y="855"/>
                    <a:pt x="422" y="855"/>
                  </a:cubicBezTo>
                  <a:cubicBezTo>
                    <a:pt x="424" y="898"/>
                    <a:pt x="424" y="898"/>
                    <a:pt x="424" y="898"/>
                  </a:cubicBezTo>
                  <a:cubicBezTo>
                    <a:pt x="423" y="900"/>
                    <a:pt x="423" y="900"/>
                    <a:pt x="423" y="900"/>
                  </a:cubicBezTo>
                  <a:cubicBezTo>
                    <a:pt x="351" y="961"/>
                    <a:pt x="351" y="961"/>
                    <a:pt x="351" y="961"/>
                  </a:cubicBezTo>
                  <a:cubicBezTo>
                    <a:pt x="340" y="956"/>
                    <a:pt x="340" y="956"/>
                    <a:pt x="340" y="956"/>
                  </a:cubicBezTo>
                  <a:cubicBezTo>
                    <a:pt x="321" y="947"/>
                    <a:pt x="321" y="947"/>
                    <a:pt x="321" y="947"/>
                  </a:cubicBezTo>
                  <a:cubicBezTo>
                    <a:pt x="318" y="947"/>
                    <a:pt x="318" y="947"/>
                    <a:pt x="318" y="947"/>
                  </a:cubicBezTo>
                  <a:cubicBezTo>
                    <a:pt x="317" y="946"/>
                    <a:pt x="317" y="946"/>
                    <a:pt x="317" y="946"/>
                  </a:cubicBezTo>
                  <a:cubicBezTo>
                    <a:pt x="315" y="940"/>
                    <a:pt x="315" y="940"/>
                    <a:pt x="315" y="940"/>
                  </a:cubicBezTo>
                  <a:cubicBezTo>
                    <a:pt x="314" y="937"/>
                    <a:pt x="314" y="937"/>
                    <a:pt x="314" y="937"/>
                  </a:cubicBezTo>
                  <a:cubicBezTo>
                    <a:pt x="310" y="941"/>
                    <a:pt x="310" y="941"/>
                    <a:pt x="310" y="941"/>
                  </a:cubicBezTo>
                  <a:cubicBezTo>
                    <a:pt x="300" y="961"/>
                    <a:pt x="300" y="961"/>
                    <a:pt x="300" y="961"/>
                  </a:cubicBezTo>
                  <a:cubicBezTo>
                    <a:pt x="282" y="1011"/>
                    <a:pt x="282" y="1011"/>
                    <a:pt x="282" y="1011"/>
                  </a:cubicBezTo>
                  <a:cubicBezTo>
                    <a:pt x="276" y="1040"/>
                    <a:pt x="276" y="1040"/>
                    <a:pt x="276" y="1040"/>
                  </a:cubicBezTo>
                  <a:cubicBezTo>
                    <a:pt x="272" y="1058"/>
                    <a:pt x="272" y="1058"/>
                    <a:pt x="272" y="1058"/>
                  </a:cubicBezTo>
                  <a:cubicBezTo>
                    <a:pt x="271" y="1079"/>
                    <a:pt x="271" y="1079"/>
                    <a:pt x="271" y="1079"/>
                  </a:cubicBezTo>
                  <a:cubicBezTo>
                    <a:pt x="271" y="1095"/>
                    <a:pt x="271" y="1095"/>
                    <a:pt x="271" y="1095"/>
                  </a:cubicBezTo>
                  <a:cubicBezTo>
                    <a:pt x="295" y="1143"/>
                    <a:pt x="295" y="1143"/>
                    <a:pt x="295" y="1143"/>
                  </a:cubicBezTo>
                  <a:cubicBezTo>
                    <a:pt x="292" y="1168"/>
                    <a:pt x="292" y="1168"/>
                    <a:pt x="292" y="1168"/>
                  </a:cubicBezTo>
                  <a:cubicBezTo>
                    <a:pt x="294" y="1173"/>
                    <a:pt x="294" y="1173"/>
                    <a:pt x="294" y="1173"/>
                  </a:cubicBezTo>
                  <a:cubicBezTo>
                    <a:pt x="295" y="1174"/>
                    <a:pt x="295" y="1174"/>
                    <a:pt x="295" y="1174"/>
                  </a:cubicBezTo>
                  <a:cubicBezTo>
                    <a:pt x="294" y="1176"/>
                    <a:pt x="294" y="1176"/>
                    <a:pt x="294" y="1176"/>
                  </a:cubicBezTo>
                  <a:cubicBezTo>
                    <a:pt x="282" y="1179"/>
                    <a:pt x="282" y="1179"/>
                    <a:pt x="282" y="1179"/>
                  </a:cubicBezTo>
                  <a:cubicBezTo>
                    <a:pt x="274" y="1179"/>
                    <a:pt x="274" y="1179"/>
                    <a:pt x="274" y="1179"/>
                  </a:cubicBezTo>
                  <a:cubicBezTo>
                    <a:pt x="269" y="1181"/>
                    <a:pt x="269" y="1181"/>
                    <a:pt x="269" y="1181"/>
                  </a:cubicBezTo>
                  <a:cubicBezTo>
                    <a:pt x="269" y="1181"/>
                    <a:pt x="269" y="1181"/>
                    <a:pt x="269" y="1181"/>
                  </a:cubicBezTo>
                  <a:cubicBezTo>
                    <a:pt x="271" y="1190"/>
                    <a:pt x="271" y="1190"/>
                    <a:pt x="271" y="1190"/>
                  </a:cubicBezTo>
                  <a:cubicBezTo>
                    <a:pt x="263" y="1191"/>
                    <a:pt x="263" y="1191"/>
                    <a:pt x="263" y="1191"/>
                  </a:cubicBezTo>
                  <a:cubicBezTo>
                    <a:pt x="263" y="1193"/>
                    <a:pt x="263" y="1193"/>
                    <a:pt x="263" y="1193"/>
                  </a:cubicBezTo>
                  <a:cubicBezTo>
                    <a:pt x="256" y="1194"/>
                    <a:pt x="256" y="1194"/>
                    <a:pt x="256" y="1194"/>
                  </a:cubicBezTo>
                  <a:cubicBezTo>
                    <a:pt x="228" y="1203"/>
                    <a:pt x="228" y="1203"/>
                    <a:pt x="228" y="1203"/>
                  </a:cubicBezTo>
                  <a:cubicBezTo>
                    <a:pt x="226" y="1208"/>
                    <a:pt x="226" y="1208"/>
                    <a:pt x="226" y="1208"/>
                  </a:cubicBezTo>
                  <a:cubicBezTo>
                    <a:pt x="222" y="1211"/>
                    <a:pt x="222" y="1211"/>
                    <a:pt x="222" y="1211"/>
                  </a:cubicBezTo>
                  <a:cubicBezTo>
                    <a:pt x="217" y="1215"/>
                    <a:pt x="217" y="1215"/>
                    <a:pt x="217" y="1215"/>
                  </a:cubicBezTo>
                  <a:cubicBezTo>
                    <a:pt x="218" y="1224"/>
                    <a:pt x="218" y="1224"/>
                    <a:pt x="218" y="1224"/>
                  </a:cubicBezTo>
                  <a:cubicBezTo>
                    <a:pt x="213" y="1225"/>
                    <a:pt x="213" y="1225"/>
                    <a:pt x="213" y="1225"/>
                  </a:cubicBezTo>
                  <a:cubicBezTo>
                    <a:pt x="213" y="1216"/>
                    <a:pt x="213" y="1216"/>
                    <a:pt x="213" y="1216"/>
                  </a:cubicBezTo>
                  <a:cubicBezTo>
                    <a:pt x="210" y="1213"/>
                    <a:pt x="210" y="1213"/>
                    <a:pt x="210" y="1213"/>
                  </a:cubicBezTo>
                  <a:cubicBezTo>
                    <a:pt x="209" y="1190"/>
                    <a:pt x="209" y="1190"/>
                    <a:pt x="209" y="1190"/>
                  </a:cubicBezTo>
                  <a:cubicBezTo>
                    <a:pt x="209" y="1189"/>
                    <a:pt x="209" y="1189"/>
                    <a:pt x="209" y="1189"/>
                  </a:cubicBezTo>
                  <a:cubicBezTo>
                    <a:pt x="210" y="1189"/>
                    <a:pt x="210" y="1189"/>
                    <a:pt x="210" y="1189"/>
                  </a:cubicBezTo>
                  <a:cubicBezTo>
                    <a:pt x="210" y="1188"/>
                    <a:pt x="210" y="1188"/>
                    <a:pt x="210" y="1188"/>
                  </a:cubicBezTo>
                  <a:cubicBezTo>
                    <a:pt x="198" y="1165"/>
                    <a:pt x="198" y="1165"/>
                    <a:pt x="198" y="1165"/>
                  </a:cubicBezTo>
                  <a:cubicBezTo>
                    <a:pt x="196" y="1156"/>
                    <a:pt x="196" y="1156"/>
                    <a:pt x="196" y="1156"/>
                  </a:cubicBezTo>
                  <a:cubicBezTo>
                    <a:pt x="208" y="1122"/>
                    <a:pt x="208" y="1122"/>
                    <a:pt x="208" y="1122"/>
                  </a:cubicBezTo>
                  <a:cubicBezTo>
                    <a:pt x="208" y="1092"/>
                    <a:pt x="208" y="1092"/>
                    <a:pt x="208" y="1092"/>
                  </a:cubicBezTo>
                  <a:cubicBezTo>
                    <a:pt x="198" y="1070"/>
                    <a:pt x="198" y="1070"/>
                    <a:pt x="198" y="1070"/>
                  </a:cubicBezTo>
                  <a:cubicBezTo>
                    <a:pt x="197" y="1069"/>
                    <a:pt x="197" y="1069"/>
                    <a:pt x="197" y="1069"/>
                  </a:cubicBezTo>
                  <a:cubicBezTo>
                    <a:pt x="196" y="1069"/>
                    <a:pt x="196" y="1069"/>
                    <a:pt x="196" y="1069"/>
                  </a:cubicBezTo>
                  <a:cubicBezTo>
                    <a:pt x="192" y="1066"/>
                    <a:pt x="192" y="1066"/>
                    <a:pt x="192" y="1066"/>
                  </a:cubicBezTo>
                  <a:cubicBezTo>
                    <a:pt x="172" y="1094"/>
                    <a:pt x="172" y="1094"/>
                    <a:pt x="172" y="1094"/>
                  </a:cubicBezTo>
                  <a:cubicBezTo>
                    <a:pt x="172" y="1095"/>
                    <a:pt x="172" y="1095"/>
                    <a:pt x="172" y="1095"/>
                  </a:cubicBezTo>
                  <a:cubicBezTo>
                    <a:pt x="150" y="1126"/>
                    <a:pt x="150" y="1126"/>
                    <a:pt x="150" y="1126"/>
                  </a:cubicBezTo>
                  <a:cubicBezTo>
                    <a:pt x="151" y="1127"/>
                    <a:pt x="151" y="1127"/>
                    <a:pt x="151" y="1127"/>
                  </a:cubicBezTo>
                  <a:cubicBezTo>
                    <a:pt x="124" y="1166"/>
                    <a:pt x="124" y="1166"/>
                    <a:pt x="124" y="1166"/>
                  </a:cubicBezTo>
                  <a:cubicBezTo>
                    <a:pt x="122" y="1165"/>
                    <a:pt x="122" y="1165"/>
                    <a:pt x="122" y="1165"/>
                  </a:cubicBezTo>
                  <a:cubicBezTo>
                    <a:pt x="103" y="1192"/>
                    <a:pt x="103" y="1192"/>
                    <a:pt x="103" y="1192"/>
                  </a:cubicBezTo>
                  <a:cubicBezTo>
                    <a:pt x="91" y="1209"/>
                    <a:pt x="91" y="1209"/>
                    <a:pt x="91" y="1209"/>
                  </a:cubicBezTo>
                  <a:cubicBezTo>
                    <a:pt x="82" y="1223"/>
                    <a:pt x="82" y="1223"/>
                    <a:pt x="82" y="1223"/>
                  </a:cubicBezTo>
                  <a:cubicBezTo>
                    <a:pt x="76" y="1231"/>
                    <a:pt x="76" y="1231"/>
                    <a:pt x="76" y="1231"/>
                  </a:cubicBezTo>
                  <a:cubicBezTo>
                    <a:pt x="78" y="1231"/>
                    <a:pt x="78" y="1231"/>
                    <a:pt x="78" y="1231"/>
                  </a:cubicBezTo>
                  <a:cubicBezTo>
                    <a:pt x="60" y="1258"/>
                    <a:pt x="60" y="1258"/>
                    <a:pt x="60" y="1258"/>
                  </a:cubicBezTo>
                  <a:cubicBezTo>
                    <a:pt x="54" y="1265"/>
                    <a:pt x="54" y="1265"/>
                    <a:pt x="54" y="1265"/>
                  </a:cubicBezTo>
                  <a:cubicBezTo>
                    <a:pt x="56" y="1267"/>
                    <a:pt x="56" y="1267"/>
                    <a:pt x="56" y="1267"/>
                  </a:cubicBezTo>
                  <a:cubicBezTo>
                    <a:pt x="57" y="1267"/>
                    <a:pt x="57" y="1267"/>
                    <a:pt x="57" y="1267"/>
                  </a:cubicBezTo>
                  <a:cubicBezTo>
                    <a:pt x="127" y="1303"/>
                    <a:pt x="127" y="1303"/>
                    <a:pt x="127" y="1303"/>
                  </a:cubicBezTo>
                  <a:cubicBezTo>
                    <a:pt x="127" y="1303"/>
                    <a:pt x="127" y="1303"/>
                    <a:pt x="127" y="1303"/>
                  </a:cubicBezTo>
                  <a:cubicBezTo>
                    <a:pt x="129" y="1305"/>
                    <a:pt x="129" y="1305"/>
                    <a:pt x="129" y="1305"/>
                  </a:cubicBezTo>
                  <a:cubicBezTo>
                    <a:pt x="129" y="1305"/>
                    <a:pt x="129" y="1305"/>
                    <a:pt x="129" y="1305"/>
                  </a:cubicBezTo>
                  <a:cubicBezTo>
                    <a:pt x="130" y="1306"/>
                    <a:pt x="130" y="1306"/>
                    <a:pt x="130" y="1306"/>
                  </a:cubicBezTo>
                  <a:cubicBezTo>
                    <a:pt x="130" y="1307"/>
                    <a:pt x="130" y="1307"/>
                    <a:pt x="130" y="1307"/>
                  </a:cubicBezTo>
                  <a:cubicBezTo>
                    <a:pt x="131" y="1308"/>
                    <a:pt x="131" y="1308"/>
                    <a:pt x="131" y="1308"/>
                  </a:cubicBezTo>
                  <a:cubicBezTo>
                    <a:pt x="131" y="1310"/>
                    <a:pt x="131" y="1310"/>
                    <a:pt x="131" y="1310"/>
                  </a:cubicBezTo>
                  <a:cubicBezTo>
                    <a:pt x="130" y="1311"/>
                    <a:pt x="130" y="1311"/>
                    <a:pt x="130" y="1311"/>
                  </a:cubicBezTo>
                  <a:cubicBezTo>
                    <a:pt x="130" y="1312"/>
                    <a:pt x="130" y="1312"/>
                    <a:pt x="130" y="1312"/>
                  </a:cubicBezTo>
                  <a:cubicBezTo>
                    <a:pt x="123" y="1330"/>
                    <a:pt x="123" y="1330"/>
                    <a:pt x="123" y="1330"/>
                  </a:cubicBezTo>
                  <a:cubicBezTo>
                    <a:pt x="145" y="1349"/>
                    <a:pt x="145" y="1349"/>
                    <a:pt x="145" y="1349"/>
                  </a:cubicBezTo>
                  <a:cubicBezTo>
                    <a:pt x="132" y="1360"/>
                    <a:pt x="132" y="1360"/>
                    <a:pt x="132" y="1360"/>
                  </a:cubicBezTo>
                  <a:cubicBezTo>
                    <a:pt x="106" y="1338"/>
                    <a:pt x="106" y="1338"/>
                    <a:pt x="106" y="1338"/>
                  </a:cubicBezTo>
                  <a:cubicBezTo>
                    <a:pt x="80" y="1373"/>
                    <a:pt x="80" y="1373"/>
                    <a:pt x="80" y="1373"/>
                  </a:cubicBezTo>
                  <a:cubicBezTo>
                    <a:pt x="27" y="1345"/>
                    <a:pt x="27" y="1345"/>
                    <a:pt x="27" y="1345"/>
                  </a:cubicBezTo>
                  <a:cubicBezTo>
                    <a:pt x="14" y="1338"/>
                    <a:pt x="14" y="1338"/>
                    <a:pt x="14" y="1338"/>
                  </a:cubicBezTo>
                  <a:cubicBezTo>
                    <a:pt x="40" y="1304"/>
                    <a:pt x="40" y="1304"/>
                    <a:pt x="40" y="1304"/>
                  </a:cubicBezTo>
                  <a:cubicBezTo>
                    <a:pt x="44" y="1299"/>
                    <a:pt x="44" y="1299"/>
                    <a:pt x="44" y="1299"/>
                  </a:cubicBezTo>
                  <a:cubicBezTo>
                    <a:pt x="44" y="1299"/>
                    <a:pt x="44" y="1299"/>
                    <a:pt x="44" y="1299"/>
                  </a:cubicBezTo>
                  <a:cubicBezTo>
                    <a:pt x="45" y="1295"/>
                    <a:pt x="45" y="1295"/>
                    <a:pt x="45" y="1295"/>
                  </a:cubicBezTo>
                  <a:cubicBezTo>
                    <a:pt x="61" y="1274"/>
                    <a:pt x="61" y="1274"/>
                    <a:pt x="61" y="1274"/>
                  </a:cubicBezTo>
                  <a:cubicBezTo>
                    <a:pt x="55" y="1270"/>
                    <a:pt x="55" y="1270"/>
                    <a:pt x="55" y="1270"/>
                  </a:cubicBezTo>
                  <a:cubicBezTo>
                    <a:pt x="54" y="1270"/>
                    <a:pt x="54" y="1270"/>
                    <a:pt x="54" y="1270"/>
                  </a:cubicBezTo>
                  <a:cubicBezTo>
                    <a:pt x="52" y="1269"/>
                    <a:pt x="52" y="1269"/>
                    <a:pt x="52" y="1269"/>
                  </a:cubicBezTo>
                  <a:cubicBezTo>
                    <a:pt x="50" y="1271"/>
                    <a:pt x="50" y="1271"/>
                    <a:pt x="50" y="1271"/>
                  </a:cubicBezTo>
                  <a:cubicBezTo>
                    <a:pt x="9" y="1327"/>
                    <a:pt x="9" y="1327"/>
                    <a:pt x="9" y="1327"/>
                  </a:cubicBezTo>
                  <a:cubicBezTo>
                    <a:pt x="0" y="1341"/>
                    <a:pt x="0" y="1341"/>
                    <a:pt x="0" y="1341"/>
                  </a:cubicBezTo>
                  <a:cubicBezTo>
                    <a:pt x="3" y="1343"/>
                    <a:pt x="3" y="1343"/>
                    <a:pt x="3" y="1343"/>
                  </a:cubicBezTo>
                  <a:cubicBezTo>
                    <a:pt x="4" y="1343"/>
                    <a:pt x="4" y="1343"/>
                    <a:pt x="4" y="1343"/>
                  </a:cubicBezTo>
                  <a:cubicBezTo>
                    <a:pt x="50" y="1364"/>
                    <a:pt x="50" y="1364"/>
                    <a:pt x="50" y="1364"/>
                  </a:cubicBezTo>
                  <a:cubicBezTo>
                    <a:pt x="57" y="1365"/>
                    <a:pt x="57" y="1365"/>
                    <a:pt x="57" y="1365"/>
                  </a:cubicBezTo>
                  <a:cubicBezTo>
                    <a:pt x="62" y="1371"/>
                    <a:pt x="62" y="1371"/>
                    <a:pt x="62" y="1371"/>
                  </a:cubicBezTo>
                  <a:cubicBezTo>
                    <a:pt x="72" y="1375"/>
                    <a:pt x="72" y="1375"/>
                    <a:pt x="72" y="1375"/>
                  </a:cubicBezTo>
                  <a:cubicBezTo>
                    <a:pt x="83" y="1379"/>
                    <a:pt x="83" y="1379"/>
                    <a:pt x="83" y="1379"/>
                  </a:cubicBezTo>
                  <a:cubicBezTo>
                    <a:pt x="84" y="1376"/>
                    <a:pt x="84" y="1376"/>
                    <a:pt x="84" y="1376"/>
                  </a:cubicBezTo>
                  <a:cubicBezTo>
                    <a:pt x="99" y="1384"/>
                    <a:pt x="99" y="1384"/>
                    <a:pt x="99" y="1384"/>
                  </a:cubicBezTo>
                  <a:cubicBezTo>
                    <a:pt x="104" y="1386"/>
                    <a:pt x="104" y="1386"/>
                    <a:pt x="104" y="1386"/>
                  </a:cubicBezTo>
                  <a:cubicBezTo>
                    <a:pt x="119" y="1394"/>
                    <a:pt x="119" y="1394"/>
                    <a:pt x="119" y="1394"/>
                  </a:cubicBezTo>
                  <a:cubicBezTo>
                    <a:pt x="123" y="1398"/>
                    <a:pt x="123" y="1398"/>
                    <a:pt x="123" y="1398"/>
                  </a:cubicBezTo>
                  <a:cubicBezTo>
                    <a:pt x="127" y="1399"/>
                    <a:pt x="127" y="1399"/>
                    <a:pt x="127" y="1399"/>
                  </a:cubicBezTo>
                  <a:cubicBezTo>
                    <a:pt x="125" y="1402"/>
                    <a:pt x="125" y="1402"/>
                    <a:pt x="125" y="1402"/>
                  </a:cubicBezTo>
                  <a:cubicBezTo>
                    <a:pt x="169" y="1424"/>
                    <a:pt x="169" y="1424"/>
                    <a:pt x="169" y="1424"/>
                  </a:cubicBezTo>
                  <a:cubicBezTo>
                    <a:pt x="328" y="1505"/>
                    <a:pt x="328" y="1505"/>
                    <a:pt x="328" y="1505"/>
                  </a:cubicBezTo>
                  <a:cubicBezTo>
                    <a:pt x="329" y="1505"/>
                    <a:pt x="329" y="1505"/>
                    <a:pt x="329" y="1505"/>
                  </a:cubicBezTo>
                  <a:cubicBezTo>
                    <a:pt x="332" y="1507"/>
                    <a:pt x="332" y="1507"/>
                    <a:pt x="332" y="1507"/>
                  </a:cubicBezTo>
                  <a:cubicBezTo>
                    <a:pt x="360" y="1473"/>
                    <a:pt x="360" y="1473"/>
                    <a:pt x="360" y="1473"/>
                  </a:cubicBezTo>
                  <a:cubicBezTo>
                    <a:pt x="379" y="1450"/>
                    <a:pt x="379" y="1450"/>
                    <a:pt x="379" y="1450"/>
                  </a:cubicBezTo>
                  <a:cubicBezTo>
                    <a:pt x="379" y="1449"/>
                    <a:pt x="379" y="1449"/>
                    <a:pt x="379" y="1449"/>
                  </a:cubicBezTo>
                  <a:cubicBezTo>
                    <a:pt x="392" y="1457"/>
                    <a:pt x="392" y="1457"/>
                    <a:pt x="392" y="1457"/>
                  </a:cubicBezTo>
                  <a:cubicBezTo>
                    <a:pt x="469" y="1505"/>
                    <a:pt x="469" y="1505"/>
                    <a:pt x="469" y="1505"/>
                  </a:cubicBezTo>
                  <a:cubicBezTo>
                    <a:pt x="491" y="1474"/>
                    <a:pt x="491" y="1474"/>
                    <a:pt x="491" y="1474"/>
                  </a:cubicBezTo>
                  <a:cubicBezTo>
                    <a:pt x="522" y="1430"/>
                    <a:pt x="522" y="1430"/>
                    <a:pt x="522" y="1430"/>
                  </a:cubicBezTo>
                  <a:cubicBezTo>
                    <a:pt x="532" y="1435"/>
                    <a:pt x="532" y="1435"/>
                    <a:pt x="532" y="1435"/>
                  </a:cubicBezTo>
                  <a:cubicBezTo>
                    <a:pt x="552" y="1403"/>
                    <a:pt x="552" y="1403"/>
                    <a:pt x="552" y="1403"/>
                  </a:cubicBezTo>
                  <a:cubicBezTo>
                    <a:pt x="582" y="1356"/>
                    <a:pt x="582" y="1356"/>
                    <a:pt x="582" y="1356"/>
                  </a:cubicBezTo>
                  <a:cubicBezTo>
                    <a:pt x="568" y="1344"/>
                    <a:pt x="568" y="1344"/>
                    <a:pt x="568" y="1344"/>
                  </a:cubicBezTo>
                  <a:cubicBezTo>
                    <a:pt x="556" y="1333"/>
                    <a:pt x="556" y="1333"/>
                    <a:pt x="556" y="1333"/>
                  </a:cubicBezTo>
                  <a:cubicBezTo>
                    <a:pt x="545" y="1324"/>
                    <a:pt x="545" y="1324"/>
                    <a:pt x="545" y="1324"/>
                  </a:cubicBezTo>
                  <a:cubicBezTo>
                    <a:pt x="531" y="1311"/>
                    <a:pt x="531" y="1311"/>
                    <a:pt x="531" y="1311"/>
                  </a:cubicBezTo>
                  <a:cubicBezTo>
                    <a:pt x="506" y="1289"/>
                    <a:pt x="506" y="1289"/>
                    <a:pt x="506" y="1289"/>
                  </a:cubicBezTo>
                  <a:cubicBezTo>
                    <a:pt x="493" y="1278"/>
                    <a:pt x="493" y="1278"/>
                    <a:pt x="493" y="1278"/>
                  </a:cubicBezTo>
                  <a:cubicBezTo>
                    <a:pt x="482" y="1269"/>
                    <a:pt x="482" y="1269"/>
                    <a:pt x="482" y="1269"/>
                  </a:cubicBezTo>
                  <a:cubicBezTo>
                    <a:pt x="481" y="1270"/>
                    <a:pt x="481" y="1270"/>
                    <a:pt x="481" y="1270"/>
                  </a:cubicBezTo>
                  <a:cubicBezTo>
                    <a:pt x="481" y="1269"/>
                    <a:pt x="481" y="1269"/>
                    <a:pt x="481" y="1269"/>
                  </a:cubicBezTo>
                  <a:cubicBezTo>
                    <a:pt x="484" y="1265"/>
                    <a:pt x="484" y="1265"/>
                    <a:pt x="484" y="1265"/>
                  </a:cubicBezTo>
                  <a:cubicBezTo>
                    <a:pt x="485" y="1263"/>
                    <a:pt x="485" y="1263"/>
                    <a:pt x="485" y="1263"/>
                  </a:cubicBezTo>
                  <a:cubicBezTo>
                    <a:pt x="488" y="1259"/>
                    <a:pt x="488" y="1259"/>
                    <a:pt x="488" y="1259"/>
                  </a:cubicBezTo>
                  <a:cubicBezTo>
                    <a:pt x="490" y="1254"/>
                    <a:pt x="490" y="1254"/>
                    <a:pt x="490" y="1254"/>
                  </a:cubicBezTo>
                  <a:cubicBezTo>
                    <a:pt x="492" y="1252"/>
                    <a:pt x="492" y="1252"/>
                    <a:pt x="492" y="1252"/>
                  </a:cubicBezTo>
                  <a:cubicBezTo>
                    <a:pt x="493" y="1248"/>
                    <a:pt x="493" y="1248"/>
                    <a:pt x="493" y="1248"/>
                  </a:cubicBezTo>
                  <a:cubicBezTo>
                    <a:pt x="496" y="1242"/>
                    <a:pt x="496" y="1242"/>
                    <a:pt x="496" y="1242"/>
                  </a:cubicBezTo>
                  <a:cubicBezTo>
                    <a:pt x="504" y="1222"/>
                    <a:pt x="504" y="1222"/>
                    <a:pt x="504" y="1222"/>
                  </a:cubicBezTo>
                  <a:cubicBezTo>
                    <a:pt x="508" y="1212"/>
                    <a:pt x="508" y="1212"/>
                    <a:pt x="508" y="1212"/>
                  </a:cubicBezTo>
                  <a:cubicBezTo>
                    <a:pt x="504" y="1214"/>
                    <a:pt x="504" y="1214"/>
                    <a:pt x="504" y="1214"/>
                  </a:cubicBezTo>
                  <a:cubicBezTo>
                    <a:pt x="499" y="1217"/>
                    <a:pt x="499" y="1217"/>
                    <a:pt x="499" y="1217"/>
                  </a:cubicBezTo>
                  <a:cubicBezTo>
                    <a:pt x="493" y="1219"/>
                    <a:pt x="493" y="1219"/>
                    <a:pt x="493" y="1219"/>
                  </a:cubicBezTo>
                  <a:cubicBezTo>
                    <a:pt x="494" y="1216"/>
                    <a:pt x="494" y="1216"/>
                    <a:pt x="494" y="1216"/>
                  </a:cubicBezTo>
                  <a:cubicBezTo>
                    <a:pt x="497" y="1204"/>
                    <a:pt x="497" y="1204"/>
                    <a:pt x="497" y="1204"/>
                  </a:cubicBezTo>
                  <a:cubicBezTo>
                    <a:pt x="500" y="1191"/>
                    <a:pt x="500" y="1191"/>
                    <a:pt x="500" y="1191"/>
                  </a:cubicBezTo>
                  <a:cubicBezTo>
                    <a:pt x="502" y="1188"/>
                    <a:pt x="502" y="1188"/>
                    <a:pt x="502" y="1188"/>
                  </a:cubicBezTo>
                  <a:cubicBezTo>
                    <a:pt x="507" y="1173"/>
                    <a:pt x="507" y="1173"/>
                    <a:pt x="507" y="1173"/>
                  </a:cubicBezTo>
                  <a:cubicBezTo>
                    <a:pt x="509" y="1157"/>
                    <a:pt x="509" y="1157"/>
                    <a:pt x="509" y="1157"/>
                  </a:cubicBezTo>
                  <a:cubicBezTo>
                    <a:pt x="510" y="1154"/>
                    <a:pt x="510" y="1154"/>
                    <a:pt x="510" y="1154"/>
                  </a:cubicBezTo>
                  <a:cubicBezTo>
                    <a:pt x="513" y="1150"/>
                    <a:pt x="513" y="1150"/>
                    <a:pt x="513" y="1150"/>
                  </a:cubicBezTo>
                  <a:cubicBezTo>
                    <a:pt x="517" y="1145"/>
                    <a:pt x="517" y="1145"/>
                    <a:pt x="517" y="1145"/>
                  </a:cubicBezTo>
                  <a:cubicBezTo>
                    <a:pt x="527" y="1112"/>
                    <a:pt x="527" y="1112"/>
                    <a:pt x="527" y="1112"/>
                  </a:cubicBezTo>
                  <a:cubicBezTo>
                    <a:pt x="534" y="1114"/>
                    <a:pt x="534" y="1114"/>
                    <a:pt x="534" y="1114"/>
                  </a:cubicBezTo>
                  <a:cubicBezTo>
                    <a:pt x="548" y="1121"/>
                    <a:pt x="548" y="1121"/>
                    <a:pt x="548" y="1121"/>
                  </a:cubicBezTo>
                  <a:cubicBezTo>
                    <a:pt x="548" y="1133"/>
                    <a:pt x="548" y="1133"/>
                    <a:pt x="548" y="1133"/>
                  </a:cubicBezTo>
                  <a:cubicBezTo>
                    <a:pt x="579" y="1154"/>
                    <a:pt x="579" y="1154"/>
                    <a:pt x="579" y="1154"/>
                  </a:cubicBezTo>
                  <a:cubicBezTo>
                    <a:pt x="555" y="1181"/>
                    <a:pt x="555" y="1181"/>
                    <a:pt x="555" y="1181"/>
                  </a:cubicBezTo>
                  <a:cubicBezTo>
                    <a:pt x="627" y="1214"/>
                    <a:pt x="627" y="1214"/>
                    <a:pt x="627" y="1214"/>
                  </a:cubicBezTo>
                  <a:cubicBezTo>
                    <a:pt x="633" y="1202"/>
                    <a:pt x="633" y="1202"/>
                    <a:pt x="633" y="1202"/>
                  </a:cubicBezTo>
                  <a:cubicBezTo>
                    <a:pt x="626" y="1197"/>
                    <a:pt x="626" y="1197"/>
                    <a:pt x="626" y="1197"/>
                  </a:cubicBezTo>
                  <a:cubicBezTo>
                    <a:pt x="606" y="1188"/>
                    <a:pt x="606" y="1188"/>
                    <a:pt x="606" y="1188"/>
                  </a:cubicBezTo>
                  <a:cubicBezTo>
                    <a:pt x="617" y="1159"/>
                    <a:pt x="617" y="1159"/>
                    <a:pt x="617" y="1159"/>
                  </a:cubicBezTo>
                  <a:cubicBezTo>
                    <a:pt x="632" y="1139"/>
                    <a:pt x="632" y="1139"/>
                    <a:pt x="632" y="1139"/>
                  </a:cubicBezTo>
                  <a:cubicBezTo>
                    <a:pt x="649" y="1150"/>
                    <a:pt x="649" y="1150"/>
                    <a:pt x="649" y="1150"/>
                  </a:cubicBezTo>
                  <a:cubicBezTo>
                    <a:pt x="663" y="1154"/>
                    <a:pt x="663" y="1154"/>
                    <a:pt x="663" y="1154"/>
                  </a:cubicBezTo>
                  <a:cubicBezTo>
                    <a:pt x="675" y="1134"/>
                    <a:pt x="675" y="1134"/>
                    <a:pt x="675" y="1134"/>
                  </a:cubicBezTo>
                  <a:cubicBezTo>
                    <a:pt x="692" y="1112"/>
                    <a:pt x="692" y="1112"/>
                    <a:pt x="692" y="1112"/>
                  </a:cubicBezTo>
                  <a:cubicBezTo>
                    <a:pt x="775" y="1129"/>
                    <a:pt x="775" y="1129"/>
                    <a:pt x="775" y="1129"/>
                  </a:cubicBezTo>
                  <a:cubicBezTo>
                    <a:pt x="772" y="1133"/>
                    <a:pt x="772" y="1133"/>
                    <a:pt x="772" y="1133"/>
                  </a:cubicBezTo>
                  <a:cubicBezTo>
                    <a:pt x="771" y="1133"/>
                    <a:pt x="771" y="1133"/>
                    <a:pt x="771" y="1133"/>
                  </a:cubicBezTo>
                  <a:cubicBezTo>
                    <a:pt x="752" y="1156"/>
                    <a:pt x="752" y="1156"/>
                    <a:pt x="752" y="1156"/>
                  </a:cubicBezTo>
                  <a:cubicBezTo>
                    <a:pt x="781" y="1169"/>
                    <a:pt x="781" y="1169"/>
                    <a:pt x="781" y="1169"/>
                  </a:cubicBezTo>
                  <a:cubicBezTo>
                    <a:pt x="810" y="1183"/>
                    <a:pt x="810" y="1183"/>
                    <a:pt x="810" y="1183"/>
                  </a:cubicBezTo>
                  <a:cubicBezTo>
                    <a:pt x="813" y="1179"/>
                    <a:pt x="813" y="1179"/>
                    <a:pt x="813" y="1179"/>
                  </a:cubicBezTo>
                  <a:cubicBezTo>
                    <a:pt x="846" y="1140"/>
                    <a:pt x="846" y="1140"/>
                    <a:pt x="846" y="1140"/>
                  </a:cubicBezTo>
                  <a:cubicBezTo>
                    <a:pt x="912" y="1089"/>
                    <a:pt x="912" y="1089"/>
                    <a:pt x="912" y="1089"/>
                  </a:cubicBezTo>
                  <a:cubicBezTo>
                    <a:pt x="916" y="1092"/>
                    <a:pt x="916" y="1092"/>
                    <a:pt x="916" y="1092"/>
                  </a:cubicBezTo>
                  <a:cubicBezTo>
                    <a:pt x="941" y="1073"/>
                    <a:pt x="941" y="1073"/>
                    <a:pt x="941" y="1073"/>
                  </a:cubicBezTo>
                  <a:cubicBezTo>
                    <a:pt x="948" y="1073"/>
                    <a:pt x="948" y="1073"/>
                    <a:pt x="948" y="1073"/>
                  </a:cubicBezTo>
                  <a:cubicBezTo>
                    <a:pt x="950" y="1074"/>
                    <a:pt x="950" y="1074"/>
                    <a:pt x="950" y="1074"/>
                  </a:cubicBezTo>
                  <a:cubicBezTo>
                    <a:pt x="952" y="1076"/>
                    <a:pt x="952" y="1076"/>
                    <a:pt x="952" y="1076"/>
                  </a:cubicBezTo>
                  <a:cubicBezTo>
                    <a:pt x="953" y="1077"/>
                    <a:pt x="953" y="1077"/>
                    <a:pt x="953" y="1077"/>
                  </a:cubicBezTo>
                  <a:cubicBezTo>
                    <a:pt x="954" y="1077"/>
                    <a:pt x="954" y="1077"/>
                    <a:pt x="954" y="1077"/>
                  </a:cubicBezTo>
                  <a:cubicBezTo>
                    <a:pt x="956" y="1077"/>
                    <a:pt x="956" y="1077"/>
                    <a:pt x="956" y="1077"/>
                  </a:cubicBezTo>
                  <a:cubicBezTo>
                    <a:pt x="958" y="1074"/>
                    <a:pt x="958" y="1074"/>
                    <a:pt x="958" y="1074"/>
                  </a:cubicBezTo>
                  <a:cubicBezTo>
                    <a:pt x="958" y="1066"/>
                    <a:pt x="958" y="1066"/>
                    <a:pt x="958" y="1066"/>
                  </a:cubicBezTo>
                  <a:cubicBezTo>
                    <a:pt x="959" y="1066"/>
                    <a:pt x="959" y="1066"/>
                    <a:pt x="959" y="1066"/>
                  </a:cubicBezTo>
                  <a:cubicBezTo>
                    <a:pt x="960" y="1063"/>
                    <a:pt x="960" y="1063"/>
                    <a:pt x="960" y="1063"/>
                  </a:cubicBezTo>
                  <a:cubicBezTo>
                    <a:pt x="962" y="1059"/>
                    <a:pt x="962" y="1059"/>
                    <a:pt x="962" y="1059"/>
                  </a:cubicBezTo>
                  <a:cubicBezTo>
                    <a:pt x="963" y="1058"/>
                    <a:pt x="963" y="1058"/>
                    <a:pt x="963" y="1058"/>
                  </a:cubicBezTo>
                  <a:cubicBezTo>
                    <a:pt x="964" y="1057"/>
                    <a:pt x="964" y="1057"/>
                    <a:pt x="964" y="1057"/>
                  </a:cubicBezTo>
                  <a:cubicBezTo>
                    <a:pt x="971" y="1053"/>
                    <a:pt x="971" y="1053"/>
                    <a:pt x="971" y="1053"/>
                  </a:cubicBezTo>
                  <a:cubicBezTo>
                    <a:pt x="977" y="1047"/>
                    <a:pt x="977" y="1047"/>
                    <a:pt x="977" y="1047"/>
                  </a:cubicBezTo>
                  <a:cubicBezTo>
                    <a:pt x="988" y="1040"/>
                    <a:pt x="988" y="1040"/>
                    <a:pt x="988" y="1040"/>
                  </a:cubicBezTo>
                  <a:cubicBezTo>
                    <a:pt x="991" y="1037"/>
                    <a:pt x="991" y="1037"/>
                    <a:pt x="991" y="1037"/>
                  </a:cubicBezTo>
                  <a:cubicBezTo>
                    <a:pt x="1000" y="1030"/>
                    <a:pt x="1000" y="1030"/>
                    <a:pt x="1000" y="1030"/>
                  </a:cubicBezTo>
                  <a:cubicBezTo>
                    <a:pt x="1001" y="1031"/>
                    <a:pt x="1001" y="1031"/>
                    <a:pt x="1001" y="1031"/>
                  </a:cubicBezTo>
                  <a:cubicBezTo>
                    <a:pt x="1062" y="984"/>
                    <a:pt x="1062" y="984"/>
                    <a:pt x="1062" y="984"/>
                  </a:cubicBezTo>
                  <a:cubicBezTo>
                    <a:pt x="1064" y="986"/>
                    <a:pt x="1064" y="986"/>
                    <a:pt x="1064" y="986"/>
                  </a:cubicBezTo>
                  <a:cubicBezTo>
                    <a:pt x="1118" y="1033"/>
                    <a:pt x="1118" y="1033"/>
                    <a:pt x="1118" y="1033"/>
                  </a:cubicBezTo>
                  <a:cubicBezTo>
                    <a:pt x="1124" y="1026"/>
                    <a:pt x="1124" y="1026"/>
                    <a:pt x="1124" y="1026"/>
                  </a:cubicBezTo>
                  <a:cubicBezTo>
                    <a:pt x="1124" y="1006"/>
                    <a:pt x="1124" y="1006"/>
                    <a:pt x="1124" y="1006"/>
                  </a:cubicBezTo>
                  <a:cubicBezTo>
                    <a:pt x="1129" y="994"/>
                    <a:pt x="1129" y="994"/>
                    <a:pt x="1129" y="994"/>
                  </a:cubicBezTo>
                  <a:cubicBezTo>
                    <a:pt x="1130" y="994"/>
                    <a:pt x="1130" y="994"/>
                    <a:pt x="1130" y="994"/>
                  </a:cubicBezTo>
                  <a:cubicBezTo>
                    <a:pt x="1135" y="989"/>
                    <a:pt x="1135" y="989"/>
                    <a:pt x="1135" y="989"/>
                  </a:cubicBezTo>
                  <a:cubicBezTo>
                    <a:pt x="1144" y="987"/>
                    <a:pt x="1144" y="987"/>
                    <a:pt x="1144" y="987"/>
                  </a:cubicBezTo>
                  <a:cubicBezTo>
                    <a:pt x="1166" y="985"/>
                    <a:pt x="1166" y="985"/>
                    <a:pt x="1166" y="985"/>
                  </a:cubicBezTo>
                  <a:cubicBezTo>
                    <a:pt x="1168" y="985"/>
                    <a:pt x="1168" y="985"/>
                    <a:pt x="1168" y="985"/>
                  </a:cubicBezTo>
                  <a:cubicBezTo>
                    <a:pt x="1169" y="985"/>
                    <a:pt x="1169" y="985"/>
                    <a:pt x="1169" y="985"/>
                  </a:cubicBezTo>
                  <a:cubicBezTo>
                    <a:pt x="1162" y="956"/>
                    <a:pt x="1162" y="956"/>
                    <a:pt x="1162" y="956"/>
                  </a:cubicBezTo>
                  <a:cubicBezTo>
                    <a:pt x="1157" y="942"/>
                    <a:pt x="1157" y="942"/>
                    <a:pt x="1157" y="942"/>
                  </a:cubicBezTo>
                  <a:cubicBezTo>
                    <a:pt x="1152" y="937"/>
                    <a:pt x="1152" y="937"/>
                    <a:pt x="1152" y="937"/>
                  </a:cubicBezTo>
                  <a:cubicBezTo>
                    <a:pt x="1144" y="927"/>
                    <a:pt x="1144" y="927"/>
                    <a:pt x="1144" y="927"/>
                  </a:cubicBezTo>
                  <a:cubicBezTo>
                    <a:pt x="1148" y="925"/>
                    <a:pt x="1148" y="925"/>
                    <a:pt x="1148" y="925"/>
                  </a:cubicBezTo>
                  <a:cubicBezTo>
                    <a:pt x="1158" y="939"/>
                    <a:pt x="1158" y="939"/>
                    <a:pt x="1158" y="939"/>
                  </a:cubicBezTo>
                  <a:cubicBezTo>
                    <a:pt x="1161" y="946"/>
                    <a:pt x="1161" y="946"/>
                    <a:pt x="1161" y="946"/>
                  </a:cubicBezTo>
                  <a:cubicBezTo>
                    <a:pt x="1165" y="954"/>
                    <a:pt x="1165" y="954"/>
                    <a:pt x="1165" y="954"/>
                  </a:cubicBezTo>
                  <a:cubicBezTo>
                    <a:pt x="1171" y="978"/>
                    <a:pt x="1171" y="978"/>
                    <a:pt x="1171" y="978"/>
                  </a:cubicBezTo>
                  <a:cubicBezTo>
                    <a:pt x="1174" y="987"/>
                    <a:pt x="1174" y="987"/>
                    <a:pt x="1174" y="987"/>
                  </a:cubicBezTo>
                  <a:cubicBezTo>
                    <a:pt x="1175" y="991"/>
                    <a:pt x="1175" y="991"/>
                    <a:pt x="1175" y="991"/>
                  </a:cubicBezTo>
                  <a:cubicBezTo>
                    <a:pt x="1176" y="990"/>
                    <a:pt x="1176" y="990"/>
                    <a:pt x="1176" y="990"/>
                  </a:cubicBezTo>
                  <a:cubicBezTo>
                    <a:pt x="1183" y="990"/>
                    <a:pt x="1183" y="990"/>
                    <a:pt x="1183" y="990"/>
                  </a:cubicBezTo>
                  <a:cubicBezTo>
                    <a:pt x="1196" y="970"/>
                    <a:pt x="1196" y="970"/>
                    <a:pt x="1196" y="970"/>
                  </a:cubicBezTo>
                  <a:cubicBezTo>
                    <a:pt x="1238" y="956"/>
                    <a:pt x="1238" y="956"/>
                    <a:pt x="1238" y="956"/>
                  </a:cubicBezTo>
                  <a:cubicBezTo>
                    <a:pt x="1241" y="955"/>
                    <a:pt x="1241" y="955"/>
                    <a:pt x="1241" y="955"/>
                  </a:cubicBezTo>
                  <a:cubicBezTo>
                    <a:pt x="1243" y="953"/>
                    <a:pt x="1243" y="953"/>
                    <a:pt x="1243" y="953"/>
                  </a:cubicBezTo>
                  <a:cubicBezTo>
                    <a:pt x="1246" y="950"/>
                    <a:pt x="1246" y="950"/>
                    <a:pt x="1246" y="950"/>
                  </a:cubicBezTo>
                  <a:cubicBezTo>
                    <a:pt x="1259" y="935"/>
                    <a:pt x="1259" y="935"/>
                    <a:pt x="1259" y="935"/>
                  </a:cubicBezTo>
                  <a:cubicBezTo>
                    <a:pt x="1262" y="939"/>
                    <a:pt x="1262" y="939"/>
                    <a:pt x="1262" y="939"/>
                  </a:cubicBezTo>
                  <a:cubicBezTo>
                    <a:pt x="1266" y="936"/>
                    <a:pt x="1266" y="936"/>
                    <a:pt x="1266" y="936"/>
                  </a:cubicBezTo>
                  <a:cubicBezTo>
                    <a:pt x="1269" y="932"/>
                    <a:pt x="1269" y="932"/>
                    <a:pt x="1269" y="932"/>
                  </a:cubicBezTo>
                  <a:cubicBezTo>
                    <a:pt x="1316" y="856"/>
                    <a:pt x="1316" y="856"/>
                    <a:pt x="1316" y="856"/>
                  </a:cubicBezTo>
                  <a:cubicBezTo>
                    <a:pt x="1307" y="812"/>
                    <a:pt x="1307" y="812"/>
                    <a:pt x="1307" y="812"/>
                  </a:cubicBezTo>
                  <a:cubicBezTo>
                    <a:pt x="1428" y="680"/>
                    <a:pt x="1428" y="680"/>
                    <a:pt x="1428" y="680"/>
                  </a:cubicBezTo>
                  <a:cubicBezTo>
                    <a:pt x="1575" y="764"/>
                    <a:pt x="1575" y="764"/>
                    <a:pt x="1575" y="764"/>
                  </a:cubicBezTo>
                  <a:cubicBezTo>
                    <a:pt x="1593" y="622"/>
                    <a:pt x="1593" y="622"/>
                    <a:pt x="1593" y="622"/>
                  </a:cubicBezTo>
                  <a:cubicBezTo>
                    <a:pt x="1706" y="704"/>
                    <a:pt x="1706" y="704"/>
                    <a:pt x="1706" y="704"/>
                  </a:cubicBezTo>
                  <a:cubicBezTo>
                    <a:pt x="1742" y="788"/>
                    <a:pt x="1742" y="788"/>
                    <a:pt x="1742" y="788"/>
                  </a:cubicBezTo>
                  <a:cubicBezTo>
                    <a:pt x="2039" y="685"/>
                    <a:pt x="2039" y="685"/>
                    <a:pt x="2039" y="685"/>
                  </a:cubicBezTo>
                  <a:cubicBezTo>
                    <a:pt x="2040" y="612"/>
                    <a:pt x="2040" y="612"/>
                    <a:pt x="2040" y="612"/>
                  </a:cubicBezTo>
                  <a:cubicBezTo>
                    <a:pt x="2144" y="620"/>
                    <a:pt x="2144" y="620"/>
                    <a:pt x="2144" y="620"/>
                  </a:cubicBezTo>
                  <a:cubicBezTo>
                    <a:pt x="2020" y="90"/>
                    <a:pt x="2020" y="90"/>
                    <a:pt x="2020" y="90"/>
                  </a:cubicBezTo>
                  <a:cubicBezTo>
                    <a:pt x="1444" y="95"/>
                    <a:pt x="1444" y="95"/>
                    <a:pt x="1444" y="95"/>
                  </a:cubicBezTo>
                  <a:cubicBezTo>
                    <a:pt x="1057" y="0"/>
                    <a:pt x="1057" y="0"/>
                    <a:pt x="1057" y="0"/>
                  </a:cubicBezTo>
                  <a:cubicBezTo>
                    <a:pt x="937" y="33"/>
                    <a:pt x="937" y="33"/>
                    <a:pt x="937" y="33"/>
                  </a:cubicBezTo>
                  <a:cubicBezTo>
                    <a:pt x="847" y="37"/>
                    <a:pt x="847" y="37"/>
                    <a:pt x="847" y="37"/>
                  </a:cubicBezTo>
                  <a:cubicBezTo>
                    <a:pt x="958" y="387"/>
                    <a:pt x="958" y="387"/>
                    <a:pt x="958" y="387"/>
                  </a:cubicBezTo>
                  <a:cubicBezTo>
                    <a:pt x="991" y="485"/>
                    <a:pt x="991" y="485"/>
                    <a:pt x="991" y="485"/>
                  </a:cubicBezTo>
                  <a:cubicBezTo>
                    <a:pt x="996" y="502"/>
                    <a:pt x="1000" y="515"/>
                    <a:pt x="1003" y="527"/>
                  </a:cubicBezTo>
                  <a:cubicBezTo>
                    <a:pt x="994" y="454"/>
                    <a:pt x="1041" y="653"/>
                    <a:pt x="1003" y="527"/>
                  </a:cubicBezTo>
                  <a:cubicBezTo>
                    <a:pt x="1005" y="538"/>
                    <a:pt x="1007" y="555"/>
                    <a:pt x="1012" y="580"/>
                  </a:cubicBezTo>
                  <a:cubicBezTo>
                    <a:pt x="1124" y="734"/>
                    <a:pt x="1124" y="734"/>
                    <a:pt x="1124" y="734"/>
                  </a:cubicBezTo>
                </a:path>
              </a:pathLst>
            </a:custGeom>
            <a:solidFill>
              <a:schemeClr val="accent1"/>
            </a:solidFill>
            <a:ln w="9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0" name="Freeform 27"/>
            <p:cNvSpPr>
              <a:spLocks/>
            </p:cNvSpPr>
            <p:nvPr/>
          </p:nvSpPr>
          <p:spPr bwMode="auto">
            <a:xfrm>
              <a:off x="1124432" y="3571330"/>
              <a:ext cx="784896" cy="491146"/>
            </a:xfrm>
            <a:custGeom>
              <a:avLst/>
              <a:gdLst>
                <a:gd name="T0" fmla="*/ 1028 w 2144"/>
                <a:gd name="T1" fmla="*/ 817 h 1507"/>
                <a:gd name="T2" fmla="*/ 1098 w 2144"/>
                <a:gd name="T3" fmla="*/ 939 h 1507"/>
                <a:gd name="T4" fmla="*/ 1065 w 2144"/>
                <a:gd name="T5" fmla="*/ 973 h 1507"/>
                <a:gd name="T6" fmla="*/ 1054 w 2144"/>
                <a:gd name="T7" fmla="*/ 972 h 1507"/>
                <a:gd name="T8" fmla="*/ 984 w 2144"/>
                <a:gd name="T9" fmla="*/ 976 h 1507"/>
                <a:gd name="T10" fmla="*/ 864 w 2144"/>
                <a:gd name="T11" fmla="*/ 973 h 1507"/>
                <a:gd name="T12" fmla="*/ 857 w 2144"/>
                <a:gd name="T13" fmla="*/ 725 h 1507"/>
                <a:gd name="T14" fmla="*/ 844 w 2144"/>
                <a:gd name="T15" fmla="*/ 645 h 1507"/>
                <a:gd name="T16" fmla="*/ 799 w 2144"/>
                <a:gd name="T17" fmla="*/ 608 h 1507"/>
                <a:gd name="T18" fmla="*/ 774 w 2144"/>
                <a:gd name="T19" fmla="*/ 615 h 1507"/>
                <a:gd name="T20" fmla="*/ 759 w 2144"/>
                <a:gd name="T21" fmla="*/ 620 h 1507"/>
                <a:gd name="T22" fmla="*/ 743 w 2144"/>
                <a:gd name="T23" fmla="*/ 623 h 1507"/>
                <a:gd name="T24" fmla="*/ 635 w 2144"/>
                <a:gd name="T25" fmla="*/ 674 h 1507"/>
                <a:gd name="T26" fmla="*/ 661 w 2144"/>
                <a:gd name="T27" fmla="*/ 699 h 1507"/>
                <a:gd name="T28" fmla="*/ 697 w 2144"/>
                <a:gd name="T29" fmla="*/ 712 h 1507"/>
                <a:gd name="T30" fmla="*/ 681 w 2144"/>
                <a:gd name="T31" fmla="*/ 757 h 1507"/>
                <a:gd name="T32" fmla="*/ 693 w 2144"/>
                <a:gd name="T33" fmla="*/ 785 h 1507"/>
                <a:gd name="T34" fmla="*/ 707 w 2144"/>
                <a:gd name="T35" fmla="*/ 820 h 1507"/>
                <a:gd name="T36" fmla="*/ 673 w 2144"/>
                <a:gd name="T37" fmla="*/ 847 h 1507"/>
                <a:gd name="T38" fmla="*/ 649 w 2144"/>
                <a:gd name="T39" fmla="*/ 854 h 1507"/>
                <a:gd name="T40" fmla="*/ 654 w 2144"/>
                <a:gd name="T41" fmla="*/ 877 h 1507"/>
                <a:gd name="T42" fmla="*/ 585 w 2144"/>
                <a:gd name="T43" fmla="*/ 886 h 1507"/>
                <a:gd name="T44" fmla="*/ 490 w 2144"/>
                <a:gd name="T45" fmla="*/ 893 h 1507"/>
                <a:gd name="T46" fmla="*/ 497 w 2144"/>
                <a:gd name="T47" fmla="*/ 779 h 1507"/>
                <a:gd name="T48" fmla="*/ 423 w 2144"/>
                <a:gd name="T49" fmla="*/ 900 h 1507"/>
                <a:gd name="T50" fmla="*/ 310 w 2144"/>
                <a:gd name="T51" fmla="*/ 941 h 1507"/>
                <a:gd name="T52" fmla="*/ 292 w 2144"/>
                <a:gd name="T53" fmla="*/ 1168 h 1507"/>
                <a:gd name="T54" fmla="*/ 271 w 2144"/>
                <a:gd name="T55" fmla="*/ 1190 h 1507"/>
                <a:gd name="T56" fmla="*/ 218 w 2144"/>
                <a:gd name="T57" fmla="*/ 1224 h 1507"/>
                <a:gd name="T58" fmla="*/ 198 w 2144"/>
                <a:gd name="T59" fmla="*/ 1165 h 1507"/>
                <a:gd name="T60" fmla="*/ 172 w 2144"/>
                <a:gd name="T61" fmla="*/ 1094 h 1507"/>
                <a:gd name="T62" fmla="*/ 82 w 2144"/>
                <a:gd name="T63" fmla="*/ 1223 h 1507"/>
                <a:gd name="T64" fmla="*/ 127 w 2144"/>
                <a:gd name="T65" fmla="*/ 1303 h 1507"/>
                <a:gd name="T66" fmla="*/ 130 w 2144"/>
                <a:gd name="T67" fmla="*/ 1312 h 1507"/>
                <a:gd name="T68" fmla="*/ 40 w 2144"/>
                <a:gd name="T69" fmla="*/ 1304 h 1507"/>
                <a:gd name="T70" fmla="*/ 50 w 2144"/>
                <a:gd name="T71" fmla="*/ 1271 h 1507"/>
                <a:gd name="T72" fmla="*/ 72 w 2144"/>
                <a:gd name="T73" fmla="*/ 1375 h 1507"/>
                <a:gd name="T74" fmla="*/ 125 w 2144"/>
                <a:gd name="T75" fmla="*/ 1402 h 1507"/>
                <a:gd name="T76" fmla="*/ 392 w 2144"/>
                <a:gd name="T77" fmla="*/ 1457 h 1507"/>
                <a:gd name="T78" fmla="*/ 556 w 2144"/>
                <a:gd name="T79" fmla="*/ 1333 h 1507"/>
                <a:gd name="T80" fmla="*/ 484 w 2144"/>
                <a:gd name="T81" fmla="*/ 1265 h 1507"/>
                <a:gd name="T82" fmla="*/ 508 w 2144"/>
                <a:gd name="T83" fmla="*/ 1212 h 1507"/>
                <a:gd name="T84" fmla="*/ 507 w 2144"/>
                <a:gd name="T85" fmla="*/ 1173 h 1507"/>
                <a:gd name="T86" fmla="*/ 548 w 2144"/>
                <a:gd name="T87" fmla="*/ 1133 h 1507"/>
                <a:gd name="T88" fmla="*/ 632 w 2144"/>
                <a:gd name="T89" fmla="*/ 1139 h 1507"/>
                <a:gd name="T90" fmla="*/ 752 w 2144"/>
                <a:gd name="T91" fmla="*/ 1156 h 1507"/>
                <a:gd name="T92" fmla="*/ 948 w 2144"/>
                <a:gd name="T93" fmla="*/ 1073 h 1507"/>
                <a:gd name="T94" fmla="*/ 959 w 2144"/>
                <a:gd name="T95" fmla="*/ 1066 h 1507"/>
                <a:gd name="T96" fmla="*/ 991 w 2144"/>
                <a:gd name="T97" fmla="*/ 1037 h 1507"/>
                <a:gd name="T98" fmla="*/ 1129 w 2144"/>
                <a:gd name="T99" fmla="*/ 994 h 1507"/>
                <a:gd name="T100" fmla="*/ 1157 w 2144"/>
                <a:gd name="T101" fmla="*/ 942 h 1507"/>
                <a:gd name="T102" fmla="*/ 1174 w 2144"/>
                <a:gd name="T103" fmla="*/ 987 h 1507"/>
                <a:gd name="T104" fmla="*/ 1246 w 2144"/>
                <a:gd name="T105" fmla="*/ 950 h 1507"/>
                <a:gd name="T106" fmla="*/ 1575 w 2144"/>
                <a:gd name="T107" fmla="*/ 764 h 1507"/>
                <a:gd name="T108" fmla="*/ 1444 w 2144"/>
                <a:gd name="T109" fmla="*/ 95 h 1507"/>
                <a:gd name="T110" fmla="*/ 1012 w 2144"/>
                <a:gd name="T111" fmla="*/ 580 h 15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2144" h="1507">
                  <a:moveTo>
                    <a:pt x="1126" y="741"/>
                  </a:moveTo>
                  <a:cubicBezTo>
                    <a:pt x="1128" y="740"/>
                    <a:pt x="1128" y="741"/>
                    <a:pt x="1126" y="741"/>
                  </a:cubicBezTo>
                  <a:cubicBezTo>
                    <a:pt x="1126" y="741"/>
                    <a:pt x="1126" y="741"/>
                    <a:pt x="1126" y="741"/>
                  </a:cubicBezTo>
                  <a:cubicBezTo>
                    <a:pt x="1124" y="743"/>
                    <a:pt x="1117" y="745"/>
                    <a:pt x="1105" y="751"/>
                  </a:cubicBezTo>
                  <a:cubicBezTo>
                    <a:pt x="1104" y="752"/>
                    <a:pt x="1104" y="752"/>
                    <a:pt x="1104" y="752"/>
                  </a:cubicBezTo>
                  <a:cubicBezTo>
                    <a:pt x="1027" y="798"/>
                    <a:pt x="1027" y="798"/>
                    <a:pt x="1027" y="798"/>
                  </a:cubicBezTo>
                  <a:cubicBezTo>
                    <a:pt x="1033" y="810"/>
                    <a:pt x="1033" y="810"/>
                    <a:pt x="1033" y="810"/>
                  </a:cubicBezTo>
                  <a:cubicBezTo>
                    <a:pt x="1028" y="817"/>
                    <a:pt x="1028" y="817"/>
                    <a:pt x="1028" y="817"/>
                  </a:cubicBezTo>
                  <a:cubicBezTo>
                    <a:pt x="1064" y="836"/>
                    <a:pt x="1064" y="836"/>
                    <a:pt x="1064" y="836"/>
                  </a:cubicBezTo>
                  <a:cubicBezTo>
                    <a:pt x="1059" y="842"/>
                    <a:pt x="1059" y="842"/>
                    <a:pt x="1059" y="842"/>
                  </a:cubicBezTo>
                  <a:cubicBezTo>
                    <a:pt x="1065" y="846"/>
                    <a:pt x="1065" y="846"/>
                    <a:pt x="1065" y="846"/>
                  </a:cubicBezTo>
                  <a:cubicBezTo>
                    <a:pt x="1060" y="856"/>
                    <a:pt x="1060" y="856"/>
                    <a:pt x="1060" y="856"/>
                  </a:cubicBezTo>
                  <a:cubicBezTo>
                    <a:pt x="1050" y="868"/>
                    <a:pt x="1050" y="868"/>
                    <a:pt x="1050" y="868"/>
                  </a:cubicBezTo>
                  <a:cubicBezTo>
                    <a:pt x="1041" y="878"/>
                    <a:pt x="1041" y="878"/>
                    <a:pt x="1041" y="878"/>
                  </a:cubicBezTo>
                  <a:cubicBezTo>
                    <a:pt x="1078" y="918"/>
                    <a:pt x="1078" y="918"/>
                    <a:pt x="1078" y="918"/>
                  </a:cubicBezTo>
                  <a:cubicBezTo>
                    <a:pt x="1098" y="939"/>
                    <a:pt x="1098" y="939"/>
                    <a:pt x="1098" y="939"/>
                  </a:cubicBezTo>
                  <a:cubicBezTo>
                    <a:pt x="1093" y="942"/>
                    <a:pt x="1093" y="942"/>
                    <a:pt x="1093" y="942"/>
                  </a:cubicBezTo>
                  <a:cubicBezTo>
                    <a:pt x="1095" y="943"/>
                    <a:pt x="1095" y="943"/>
                    <a:pt x="1095" y="943"/>
                  </a:cubicBezTo>
                  <a:cubicBezTo>
                    <a:pt x="1086" y="951"/>
                    <a:pt x="1086" y="951"/>
                    <a:pt x="1086" y="951"/>
                  </a:cubicBezTo>
                  <a:cubicBezTo>
                    <a:pt x="1080" y="956"/>
                    <a:pt x="1080" y="956"/>
                    <a:pt x="1080" y="956"/>
                  </a:cubicBezTo>
                  <a:cubicBezTo>
                    <a:pt x="1081" y="957"/>
                    <a:pt x="1081" y="957"/>
                    <a:pt x="1081" y="957"/>
                  </a:cubicBezTo>
                  <a:cubicBezTo>
                    <a:pt x="1082" y="957"/>
                    <a:pt x="1082" y="957"/>
                    <a:pt x="1082" y="957"/>
                  </a:cubicBezTo>
                  <a:cubicBezTo>
                    <a:pt x="1082" y="959"/>
                    <a:pt x="1082" y="959"/>
                    <a:pt x="1082" y="959"/>
                  </a:cubicBezTo>
                  <a:cubicBezTo>
                    <a:pt x="1065" y="973"/>
                    <a:pt x="1065" y="973"/>
                    <a:pt x="1065" y="973"/>
                  </a:cubicBezTo>
                  <a:cubicBezTo>
                    <a:pt x="1063" y="974"/>
                    <a:pt x="1063" y="974"/>
                    <a:pt x="1063" y="974"/>
                  </a:cubicBezTo>
                  <a:cubicBezTo>
                    <a:pt x="1061" y="974"/>
                    <a:pt x="1061" y="974"/>
                    <a:pt x="1061" y="974"/>
                  </a:cubicBezTo>
                  <a:cubicBezTo>
                    <a:pt x="1059" y="973"/>
                    <a:pt x="1059" y="973"/>
                    <a:pt x="1059" y="973"/>
                  </a:cubicBezTo>
                  <a:cubicBezTo>
                    <a:pt x="1058" y="973"/>
                    <a:pt x="1058" y="973"/>
                    <a:pt x="1058" y="973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7" y="972"/>
                    <a:pt x="1057" y="972"/>
                    <a:pt x="1057" y="972"/>
                  </a:cubicBezTo>
                  <a:cubicBezTo>
                    <a:pt x="1054" y="972"/>
                    <a:pt x="1054" y="972"/>
                    <a:pt x="1054" y="972"/>
                  </a:cubicBezTo>
                  <a:cubicBezTo>
                    <a:pt x="1055" y="974"/>
                    <a:pt x="1055" y="974"/>
                    <a:pt x="1055" y="974"/>
                  </a:cubicBezTo>
                  <a:cubicBezTo>
                    <a:pt x="1054" y="976"/>
                    <a:pt x="1054" y="976"/>
                    <a:pt x="1054" y="976"/>
                  </a:cubicBezTo>
                  <a:cubicBezTo>
                    <a:pt x="1052" y="974"/>
                    <a:pt x="1052" y="974"/>
                    <a:pt x="1052" y="974"/>
                  </a:cubicBezTo>
                  <a:cubicBezTo>
                    <a:pt x="1048" y="967"/>
                    <a:pt x="1048" y="967"/>
                    <a:pt x="1048" y="967"/>
                  </a:cubicBezTo>
                  <a:cubicBezTo>
                    <a:pt x="1046" y="968"/>
                    <a:pt x="1046" y="968"/>
                    <a:pt x="1046" y="968"/>
                  </a:cubicBezTo>
                  <a:cubicBezTo>
                    <a:pt x="1025" y="945"/>
                    <a:pt x="1025" y="945"/>
                    <a:pt x="1025" y="945"/>
                  </a:cubicBezTo>
                  <a:cubicBezTo>
                    <a:pt x="1004" y="960"/>
                    <a:pt x="1004" y="960"/>
                    <a:pt x="1004" y="960"/>
                  </a:cubicBezTo>
                  <a:cubicBezTo>
                    <a:pt x="984" y="976"/>
                    <a:pt x="984" y="976"/>
                    <a:pt x="984" y="976"/>
                  </a:cubicBezTo>
                  <a:cubicBezTo>
                    <a:pt x="928" y="934"/>
                    <a:pt x="928" y="934"/>
                    <a:pt x="928" y="934"/>
                  </a:cubicBezTo>
                  <a:cubicBezTo>
                    <a:pt x="899" y="954"/>
                    <a:pt x="899" y="954"/>
                    <a:pt x="899" y="954"/>
                  </a:cubicBezTo>
                  <a:cubicBezTo>
                    <a:pt x="878" y="970"/>
                    <a:pt x="878" y="970"/>
                    <a:pt x="878" y="970"/>
                  </a:cubicBezTo>
                  <a:cubicBezTo>
                    <a:pt x="886" y="979"/>
                    <a:pt x="886" y="979"/>
                    <a:pt x="886" y="979"/>
                  </a:cubicBezTo>
                  <a:cubicBezTo>
                    <a:pt x="880" y="983"/>
                    <a:pt x="880" y="983"/>
                    <a:pt x="880" y="983"/>
                  </a:cubicBezTo>
                  <a:cubicBezTo>
                    <a:pt x="873" y="974"/>
                    <a:pt x="873" y="974"/>
                    <a:pt x="873" y="974"/>
                  </a:cubicBezTo>
                  <a:cubicBezTo>
                    <a:pt x="864" y="981"/>
                    <a:pt x="864" y="981"/>
                    <a:pt x="864" y="981"/>
                  </a:cubicBezTo>
                  <a:cubicBezTo>
                    <a:pt x="864" y="973"/>
                    <a:pt x="864" y="973"/>
                    <a:pt x="864" y="973"/>
                  </a:cubicBezTo>
                  <a:cubicBezTo>
                    <a:pt x="862" y="919"/>
                    <a:pt x="862" y="919"/>
                    <a:pt x="862" y="919"/>
                  </a:cubicBezTo>
                  <a:cubicBezTo>
                    <a:pt x="861" y="898"/>
                    <a:pt x="861" y="898"/>
                    <a:pt x="861" y="898"/>
                  </a:cubicBezTo>
                  <a:cubicBezTo>
                    <a:pt x="859" y="838"/>
                    <a:pt x="859" y="838"/>
                    <a:pt x="859" y="838"/>
                  </a:cubicBezTo>
                  <a:cubicBezTo>
                    <a:pt x="859" y="802"/>
                    <a:pt x="859" y="802"/>
                    <a:pt x="859" y="802"/>
                  </a:cubicBezTo>
                  <a:cubicBezTo>
                    <a:pt x="858" y="785"/>
                    <a:pt x="858" y="785"/>
                    <a:pt x="858" y="785"/>
                  </a:cubicBezTo>
                  <a:cubicBezTo>
                    <a:pt x="857" y="752"/>
                    <a:pt x="857" y="752"/>
                    <a:pt x="857" y="752"/>
                  </a:cubicBezTo>
                  <a:cubicBezTo>
                    <a:pt x="857" y="736"/>
                    <a:pt x="857" y="736"/>
                    <a:pt x="857" y="736"/>
                  </a:cubicBezTo>
                  <a:cubicBezTo>
                    <a:pt x="857" y="725"/>
                    <a:pt x="857" y="725"/>
                    <a:pt x="857" y="725"/>
                  </a:cubicBezTo>
                  <a:cubicBezTo>
                    <a:pt x="857" y="725"/>
                    <a:pt x="857" y="725"/>
                    <a:pt x="857" y="725"/>
                  </a:cubicBezTo>
                  <a:cubicBezTo>
                    <a:pt x="855" y="696"/>
                    <a:pt x="855" y="696"/>
                    <a:pt x="855" y="696"/>
                  </a:cubicBezTo>
                  <a:cubicBezTo>
                    <a:pt x="855" y="684"/>
                    <a:pt x="855" y="684"/>
                    <a:pt x="855" y="684"/>
                  </a:cubicBezTo>
                  <a:cubicBezTo>
                    <a:pt x="855" y="679"/>
                    <a:pt x="855" y="679"/>
                    <a:pt x="855" y="679"/>
                  </a:cubicBezTo>
                  <a:cubicBezTo>
                    <a:pt x="854" y="674"/>
                    <a:pt x="854" y="674"/>
                    <a:pt x="854" y="674"/>
                  </a:cubicBezTo>
                  <a:cubicBezTo>
                    <a:pt x="852" y="662"/>
                    <a:pt x="852" y="662"/>
                    <a:pt x="852" y="662"/>
                  </a:cubicBezTo>
                  <a:cubicBezTo>
                    <a:pt x="845" y="645"/>
                    <a:pt x="845" y="645"/>
                    <a:pt x="845" y="645"/>
                  </a:cubicBezTo>
                  <a:cubicBezTo>
                    <a:pt x="844" y="645"/>
                    <a:pt x="844" y="645"/>
                    <a:pt x="844" y="645"/>
                  </a:cubicBezTo>
                  <a:cubicBezTo>
                    <a:pt x="839" y="629"/>
                    <a:pt x="839" y="629"/>
                    <a:pt x="839" y="629"/>
                  </a:cubicBezTo>
                  <a:cubicBezTo>
                    <a:pt x="830" y="630"/>
                    <a:pt x="830" y="630"/>
                    <a:pt x="830" y="630"/>
                  </a:cubicBezTo>
                  <a:cubicBezTo>
                    <a:pt x="818" y="607"/>
                    <a:pt x="818" y="607"/>
                    <a:pt x="818" y="607"/>
                  </a:cubicBezTo>
                  <a:cubicBezTo>
                    <a:pt x="817" y="602"/>
                    <a:pt x="817" y="602"/>
                    <a:pt x="817" y="602"/>
                  </a:cubicBezTo>
                  <a:cubicBezTo>
                    <a:pt x="817" y="602"/>
                    <a:pt x="817" y="602"/>
                    <a:pt x="817" y="602"/>
                  </a:cubicBezTo>
                  <a:cubicBezTo>
                    <a:pt x="812" y="603"/>
                    <a:pt x="812" y="603"/>
                    <a:pt x="812" y="603"/>
                  </a:cubicBezTo>
                  <a:cubicBezTo>
                    <a:pt x="811" y="605"/>
                    <a:pt x="811" y="605"/>
                    <a:pt x="811" y="605"/>
                  </a:cubicBezTo>
                  <a:cubicBezTo>
                    <a:pt x="799" y="608"/>
                    <a:pt x="799" y="608"/>
                    <a:pt x="799" y="608"/>
                  </a:cubicBezTo>
                  <a:cubicBezTo>
                    <a:pt x="800" y="610"/>
                    <a:pt x="800" y="610"/>
                    <a:pt x="800" y="610"/>
                  </a:cubicBezTo>
                  <a:cubicBezTo>
                    <a:pt x="798" y="610"/>
                    <a:pt x="798" y="610"/>
                    <a:pt x="798" y="610"/>
                  </a:cubicBezTo>
                  <a:cubicBezTo>
                    <a:pt x="798" y="610"/>
                    <a:pt x="798" y="610"/>
                    <a:pt x="798" y="610"/>
                  </a:cubicBezTo>
                  <a:cubicBezTo>
                    <a:pt x="791" y="611"/>
                    <a:pt x="791" y="611"/>
                    <a:pt x="791" y="611"/>
                  </a:cubicBezTo>
                  <a:cubicBezTo>
                    <a:pt x="791" y="613"/>
                    <a:pt x="791" y="613"/>
                    <a:pt x="791" y="613"/>
                  </a:cubicBezTo>
                  <a:cubicBezTo>
                    <a:pt x="789" y="613"/>
                    <a:pt x="789" y="613"/>
                    <a:pt x="789" y="613"/>
                  </a:cubicBezTo>
                  <a:cubicBezTo>
                    <a:pt x="789" y="612"/>
                    <a:pt x="789" y="612"/>
                    <a:pt x="789" y="612"/>
                  </a:cubicBezTo>
                  <a:cubicBezTo>
                    <a:pt x="774" y="615"/>
                    <a:pt x="774" y="615"/>
                    <a:pt x="774" y="615"/>
                  </a:cubicBezTo>
                  <a:cubicBezTo>
                    <a:pt x="775" y="617"/>
                    <a:pt x="775" y="617"/>
                    <a:pt x="775" y="617"/>
                  </a:cubicBezTo>
                  <a:cubicBezTo>
                    <a:pt x="771" y="618"/>
                    <a:pt x="771" y="618"/>
                    <a:pt x="771" y="618"/>
                  </a:cubicBezTo>
                  <a:cubicBezTo>
                    <a:pt x="771" y="616"/>
                    <a:pt x="771" y="616"/>
                    <a:pt x="771" y="616"/>
                  </a:cubicBezTo>
                  <a:cubicBezTo>
                    <a:pt x="765" y="618"/>
                    <a:pt x="765" y="618"/>
                    <a:pt x="765" y="618"/>
                  </a:cubicBezTo>
                  <a:cubicBezTo>
                    <a:pt x="765" y="619"/>
                    <a:pt x="765" y="619"/>
                    <a:pt x="765" y="619"/>
                  </a:cubicBezTo>
                  <a:cubicBezTo>
                    <a:pt x="763" y="620"/>
                    <a:pt x="763" y="620"/>
                    <a:pt x="763" y="620"/>
                  </a:cubicBezTo>
                  <a:cubicBezTo>
                    <a:pt x="763" y="619"/>
                    <a:pt x="763" y="619"/>
                    <a:pt x="763" y="619"/>
                  </a:cubicBezTo>
                  <a:cubicBezTo>
                    <a:pt x="759" y="620"/>
                    <a:pt x="759" y="620"/>
                    <a:pt x="759" y="620"/>
                  </a:cubicBezTo>
                  <a:cubicBezTo>
                    <a:pt x="759" y="621"/>
                    <a:pt x="759" y="621"/>
                    <a:pt x="759" y="621"/>
                  </a:cubicBezTo>
                  <a:cubicBezTo>
                    <a:pt x="758" y="622"/>
                    <a:pt x="758" y="622"/>
                    <a:pt x="758" y="622"/>
                  </a:cubicBezTo>
                  <a:cubicBezTo>
                    <a:pt x="756" y="622"/>
                    <a:pt x="756" y="622"/>
                    <a:pt x="756" y="622"/>
                  </a:cubicBezTo>
                  <a:cubicBezTo>
                    <a:pt x="755" y="621"/>
                    <a:pt x="755" y="621"/>
                    <a:pt x="755" y="621"/>
                  </a:cubicBezTo>
                  <a:cubicBezTo>
                    <a:pt x="748" y="623"/>
                    <a:pt x="748" y="623"/>
                    <a:pt x="748" y="623"/>
                  </a:cubicBezTo>
                  <a:cubicBezTo>
                    <a:pt x="746" y="623"/>
                    <a:pt x="746" y="623"/>
                    <a:pt x="746" y="623"/>
                  </a:cubicBezTo>
                  <a:cubicBezTo>
                    <a:pt x="744" y="623"/>
                    <a:pt x="744" y="623"/>
                    <a:pt x="744" y="623"/>
                  </a:cubicBezTo>
                  <a:cubicBezTo>
                    <a:pt x="743" y="623"/>
                    <a:pt x="743" y="623"/>
                    <a:pt x="743" y="623"/>
                  </a:cubicBezTo>
                  <a:cubicBezTo>
                    <a:pt x="734" y="625"/>
                    <a:pt x="734" y="625"/>
                    <a:pt x="734" y="625"/>
                  </a:cubicBezTo>
                  <a:cubicBezTo>
                    <a:pt x="733" y="626"/>
                    <a:pt x="733" y="626"/>
                    <a:pt x="733" y="626"/>
                  </a:cubicBezTo>
                  <a:cubicBezTo>
                    <a:pt x="733" y="628"/>
                    <a:pt x="733" y="628"/>
                    <a:pt x="733" y="628"/>
                  </a:cubicBezTo>
                  <a:cubicBezTo>
                    <a:pt x="718" y="634"/>
                    <a:pt x="718" y="634"/>
                    <a:pt x="718" y="634"/>
                  </a:cubicBezTo>
                  <a:cubicBezTo>
                    <a:pt x="689" y="645"/>
                    <a:pt x="689" y="645"/>
                    <a:pt x="689" y="645"/>
                  </a:cubicBezTo>
                  <a:cubicBezTo>
                    <a:pt x="661" y="657"/>
                    <a:pt x="661" y="657"/>
                    <a:pt x="661" y="657"/>
                  </a:cubicBezTo>
                  <a:cubicBezTo>
                    <a:pt x="634" y="672"/>
                    <a:pt x="634" y="672"/>
                    <a:pt x="634" y="672"/>
                  </a:cubicBezTo>
                  <a:cubicBezTo>
                    <a:pt x="635" y="674"/>
                    <a:pt x="635" y="674"/>
                    <a:pt x="635" y="674"/>
                  </a:cubicBezTo>
                  <a:cubicBezTo>
                    <a:pt x="633" y="675"/>
                    <a:pt x="633" y="675"/>
                    <a:pt x="633" y="675"/>
                  </a:cubicBezTo>
                  <a:cubicBezTo>
                    <a:pt x="642" y="688"/>
                    <a:pt x="642" y="688"/>
                    <a:pt x="642" y="688"/>
                  </a:cubicBezTo>
                  <a:cubicBezTo>
                    <a:pt x="642" y="689"/>
                    <a:pt x="642" y="689"/>
                    <a:pt x="642" y="689"/>
                  </a:cubicBezTo>
                  <a:cubicBezTo>
                    <a:pt x="644" y="691"/>
                    <a:pt x="644" y="691"/>
                    <a:pt x="644" y="691"/>
                  </a:cubicBezTo>
                  <a:cubicBezTo>
                    <a:pt x="644" y="692"/>
                    <a:pt x="644" y="692"/>
                    <a:pt x="644" y="692"/>
                  </a:cubicBezTo>
                  <a:cubicBezTo>
                    <a:pt x="651" y="703"/>
                    <a:pt x="651" y="703"/>
                    <a:pt x="651" y="703"/>
                  </a:cubicBezTo>
                  <a:cubicBezTo>
                    <a:pt x="658" y="700"/>
                    <a:pt x="658" y="700"/>
                    <a:pt x="658" y="700"/>
                  </a:cubicBezTo>
                  <a:cubicBezTo>
                    <a:pt x="661" y="699"/>
                    <a:pt x="661" y="699"/>
                    <a:pt x="661" y="699"/>
                  </a:cubicBezTo>
                  <a:cubicBezTo>
                    <a:pt x="668" y="698"/>
                    <a:pt x="668" y="698"/>
                    <a:pt x="668" y="698"/>
                  </a:cubicBezTo>
                  <a:cubicBezTo>
                    <a:pt x="686" y="699"/>
                    <a:pt x="686" y="699"/>
                    <a:pt x="686" y="699"/>
                  </a:cubicBezTo>
                  <a:cubicBezTo>
                    <a:pt x="686" y="691"/>
                    <a:pt x="686" y="691"/>
                    <a:pt x="686" y="691"/>
                  </a:cubicBezTo>
                  <a:cubicBezTo>
                    <a:pt x="699" y="693"/>
                    <a:pt x="699" y="693"/>
                    <a:pt x="699" y="693"/>
                  </a:cubicBezTo>
                  <a:cubicBezTo>
                    <a:pt x="700" y="684"/>
                    <a:pt x="700" y="684"/>
                    <a:pt x="700" y="684"/>
                  </a:cubicBezTo>
                  <a:cubicBezTo>
                    <a:pt x="715" y="684"/>
                    <a:pt x="715" y="684"/>
                    <a:pt x="715" y="684"/>
                  </a:cubicBezTo>
                  <a:cubicBezTo>
                    <a:pt x="712" y="712"/>
                    <a:pt x="712" y="712"/>
                    <a:pt x="712" y="712"/>
                  </a:cubicBezTo>
                  <a:cubicBezTo>
                    <a:pt x="697" y="712"/>
                    <a:pt x="697" y="712"/>
                    <a:pt x="697" y="712"/>
                  </a:cubicBezTo>
                  <a:cubicBezTo>
                    <a:pt x="694" y="712"/>
                    <a:pt x="694" y="712"/>
                    <a:pt x="694" y="712"/>
                  </a:cubicBezTo>
                  <a:cubicBezTo>
                    <a:pt x="677" y="717"/>
                    <a:pt x="677" y="717"/>
                    <a:pt x="677" y="717"/>
                  </a:cubicBezTo>
                  <a:cubicBezTo>
                    <a:pt x="669" y="717"/>
                    <a:pt x="669" y="717"/>
                    <a:pt x="669" y="717"/>
                  </a:cubicBezTo>
                  <a:cubicBezTo>
                    <a:pt x="661" y="720"/>
                    <a:pt x="661" y="720"/>
                    <a:pt x="661" y="720"/>
                  </a:cubicBezTo>
                  <a:cubicBezTo>
                    <a:pt x="667" y="729"/>
                    <a:pt x="667" y="729"/>
                    <a:pt x="667" y="729"/>
                  </a:cubicBezTo>
                  <a:cubicBezTo>
                    <a:pt x="670" y="735"/>
                    <a:pt x="670" y="735"/>
                    <a:pt x="670" y="735"/>
                  </a:cubicBezTo>
                  <a:cubicBezTo>
                    <a:pt x="679" y="752"/>
                    <a:pt x="679" y="752"/>
                    <a:pt x="679" y="752"/>
                  </a:cubicBezTo>
                  <a:cubicBezTo>
                    <a:pt x="681" y="757"/>
                    <a:pt x="681" y="757"/>
                    <a:pt x="681" y="757"/>
                  </a:cubicBezTo>
                  <a:cubicBezTo>
                    <a:pt x="682" y="758"/>
                    <a:pt x="682" y="758"/>
                    <a:pt x="682" y="758"/>
                  </a:cubicBezTo>
                  <a:cubicBezTo>
                    <a:pt x="680" y="758"/>
                    <a:pt x="680" y="758"/>
                    <a:pt x="680" y="758"/>
                  </a:cubicBezTo>
                  <a:cubicBezTo>
                    <a:pt x="683" y="766"/>
                    <a:pt x="683" y="766"/>
                    <a:pt x="683" y="766"/>
                  </a:cubicBezTo>
                  <a:cubicBezTo>
                    <a:pt x="685" y="769"/>
                    <a:pt x="685" y="769"/>
                    <a:pt x="685" y="769"/>
                  </a:cubicBezTo>
                  <a:cubicBezTo>
                    <a:pt x="688" y="775"/>
                    <a:pt x="688" y="775"/>
                    <a:pt x="688" y="775"/>
                  </a:cubicBezTo>
                  <a:cubicBezTo>
                    <a:pt x="693" y="782"/>
                    <a:pt x="693" y="782"/>
                    <a:pt x="693" y="782"/>
                  </a:cubicBezTo>
                  <a:cubicBezTo>
                    <a:pt x="695" y="785"/>
                    <a:pt x="695" y="785"/>
                    <a:pt x="695" y="785"/>
                  </a:cubicBezTo>
                  <a:cubicBezTo>
                    <a:pt x="693" y="785"/>
                    <a:pt x="693" y="785"/>
                    <a:pt x="693" y="785"/>
                  </a:cubicBezTo>
                  <a:cubicBezTo>
                    <a:pt x="702" y="805"/>
                    <a:pt x="702" y="805"/>
                    <a:pt x="702" y="805"/>
                  </a:cubicBezTo>
                  <a:cubicBezTo>
                    <a:pt x="701" y="808"/>
                    <a:pt x="701" y="808"/>
                    <a:pt x="701" y="808"/>
                  </a:cubicBezTo>
                  <a:cubicBezTo>
                    <a:pt x="735" y="795"/>
                    <a:pt x="735" y="795"/>
                    <a:pt x="735" y="795"/>
                  </a:cubicBezTo>
                  <a:cubicBezTo>
                    <a:pt x="735" y="796"/>
                    <a:pt x="735" y="796"/>
                    <a:pt x="735" y="796"/>
                  </a:cubicBezTo>
                  <a:cubicBezTo>
                    <a:pt x="740" y="803"/>
                    <a:pt x="740" y="803"/>
                    <a:pt x="740" y="803"/>
                  </a:cubicBezTo>
                  <a:cubicBezTo>
                    <a:pt x="743" y="807"/>
                    <a:pt x="743" y="807"/>
                    <a:pt x="743" y="807"/>
                  </a:cubicBezTo>
                  <a:cubicBezTo>
                    <a:pt x="742" y="807"/>
                    <a:pt x="742" y="807"/>
                    <a:pt x="742" y="807"/>
                  </a:cubicBezTo>
                  <a:cubicBezTo>
                    <a:pt x="707" y="820"/>
                    <a:pt x="707" y="820"/>
                    <a:pt x="707" y="820"/>
                  </a:cubicBezTo>
                  <a:cubicBezTo>
                    <a:pt x="705" y="813"/>
                    <a:pt x="705" y="813"/>
                    <a:pt x="705" y="813"/>
                  </a:cubicBezTo>
                  <a:cubicBezTo>
                    <a:pt x="705" y="813"/>
                    <a:pt x="705" y="813"/>
                    <a:pt x="705" y="813"/>
                  </a:cubicBezTo>
                  <a:cubicBezTo>
                    <a:pt x="703" y="813"/>
                    <a:pt x="703" y="813"/>
                    <a:pt x="703" y="813"/>
                  </a:cubicBezTo>
                  <a:cubicBezTo>
                    <a:pt x="689" y="817"/>
                    <a:pt x="689" y="817"/>
                    <a:pt x="689" y="817"/>
                  </a:cubicBezTo>
                  <a:cubicBezTo>
                    <a:pt x="693" y="833"/>
                    <a:pt x="693" y="833"/>
                    <a:pt x="693" y="833"/>
                  </a:cubicBezTo>
                  <a:cubicBezTo>
                    <a:pt x="710" y="831"/>
                    <a:pt x="710" y="831"/>
                    <a:pt x="710" y="831"/>
                  </a:cubicBezTo>
                  <a:cubicBezTo>
                    <a:pt x="713" y="838"/>
                    <a:pt x="713" y="838"/>
                    <a:pt x="713" y="838"/>
                  </a:cubicBezTo>
                  <a:cubicBezTo>
                    <a:pt x="673" y="847"/>
                    <a:pt x="673" y="847"/>
                    <a:pt x="673" y="847"/>
                  </a:cubicBezTo>
                  <a:cubicBezTo>
                    <a:pt x="668" y="823"/>
                    <a:pt x="668" y="823"/>
                    <a:pt x="668" y="823"/>
                  </a:cubicBezTo>
                  <a:cubicBezTo>
                    <a:pt x="660" y="827"/>
                    <a:pt x="660" y="827"/>
                    <a:pt x="660" y="827"/>
                  </a:cubicBezTo>
                  <a:cubicBezTo>
                    <a:pt x="659" y="837"/>
                    <a:pt x="659" y="837"/>
                    <a:pt x="659" y="837"/>
                  </a:cubicBezTo>
                  <a:cubicBezTo>
                    <a:pt x="658" y="838"/>
                    <a:pt x="658" y="838"/>
                    <a:pt x="658" y="838"/>
                  </a:cubicBezTo>
                  <a:cubicBezTo>
                    <a:pt x="658" y="839"/>
                    <a:pt x="658" y="839"/>
                    <a:pt x="658" y="839"/>
                  </a:cubicBezTo>
                  <a:cubicBezTo>
                    <a:pt x="654" y="847"/>
                    <a:pt x="654" y="847"/>
                    <a:pt x="654" y="847"/>
                  </a:cubicBezTo>
                  <a:cubicBezTo>
                    <a:pt x="653" y="849"/>
                    <a:pt x="653" y="849"/>
                    <a:pt x="653" y="849"/>
                  </a:cubicBezTo>
                  <a:cubicBezTo>
                    <a:pt x="649" y="854"/>
                    <a:pt x="649" y="854"/>
                    <a:pt x="649" y="854"/>
                  </a:cubicBezTo>
                  <a:cubicBezTo>
                    <a:pt x="640" y="854"/>
                    <a:pt x="640" y="854"/>
                    <a:pt x="640" y="854"/>
                  </a:cubicBezTo>
                  <a:cubicBezTo>
                    <a:pt x="643" y="857"/>
                    <a:pt x="643" y="857"/>
                    <a:pt x="643" y="857"/>
                  </a:cubicBezTo>
                  <a:cubicBezTo>
                    <a:pt x="647" y="864"/>
                    <a:pt x="647" y="864"/>
                    <a:pt x="647" y="864"/>
                  </a:cubicBezTo>
                  <a:cubicBezTo>
                    <a:pt x="650" y="864"/>
                    <a:pt x="650" y="864"/>
                    <a:pt x="650" y="864"/>
                  </a:cubicBezTo>
                  <a:cubicBezTo>
                    <a:pt x="651" y="864"/>
                    <a:pt x="651" y="864"/>
                    <a:pt x="651" y="864"/>
                  </a:cubicBezTo>
                  <a:cubicBezTo>
                    <a:pt x="651" y="865"/>
                    <a:pt x="651" y="865"/>
                    <a:pt x="651" y="865"/>
                  </a:cubicBezTo>
                  <a:cubicBezTo>
                    <a:pt x="654" y="869"/>
                    <a:pt x="654" y="869"/>
                    <a:pt x="654" y="869"/>
                  </a:cubicBezTo>
                  <a:cubicBezTo>
                    <a:pt x="654" y="877"/>
                    <a:pt x="654" y="877"/>
                    <a:pt x="654" y="877"/>
                  </a:cubicBezTo>
                  <a:cubicBezTo>
                    <a:pt x="635" y="879"/>
                    <a:pt x="635" y="879"/>
                    <a:pt x="635" y="879"/>
                  </a:cubicBezTo>
                  <a:cubicBezTo>
                    <a:pt x="632" y="877"/>
                    <a:pt x="632" y="877"/>
                    <a:pt x="632" y="877"/>
                  </a:cubicBezTo>
                  <a:cubicBezTo>
                    <a:pt x="632" y="876"/>
                    <a:pt x="632" y="876"/>
                    <a:pt x="632" y="876"/>
                  </a:cubicBezTo>
                  <a:cubicBezTo>
                    <a:pt x="618" y="862"/>
                    <a:pt x="618" y="862"/>
                    <a:pt x="618" y="862"/>
                  </a:cubicBezTo>
                  <a:cubicBezTo>
                    <a:pt x="619" y="855"/>
                    <a:pt x="619" y="855"/>
                    <a:pt x="619" y="855"/>
                  </a:cubicBezTo>
                  <a:cubicBezTo>
                    <a:pt x="616" y="855"/>
                    <a:pt x="616" y="855"/>
                    <a:pt x="616" y="855"/>
                  </a:cubicBezTo>
                  <a:cubicBezTo>
                    <a:pt x="614" y="884"/>
                    <a:pt x="614" y="884"/>
                    <a:pt x="614" y="884"/>
                  </a:cubicBezTo>
                  <a:cubicBezTo>
                    <a:pt x="585" y="886"/>
                    <a:pt x="585" y="886"/>
                    <a:pt x="585" y="886"/>
                  </a:cubicBezTo>
                  <a:cubicBezTo>
                    <a:pt x="589" y="933"/>
                    <a:pt x="589" y="933"/>
                    <a:pt x="589" y="933"/>
                  </a:cubicBezTo>
                  <a:cubicBezTo>
                    <a:pt x="523" y="938"/>
                    <a:pt x="523" y="938"/>
                    <a:pt x="523" y="938"/>
                  </a:cubicBezTo>
                  <a:cubicBezTo>
                    <a:pt x="520" y="914"/>
                    <a:pt x="520" y="914"/>
                    <a:pt x="520" y="914"/>
                  </a:cubicBezTo>
                  <a:cubicBezTo>
                    <a:pt x="518" y="914"/>
                    <a:pt x="518" y="914"/>
                    <a:pt x="518" y="914"/>
                  </a:cubicBezTo>
                  <a:cubicBezTo>
                    <a:pt x="508" y="914"/>
                    <a:pt x="508" y="914"/>
                    <a:pt x="508" y="914"/>
                  </a:cubicBezTo>
                  <a:cubicBezTo>
                    <a:pt x="502" y="914"/>
                    <a:pt x="502" y="914"/>
                    <a:pt x="502" y="914"/>
                  </a:cubicBezTo>
                  <a:cubicBezTo>
                    <a:pt x="491" y="915"/>
                    <a:pt x="491" y="915"/>
                    <a:pt x="491" y="915"/>
                  </a:cubicBezTo>
                  <a:cubicBezTo>
                    <a:pt x="490" y="893"/>
                    <a:pt x="490" y="893"/>
                    <a:pt x="490" y="893"/>
                  </a:cubicBezTo>
                  <a:cubicBezTo>
                    <a:pt x="489" y="888"/>
                    <a:pt x="489" y="888"/>
                    <a:pt x="489" y="888"/>
                  </a:cubicBezTo>
                  <a:cubicBezTo>
                    <a:pt x="452" y="890"/>
                    <a:pt x="452" y="890"/>
                    <a:pt x="452" y="890"/>
                  </a:cubicBezTo>
                  <a:cubicBezTo>
                    <a:pt x="448" y="856"/>
                    <a:pt x="448" y="856"/>
                    <a:pt x="448" y="856"/>
                  </a:cubicBezTo>
                  <a:cubicBezTo>
                    <a:pt x="464" y="842"/>
                    <a:pt x="464" y="842"/>
                    <a:pt x="464" y="842"/>
                  </a:cubicBezTo>
                  <a:cubicBezTo>
                    <a:pt x="463" y="835"/>
                    <a:pt x="463" y="835"/>
                    <a:pt x="463" y="835"/>
                  </a:cubicBezTo>
                  <a:cubicBezTo>
                    <a:pt x="461" y="822"/>
                    <a:pt x="461" y="822"/>
                    <a:pt x="461" y="822"/>
                  </a:cubicBezTo>
                  <a:cubicBezTo>
                    <a:pt x="502" y="784"/>
                    <a:pt x="502" y="784"/>
                    <a:pt x="502" y="784"/>
                  </a:cubicBezTo>
                  <a:cubicBezTo>
                    <a:pt x="497" y="779"/>
                    <a:pt x="497" y="779"/>
                    <a:pt x="497" y="779"/>
                  </a:cubicBezTo>
                  <a:cubicBezTo>
                    <a:pt x="448" y="820"/>
                    <a:pt x="448" y="820"/>
                    <a:pt x="448" y="820"/>
                  </a:cubicBezTo>
                  <a:cubicBezTo>
                    <a:pt x="431" y="834"/>
                    <a:pt x="431" y="834"/>
                    <a:pt x="431" y="834"/>
                  </a:cubicBezTo>
                  <a:cubicBezTo>
                    <a:pt x="422" y="842"/>
                    <a:pt x="422" y="842"/>
                    <a:pt x="422" y="842"/>
                  </a:cubicBezTo>
                  <a:cubicBezTo>
                    <a:pt x="420" y="844"/>
                    <a:pt x="420" y="844"/>
                    <a:pt x="420" y="844"/>
                  </a:cubicBezTo>
                  <a:cubicBezTo>
                    <a:pt x="420" y="853"/>
                    <a:pt x="420" y="853"/>
                    <a:pt x="420" y="853"/>
                  </a:cubicBezTo>
                  <a:cubicBezTo>
                    <a:pt x="422" y="855"/>
                    <a:pt x="422" y="855"/>
                    <a:pt x="422" y="855"/>
                  </a:cubicBezTo>
                  <a:cubicBezTo>
                    <a:pt x="424" y="898"/>
                    <a:pt x="424" y="898"/>
                    <a:pt x="424" y="898"/>
                  </a:cubicBezTo>
                  <a:cubicBezTo>
                    <a:pt x="423" y="900"/>
                    <a:pt x="423" y="900"/>
                    <a:pt x="423" y="900"/>
                  </a:cubicBezTo>
                  <a:cubicBezTo>
                    <a:pt x="351" y="961"/>
                    <a:pt x="351" y="961"/>
                    <a:pt x="351" y="961"/>
                  </a:cubicBezTo>
                  <a:cubicBezTo>
                    <a:pt x="340" y="956"/>
                    <a:pt x="340" y="956"/>
                    <a:pt x="340" y="956"/>
                  </a:cubicBezTo>
                  <a:cubicBezTo>
                    <a:pt x="321" y="947"/>
                    <a:pt x="321" y="947"/>
                    <a:pt x="321" y="947"/>
                  </a:cubicBezTo>
                  <a:cubicBezTo>
                    <a:pt x="318" y="947"/>
                    <a:pt x="318" y="947"/>
                    <a:pt x="318" y="947"/>
                  </a:cubicBezTo>
                  <a:cubicBezTo>
                    <a:pt x="317" y="946"/>
                    <a:pt x="317" y="946"/>
                    <a:pt x="317" y="946"/>
                  </a:cubicBezTo>
                  <a:cubicBezTo>
                    <a:pt x="315" y="940"/>
                    <a:pt x="315" y="940"/>
                    <a:pt x="315" y="940"/>
                  </a:cubicBezTo>
                  <a:cubicBezTo>
                    <a:pt x="314" y="937"/>
                    <a:pt x="314" y="937"/>
                    <a:pt x="314" y="937"/>
                  </a:cubicBezTo>
                  <a:cubicBezTo>
                    <a:pt x="310" y="941"/>
                    <a:pt x="310" y="941"/>
                    <a:pt x="310" y="941"/>
                  </a:cubicBezTo>
                  <a:cubicBezTo>
                    <a:pt x="300" y="961"/>
                    <a:pt x="300" y="961"/>
                    <a:pt x="300" y="961"/>
                  </a:cubicBezTo>
                  <a:cubicBezTo>
                    <a:pt x="282" y="1011"/>
                    <a:pt x="282" y="1011"/>
                    <a:pt x="282" y="1011"/>
                  </a:cubicBezTo>
                  <a:cubicBezTo>
                    <a:pt x="276" y="1040"/>
                    <a:pt x="276" y="1040"/>
                    <a:pt x="276" y="1040"/>
                  </a:cubicBezTo>
                  <a:cubicBezTo>
                    <a:pt x="272" y="1058"/>
                    <a:pt x="272" y="1058"/>
                    <a:pt x="272" y="1058"/>
                  </a:cubicBezTo>
                  <a:cubicBezTo>
                    <a:pt x="271" y="1079"/>
                    <a:pt x="271" y="1079"/>
                    <a:pt x="271" y="1079"/>
                  </a:cubicBezTo>
                  <a:cubicBezTo>
                    <a:pt x="271" y="1095"/>
                    <a:pt x="271" y="1095"/>
                    <a:pt x="271" y="1095"/>
                  </a:cubicBezTo>
                  <a:cubicBezTo>
                    <a:pt x="295" y="1143"/>
                    <a:pt x="295" y="1143"/>
                    <a:pt x="295" y="1143"/>
                  </a:cubicBezTo>
                  <a:cubicBezTo>
                    <a:pt x="292" y="1168"/>
                    <a:pt x="292" y="1168"/>
                    <a:pt x="292" y="1168"/>
                  </a:cubicBezTo>
                  <a:cubicBezTo>
                    <a:pt x="294" y="1173"/>
                    <a:pt x="294" y="1173"/>
                    <a:pt x="294" y="1173"/>
                  </a:cubicBezTo>
                  <a:cubicBezTo>
                    <a:pt x="295" y="1174"/>
                    <a:pt x="295" y="1174"/>
                    <a:pt x="295" y="1174"/>
                  </a:cubicBezTo>
                  <a:cubicBezTo>
                    <a:pt x="294" y="1176"/>
                    <a:pt x="294" y="1176"/>
                    <a:pt x="294" y="1176"/>
                  </a:cubicBezTo>
                  <a:cubicBezTo>
                    <a:pt x="282" y="1179"/>
                    <a:pt x="282" y="1179"/>
                    <a:pt x="282" y="1179"/>
                  </a:cubicBezTo>
                  <a:cubicBezTo>
                    <a:pt x="274" y="1179"/>
                    <a:pt x="274" y="1179"/>
                    <a:pt x="274" y="1179"/>
                  </a:cubicBezTo>
                  <a:cubicBezTo>
                    <a:pt x="269" y="1181"/>
                    <a:pt x="269" y="1181"/>
                    <a:pt x="269" y="1181"/>
                  </a:cubicBezTo>
                  <a:cubicBezTo>
                    <a:pt x="269" y="1181"/>
                    <a:pt x="269" y="1181"/>
                    <a:pt x="269" y="1181"/>
                  </a:cubicBezTo>
                  <a:cubicBezTo>
                    <a:pt x="271" y="1190"/>
                    <a:pt x="271" y="1190"/>
                    <a:pt x="271" y="1190"/>
                  </a:cubicBezTo>
                  <a:cubicBezTo>
                    <a:pt x="263" y="1191"/>
                    <a:pt x="263" y="1191"/>
                    <a:pt x="263" y="1191"/>
                  </a:cubicBezTo>
                  <a:cubicBezTo>
                    <a:pt x="263" y="1193"/>
                    <a:pt x="263" y="1193"/>
                    <a:pt x="263" y="1193"/>
                  </a:cubicBezTo>
                  <a:cubicBezTo>
                    <a:pt x="256" y="1194"/>
                    <a:pt x="256" y="1194"/>
                    <a:pt x="256" y="1194"/>
                  </a:cubicBezTo>
                  <a:cubicBezTo>
                    <a:pt x="228" y="1203"/>
                    <a:pt x="228" y="1203"/>
                    <a:pt x="228" y="1203"/>
                  </a:cubicBezTo>
                  <a:cubicBezTo>
                    <a:pt x="226" y="1208"/>
                    <a:pt x="226" y="1208"/>
                    <a:pt x="226" y="1208"/>
                  </a:cubicBezTo>
                  <a:cubicBezTo>
                    <a:pt x="222" y="1211"/>
                    <a:pt x="222" y="1211"/>
                    <a:pt x="222" y="1211"/>
                  </a:cubicBezTo>
                  <a:cubicBezTo>
                    <a:pt x="217" y="1215"/>
                    <a:pt x="217" y="1215"/>
                    <a:pt x="217" y="1215"/>
                  </a:cubicBezTo>
                  <a:cubicBezTo>
                    <a:pt x="218" y="1224"/>
                    <a:pt x="218" y="1224"/>
                    <a:pt x="218" y="1224"/>
                  </a:cubicBezTo>
                  <a:cubicBezTo>
                    <a:pt x="213" y="1225"/>
                    <a:pt x="213" y="1225"/>
                    <a:pt x="213" y="1225"/>
                  </a:cubicBezTo>
                  <a:cubicBezTo>
                    <a:pt x="213" y="1216"/>
                    <a:pt x="213" y="1216"/>
                    <a:pt x="213" y="1216"/>
                  </a:cubicBezTo>
                  <a:cubicBezTo>
                    <a:pt x="210" y="1213"/>
                    <a:pt x="210" y="1213"/>
                    <a:pt x="210" y="1213"/>
                  </a:cubicBezTo>
                  <a:cubicBezTo>
                    <a:pt x="209" y="1190"/>
                    <a:pt x="209" y="1190"/>
                    <a:pt x="209" y="1190"/>
                  </a:cubicBezTo>
                  <a:cubicBezTo>
                    <a:pt x="209" y="1189"/>
                    <a:pt x="209" y="1189"/>
                    <a:pt x="209" y="1189"/>
                  </a:cubicBezTo>
                  <a:cubicBezTo>
                    <a:pt x="210" y="1189"/>
                    <a:pt x="210" y="1189"/>
                    <a:pt x="210" y="1189"/>
                  </a:cubicBezTo>
                  <a:cubicBezTo>
                    <a:pt x="210" y="1188"/>
                    <a:pt x="210" y="1188"/>
                    <a:pt x="210" y="1188"/>
                  </a:cubicBezTo>
                  <a:cubicBezTo>
                    <a:pt x="198" y="1165"/>
                    <a:pt x="198" y="1165"/>
                    <a:pt x="198" y="1165"/>
                  </a:cubicBezTo>
                  <a:cubicBezTo>
                    <a:pt x="196" y="1156"/>
                    <a:pt x="196" y="1156"/>
                    <a:pt x="196" y="1156"/>
                  </a:cubicBezTo>
                  <a:cubicBezTo>
                    <a:pt x="208" y="1122"/>
                    <a:pt x="208" y="1122"/>
                    <a:pt x="208" y="1122"/>
                  </a:cubicBezTo>
                  <a:cubicBezTo>
                    <a:pt x="208" y="1092"/>
                    <a:pt x="208" y="1092"/>
                    <a:pt x="208" y="1092"/>
                  </a:cubicBezTo>
                  <a:cubicBezTo>
                    <a:pt x="198" y="1070"/>
                    <a:pt x="198" y="1070"/>
                    <a:pt x="198" y="1070"/>
                  </a:cubicBezTo>
                  <a:cubicBezTo>
                    <a:pt x="197" y="1069"/>
                    <a:pt x="197" y="1069"/>
                    <a:pt x="197" y="1069"/>
                  </a:cubicBezTo>
                  <a:cubicBezTo>
                    <a:pt x="196" y="1069"/>
                    <a:pt x="196" y="1069"/>
                    <a:pt x="196" y="1069"/>
                  </a:cubicBezTo>
                  <a:cubicBezTo>
                    <a:pt x="192" y="1066"/>
                    <a:pt x="192" y="1066"/>
                    <a:pt x="192" y="1066"/>
                  </a:cubicBezTo>
                  <a:cubicBezTo>
                    <a:pt x="172" y="1094"/>
                    <a:pt x="172" y="1094"/>
                    <a:pt x="172" y="1094"/>
                  </a:cubicBezTo>
                  <a:cubicBezTo>
                    <a:pt x="172" y="1095"/>
                    <a:pt x="172" y="1095"/>
                    <a:pt x="172" y="1095"/>
                  </a:cubicBezTo>
                  <a:cubicBezTo>
                    <a:pt x="150" y="1126"/>
                    <a:pt x="150" y="1126"/>
                    <a:pt x="150" y="1126"/>
                  </a:cubicBezTo>
                  <a:cubicBezTo>
                    <a:pt x="151" y="1127"/>
                    <a:pt x="151" y="1127"/>
                    <a:pt x="151" y="1127"/>
                  </a:cubicBezTo>
                  <a:cubicBezTo>
                    <a:pt x="124" y="1166"/>
                    <a:pt x="124" y="1166"/>
                    <a:pt x="124" y="1166"/>
                  </a:cubicBezTo>
                  <a:cubicBezTo>
                    <a:pt x="122" y="1165"/>
                    <a:pt x="122" y="1165"/>
                    <a:pt x="122" y="1165"/>
                  </a:cubicBezTo>
                  <a:cubicBezTo>
                    <a:pt x="103" y="1192"/>
                    <a:pt x="103" y="1192"/>
                    <a:pt x="103" y="1192"/>
                  </a:cubicBezTo>
                  <a:cubicBezTo>
                    <a:pt x="91" y="1209"/>
                    <a:pt x="91" y="1209"/>
                    <a:pt x="91" y="1209"/>
                  </a:cubicBezTo>
                  <a:cubicBezTo>
                    <a:pt x="82" y="1223"/>
                    <a:pt x="82" y="1223"/>
                    <a:pt x="82" y="1223"/>
                  </a:cubicBezTo>
                  <a:cubicBezTo>
                    <a:pt x="76" y="1231"/>
                    <a:pt x="76" y="1231"/>
                    <a:pt x="76" y="1231"/>
                  </a:cubicBezTo>
                  <a:cubicBezTo>
                    <a:pt x="78" y="1231"/>
                    <a:pt x="78" y="1231"/>
                    <a:pt x="78" y="1231"/>
                  </a:cubicBezTo>
                  <a:cubicBezTo>
                    <a:pt x="60" y="1258"/>
                    <a:pt x="60" y="1258"/>
                    <a:pt x="60" y="1258"/>
                  </a:cubicBezTo>
                  <a:cubicBezTo>
                    <a:pt x="54" y="1265"/>
                    <a:pt x="54" y="1265"/>
                    <a:pt x="54" y="1265"/>
                  </a:cubicBezTo>
                  <a:cubicBezTo>
                    <a:pt x="56" y="1267"/>
                    <a:pt x="56" y="1267"/>
                    <a:pt x="56" y="1267"/>
                  </a:cubicBezTo>
                  <a:cubicBezTo>
                    <a:pt x="57" y="1267"/>
                    <a:pt x="57" y="1267"/>
                    <a:pt x="57" y="1267"/>
                  </a:cubicBezTo>
                  <a:cubicBezTo>
                    <a:pt x="127" y="1303"/>
                    <a:pt x="127" y="1303"/>
                    <a:pt x="127" y="1303"/>
                  </a:cubicBezTo>
                  <a:cubicBezTo>
                    <a:pt x="127" y="1303"/>
                    <a:pt x="127" y="1303"/>
                    <a:pt x="127" y="1303"/>
                  </a:cubicBezTo>
                  <a:cubicBezTo>
                    <a:pt x="129" y="1305"/>
                    <a:pt x="129" y="1305"/>
                    <a:pt x="129" y="1305"/>
                  </a:cubicBezTo>
                  <a:cubicBezTo>
                    <a:pt x="129" y="1305"/>
                    <a:pt x="129" y="1305"/>
                    <a:pt x="129" y="1305"/>
                  </a:cubicBezTo>
                  <a:cubicBezTo>
                    <a:pt x="130" y="1306"/>
                    <a:pt x="130" y="1306"/>
                    <a:pt x="130" y="1306"/>
                  </a:cubicBezTo>
                  <a:cubicBezTo>
                    <a:pt x="130" y="1307"/>
                    <a:pt x="130" y="1307"/>
                    <a:pt x="130" y="1307"/>
                  </a:cubicBezTo>
                  <a:cubicBezTo>
                    <a:pt x="131" y="1308"/>
                    <a:pt x="131" y="1308"/>
                    <a:pt x="131" y="1308"/>
                  </a:cubicBezTo>
                  <a:cubicBezTo>
                    <a:pt x="131" y="1310"/>
                    <a:pt x="131" y="1310"/>
                    <a:pt x="131" y="1310"/>
                  </a:cubicBezTo>
                  <a:cubicBezTo>
                    <a:pt x="130" y="1311"/>
                    <a:pt x="130" y="1311"/>
                    <a:pt x="130" y="1311"/>
                  </a:cubicBezTo>
                  <a:cubicBezTo>
                    <a:pt x="130" y="1312"/>
                    <a:pt x="130" y="1312"/>
                    <a:pt x="130" y="1312"/>
                  </a:cubicBezTo>
                  <a:cubicBezTo>
                    <a:pt x="123" y="1330"/>
                    <a:pt x="123" y="1330"/>
                    <a:pt x="123" y="1330"/>
                  </a:cubicBezTo>
                  <a:cubicBezTo>
                    <a:pt x="145" y="1349"/>
                    <a:pt x="145" y="1349"/>
                    <a:pt x="145" y="1349"/>
                  </a:cubicBezTo>
                  <a:cubicBezTo>
                    <a:pt x="132" y="1360"/>
                    <a:pt x="132" y="1360"/>
                    <a:pt x="132" y="1360"/>
                  </a:cubicBezTo>
                  <a:cubicBezTo>
                    <a:pt x="106" y="1338"/>
                    <a:pt x="106" y="1338"/>
                    <a:pt x="106" y="1338"/>
                  </a:cubicBezTo>
                  <a:cubicBezTo>
                    <a:pt x="80" y="1373"/>
                    <a:pt x="80" y="1373"/>
                    <a:pt x="80" y="1373"/>
                  </a:cubicBezTo>
                  <a:cubicBezTo>
                    <a:pt x="27" y="1345"/>
                    <a:pt x="27" y="1345"/>
                    <a:pt x="27" y="1345"/>
                  </a:cubicBezTo>
                  <a:cubicBezTo>
                    <a:pt x="14" y="1338"/>
                    <a:pt x="14" y="1338"/>
                    <a:pt x="14" y="1338"/>
                  </a:cubicBezTo>
                  <a:cubicBezTo>
                    <a:pt x="40" y="1304"/>
                    <a:pt x="40" y="1304"/>
                    <a:pt x="40" y="1304"/>
                  </a:cubicBezTo>
                  <a:cubicBezTo>
                    <a:pt x="44" y="1299"/>
                    <a:pt x="44" y="1299"/>
                    <a:pt x="44" y="1299"/>
                  </a:cubicBezTo>
                  <a:cubicBezTo>
                    <a:pt x="44" y="1299"/>
                    <a:pt x="44" y="1299"/>
                    <a:pt x="44" y="1299"/>
                  </a:cubicBezTo>
                  <a:cubicBezTo>
                    <a:pt x="45" y="1295"/>
                    <a:pt x="45" y="1295"/>
                    <a:pt x="45" y="1295"/>
                  </a:cubicBezTo>
                  <a:cubicBezTo>
                    <a:pt x="61" y="1274"/>
                    <a:pt x="61" y="1274"/>
                    <a:pt x="61" y="1274"/>
                  </a:cubicBezTo>
                  <a:cubicBezTo>
                    <a:pt x="55" y="1270"/>
                    <a:pt x="55" y="1270"/>
                    <a:pt x="55" y="1270"/>
                  </a:cubicBezTo>
                  <a:cubicBezTo>
                    <a:pt x="54" y="1270"/>
                    <a:pt x="54" y="1270"/>
                    <a:pt x="54" y="1270"/>
                  </a:cubicBezTo>
                  <a:cubicBezTo>
                    <a:pt x="52" y="1269"/>
                    <a:pt x="52" y="1269"/>
                    <a:pt x="52" y="1269"/>
                  </a:cubicBezTo>
                  <a:cubicBezTo>
                    <a:pt x="50" y="1271"/>
                    <a:pt x="50" y="1271"/>
                    <a:pt x="50" y="1271"/>
                  </a:cubicBezTo>
                  <a:cubicBezTo>
                    <a:pt x="9" y="1327"/>
                    <a:pt x="9" y="1327"/>
                    <a:pt x="9" y="1327"/>
                  </a:cubicBezTo>
                  <a:cubicBezTo>
                    <a:pt x="0" y="1341"/>
                    <a:pt x="0" y="1341"/>
                    <a:pt x="0" y="1341"/>
                  </a:cubicBezTo>
                  <a:cubicBezTo>
                    <a:pt x="3" y="1343"/>
                    <a:pt x="3" y="1343"/>
                    <a:pt x="3" y="1343"/>
                  </a:cubicBezTo>
                  <a:cubicBezTo>
                    <a:pt x="4" y="1343"/>
                    <a:pt x="4" y="1343"/>
                    <a:pt x="4" y="1343"/>
                  </a:cubicBezTo>
                  <a:cubicBezTo>
                    <a:pt x="50" y="1364"/>
                    <a:pt x="50" y="1364"/>
                    <a:pt x="50" y="1364"/>
                  </a:cubicBezTo>
                  <a:cubicBezTo>
                    <a:pt x="57" y="1365"/>
                    <a:pt x="57" y="1365"/>
                    <a:pt x="57" y="1365"/>
                  </a:cubicBezTo>
                  <a:cubicBezTo>
                    <a:pt x="62" y="1371"/>
                    <a:pt x="62" y="1371"/>
                    <a:pt x="62" y="1371"/>
                  </a:cubicBezTo>
                  <a:cubicBezTo>
                    <a:pt x="72" y="1375"/>
                    <a:pt x="72" y="1375"/>
                    <a:pt x="72" y="1375"/>
                  </a:cubicBezTo>
                  <a:cubicBezTo>
                    <a:pt x="83" y="1379"/>
                    <a:pt x="83" y="1379"/>
                    <a:pt x="83" y="1379"/>
                  </a:cubicBezTo>
                  <a:cubicBezTo>
                    <a:pt x="84" y="1376"/>
                    <a:pt x="84" y="1376"/>
                    <a:pt x="84" y="1376"/>
                  </a:cubicBezTo>
                  <a:cubicBezTo>
                    <a:pt x="99" y="1384"/>
                    <a:pt x="99" y="1384"/>
                    <a:pt x="99" y="1384"/>
                  </a:cubicBezTo>
                  <a:cubicBezTo>
                    <a:pt x="104" y="1386"/>
                    <a:pt x="104" y="1386"/>
                    <a:pt x="104" y="1386"/>
                  </a:cubicBezTo>
                  <a:cubicBezTo>
                    <a:pt x="119" y="1394"/>
                    <a:pt x="119" y="1394"/>
                    <a:pt x="119" y="1394"/>
                  </a:cubicBezTo>
                  <a:cubicBezTo>
                    <a:pt x="123" y="1398"/>
                    <a:pt x="123" y="1398"/>
                    <a:pt x="123" y="1398"/>
                  </a:cubicBezTo>
                  <a:cubicBezTo>
                    <a:pt x="127" y="1399"/>
                    <a:pt x="127" y="1399"/>
                    <a:pt x="127" y="1399"/>
                  </a:cubicBezTo>
                  <a:cubicBezTo>
                    <a:pt x="125" y="1402"/>
                    <a:pt x="125" y="1402"/>
                    <a:pt x="125" y="1402"/>
                  </a:cubicBezTo>
                  <a:cubicBezTo>
                    <a:pt x="169" y="1424"/>
                    <a:pt x="169" y="1424"/>
                    <a:pt x="169" y="1424"/>
                  </a:cubicBezTo>
                  <a:cubicBezTo>
                    <a:pt x="328" y="1505"/>
                    <a:pt x="328" y="1505"/>
                    <a:pt x="328" y="1505"/>
                  </a:cubicBezTo>
                  <a:cubicBezTo>
                    <a:pt x="329" y="1505"/>
                    <a:pt x="329" y="1505"/>
                    <a:pt x="329" y="1505"/>
                  </a:cubicBezTo>
                  <a:cubicBezTo>
                    <a:pt x="332" y="1507"/>
                    <a:pt x="332" y="1507"/>
                    <a:pt x="332" y="1507"/>
                  </a:cubicBezTo>
                  <a:cubicBezTo>
                    <a:pt x="360" y="1473"/>
                    <a:pt x="360" y="1473"/>
                    <a:pt x="360" y="1473"/>
                  </a:cubicBezTo>
                  <a:cubicBezTo>
                    <a:pt x="379" y="1450"/>
                    <a:pt x="379" y="1450"/>
                    <a:pt x="379" y="1450"/>
                  </a:cubicBezTo>
                  <a:cubicBezTo>
                    <a:pt x="379" y="1449"/>
                    <a:pt x="379" y="1449"/>
                    <a:pt x="379" y="1449"/>
                  </a:cubicBezTo>
                  <a:cubicBezTo>
                    <a:pt x="392" y="1457"/>
                    <a:pt x="392" y="1457"/>
                    <a:pt x="392" y="1457"/>
                  </a:cubicBezTo>
                  <a:cubicBezTo>
                    <a:pt x="469" y="1505"/>
                    <a:pt x="469" y="1505"/>
                    <a:pt x="469" y="1505"/>
                  </a:cubicBezTo>
                  <a:cubicBezTo>
                    <a:pt x="491" y="1474"/>
                    <a:pt x="491" y="1474"/>
                    <a:pt x="491" y="1474"/>
                  </a:cubicBezTo>
                  <a:cubicBezTo>
                    <a:pt x="522" y="1430"/>
                    <a:pt x="522" y="1430"/>
                    <a:pt x="522" y="1430"/>
                  </a:cubicBezTo>
                  <a:cubicBezTo>
                    <a:pt x="532" y="1435"/>
                    <a:pt x="532" y="1435"/>
                    <a:pt x="532" y="1435"/>
                  </a:cubicBezTo>
                  <a:cubicBezTo>
                    <a:pt x="552" y="1403"/>
                    <a:pt x="552" y="1403"/>
                    <a:pt x="552" y="1403"/>
                  </a:cubicBezTo>
                  <a:cubicBezTo>
                    <a:pt x="582" y="1356"/>
                    <a:pt x="582" y="1356"/>
                    <a:pt x="582" y="1356"/>
                  </a:cubicBezTo>
                  <a:cubicBezTo>
                    <a:pt x="568" y="1344"/>
                    <a:pt x="568" y="1344"/>
                    <a:pt x="568" y="1344"/>
                  </a:cubicBezTo>
                  <a:cubicBezTo>
                    <a:pt x="556" y="1333"/>
                    <a:pt x="556" y="1333"/>
                    <a:pt x="556" y="1333"/>
                  </a:cubicBezTo>
                  <a:cubicBezTo>
                    <a:pt x="545" y="1324"/>
                    <a:pt x="545" y="1324"/>
                    <a:pt x="545" y="1324"/>
                  </a:cubicBezTo>
                  <a:cubicBezTo>
                    <a:pt x="531" y="1311"/>
                    <a:pt x="531" y="1311"/>
                    <a:pt x="531" y="1311"/>
                  </a:cubicBezTo>
                  <a:cubicBezTo>
                    <a:pt x="506" y="1289"/>
                    <a:pt x="506" y="1289"/>
                    <a:pt x="506" y="1289"/>
                  </a:cubicBezTo>
                  <a:cubicBezTo>
                    <a:pt x="493" y="1278"/>
                    <a:pt x="493" y="1278"/>
                    <a:pt x="493" y="1278"/>
                  </a:cubicBezTo>
                  <a:cubicBezTo>
                    <a:pt x="482" y="1269"/>
                    <a:pt x="482" y="1269"/>
                    <a:pt x="482" y="1269"/>
                  </a:cubicBezTo>
                  <a:cubicBezTo>
                    <a:pt x="481" y="1270"/>
                    <a:pt x="481" y="1270"/>
                    <a:pt x="481" y="1270"/>
                  </a:cubicBezTo>
                  <a:cubicBezTo>
                    <a:pt x="481" y="1269"/>
                    <a:pt x="481" y="1269"/>
                    <a:pt x="481" y="1269"/>
                  </a:cubicBezTo>
                  <a:cubicBezTo>
                    <a:pt x="484" y="1265"/>
                    <a:pt x="484" y="1265"/>
                    <a:pt x="484" y="1265"/>
                  </a:cubicBezTo>
                  <a:cubicBezTo>
                    <a:pt x="485" y="1263"/>
                    <a:pt x="485" y="1263"/>
                    <a:pt x="485" y="1263"/>
                  </a:cubicBezTo>
                  <a:cubicBezTo>
                    <a:pt x="488" y="1259"/>
                    <a:pt x="488" y="1259"/>
                    <a:pt x="488" y="1259"/>
                  </a:cubicBezTo>
                  <a:cubicBezTo>
                    <a:pt x="490" y="1254"/>
                    <a:pt x="490" y="1254"/>
                    <a:pt x="490" y="1254"/>
                  </a:cubicBezTo>
                  <a:cubicBezTo>
                    <a:pt x="492" y="1252"/>
                    <a:pt x="492" y="1252"/>
                    <a:pt x="492" y="1252"/>
                  </a:cubicBezTo>
                  <a:cubicBezTo>
                    <a:pt x="493" y="1248"/>
                    <a:pt x="493" y="1248"/>
                    <a:pt x="493" y="1248"/>
                  </a:cubicBezTo>
                  <a:cubicBezTo>
                    <a:pt x="496" y="1242"/>
                    <a:pt x="496" y="1242"/>
                    <a:pt x="496" y="1242"/>
                  </a:cubicBezTo>
                  <a:cubicBezTo>
                    <a:pt x="504" y="1222"/>
                    <a:pt x="504" y="1222"/>
                    <a:pt x="504" y="1222"/>
                  </a:cubicBezTo>
                  <a:cubicBezTo>
                    <a:pt x="508" y="1212"/>
                    <a:pt x="508" y="1212"/>
                    <a:pt x="508" y="1212"/>
                  </a:cubicBezTo>
                  <a:cubicBezTo>
                    <a:pt x="504" y="1214"/>
                    <a:pt x="504" y="1214"/>
                    <a:pt x="504" y="1214"/>
                  </a:cubicBezTo>
                  <a:cubicBezTo>
                    <a:pt x="499" y="1217"/>
                    <a:pt x="499" y="1217"/>
                    <a:pt x="499" y="1217"/>
                  </a:cubicBezTo>
                  <a:cubicBezTo>
                    <a:pt x="493" y="1219"/>
                    <a:pt x="493" y="1219"/>
                    <a:pt x="493" y="1219"/>
                  </a:cubicBezTo>
                  <a:cubicBezTo>
                    <a:pt x="494" y="1216"/>
                    <a:pt x="494" y="1216"/>
                    <a:pt x="494" y="1216"/>
                  </a:cubicBezTo>
                  <a:cubicBezTo>
                    <a:pt x="497" y="1204"/>
                    <a:pt x="497" y="1204"/>
                    <a:pt x="497" y="1204"/>
                  </a:cubicBezTo>
                  <a:cubicBezTo>
                    <a:pt x="500" y="1191"/>
                    <a:pt x="500" y="1191"/>
                    <a:pt x="500" y="1191"/>
                  </a:cubicBezTo>
                  <a:cubicBezTo>
                    <a:pt x="502" y="1188"/>
                    <a:pt x="502" y="1188"/>
                    <a:pt x="502" y="1188"/>
                  </a:cubicBezTo>
                  <a:cubicBezTo>
                    <a:pt x="507" y="1173"/>
                    <a:pt x="507" y="1173"/>
                    <a:pt x="507" y="1173"/>
                  </a:cubicBezTo>
                  <a:cubicBezTo>
                    <a:pt x="509" y="1157"/>
                    <a:pt x="509" y="1157"/>
                    <a:pt x="509" y="1157"/>
                  </a:cubicBezTo>
                  <a:cubicBezTo>
                    <a:pt x="510" y="1154"/>
                    <a:pt x="510" y="1154"/>
                    <a:pt x="510" y="1154"/>
                  </a:cubicBezTo>
                  <a:cubicBezTo>
                    <a:pt x="513" y="1150"/>
                    <a:pt x="513" y="1150"/>
                    <a:pt x="513" y="1150"/>
                  </a:cubicBezTo>
                  <a:cubicBezTo>
                    <a:pt x="517" y="1145"/>
                    <a:pt x="517" y="1145"/>
                    <a:pt x="517" y="1145"/>
                  </a:cubicBezTo>
                  <a:cubicBezTo>
                    <a:pt x="527" y="1112"/>
                    <a:pt x="527" y="1112"/>
                    <a:pt x="527" y="1112"/>
                  </a:cubicBezTo>
                  <a:cubicBezTo>
                    <a:pt x="534" y="1114"/>
                    <a:pt x="534" y="1114"/>
                    <a:pt x="534" y="1114"/>
                  </a:cubicBezTo>
                  <a:cubicBezTo>
                    <a:pt x="548" y="1121"/>
                    <a:pt x="548" y="1121"/>
                    <a:pt x="548" y="1121"/>
                  </a:cubicBezTo>
                  <a:cubicBezTo>
                    <a:pt x="548" y="1133"/>
                    <a:pt x="548" y="1133"/>
                    <a:pt x="548" y="1133"/>
                  </a:cubicBezTo>
                  <a:cubicBezTo>
                    <a:pt x="579" y="1154"/>
                    <a:pt x="579" y="1154"/>
                    <a:pt x="579" y="1154"/>
                  </a:cubicBezTo>
                  <a:cubicBezTo>
                    <a:pt x="555" y="1181"/>
                    <a:pt x="555" y="1181"/>
                    <a:pt x="555" y="1181"/>
                  </a:cubicBezTo>
                  <a:cubicBezTo>
                    <a:pt x="627" y="1214"/>
                    <a:pt x="627" y="1214"/>
                    <a:pt x="627" y="1214"/>
                  </a:cubicBezTo>
                  <a:cubicBezTo>
                    <a:pt x="633" y="1202"/>
                    <a:pt x="633" y="1202"/>
                    <a:pt x="633" y="1202"/>
                  </a:cubicBezTo>
                  <a:cubicBezTo>
                    <a:pt x="626" y="1197"/>
                    <a:pt x="626" y="1197"/>
                    <a:pt x="626" y="1197"/>
                  </a:cubicBezTo>
                  <a:cubicBezTo>
                    <a:pt x="606" y="1188"/>
                    <a:pt x="606" y="1188"/>
                    <a:pt x="606" y="1188"/>
                  </a:cubicBezTo>
                  <a:cubicBezTo>
                    <a:pt x="617" y="1159"/>
                    <a:pt x="617" y="1159"/>
                    <a:pt x="617" y="1159"/>
                  </a:cubicBezTo>
                  <a:cubicBezTo>
                    <a:pt x="632" y="1139"/>
                    <a:pt x="632" y="1139"/>
                    <a:pt x="632" y="1139"/>
                  </a:cubicBezTo>
                  <a:cubicBezTo>
                    <a:pt x="649" y="1150"/>
                    <a:pt x="649" y="1150"/>
                    <a:pt x="649" y="1150"/>
                  </a:cubicBezTo>
                  <a:cubicBezTo>
                    <a:pt x="663" y="1154"/>
                    <a:pt x="663" y="1154"/>
                    <a:pt x="663" y="1154"/>
                  </a:cubicBezTo>
                  <a:cubicBezTo>
                    <a:pt x="675" y="1134"/>
                    <a:pt x="675" y="1134"/>
                    <a:pt x="675" y="1134"/>
                  </a:cubicBezTo>
                  <a:cubicBezTo>
                    <a:pt x="692" y="1112"/>
                    <a:pt x="692" y="1112"/>
                    <a:pt x="692" y="1112"/>
                  </a:cubicBezTo>
                  <a:cubicBezTo>
                    <a:pt x="775" y="1129"/>
                    <a:pt x="775" y="1129"/>
                    <a:pt x="775" y="1129"/>
                  </a:cubicBezTo>
                  <a:cubicBezTo>
                    <a:pt x="772" y="1133"/>
                    <a:pt x="772" y="1133"/>
                    <a:pt x="772" y="1133"/>
                  </a:cubicBezTo>
                  <a:cubicBezTo>
                    <a:pt x="771" y="1133"/>
                    <a:pt x="771" y="1133"/>
                    <a:pt x="771" y="1133"/>
                  </a:cubicBezTo>
                  <a:cubicBezTo>
                    <a:pt x="752" y="1156"/>
                    <a:pt x="752" y="1156"/>
                    <a:pt x="752" y="1156"/>
                  </a:cubicBezTo>
                  <a:cubicBezTo>
                    <a:pt x="781" y="1169"/>
                    <a:pt x="781" y="1169"/>
                    <a:pt x="781" y="1169"/>
                  </a:cubicBezTo>
                  <a:cubicBezTo>
                    <a:pt x="810" y="1183"/>
                    <a:pt x="810" y="1183"/>
                    <a:pt x="810" y="1183"/>
                  </a:cubicBezTo>
                  <a:cubicBezTo>
                    <a:pt x="813" y="1179"/>
                    <a:pt x="813" y="1179"/>
                    <a:pt x="813" y="1179"/>
                  </a:cubicBezTo>
                  <a:cubicBezTo>
                    <a:pt x="846" y="1140"/>
                    <a:pt x="846" y="1140"/>
                    <a:pt x="846" y="1140"/>
                  </a:cubicBezTo>
                  <a:cubicBezTo>
                    <a:pt x="912" y="1089"/>
                    <a:pt x="912" y="1089"/>
                    <a:pt x="912" y="1089"/>
                  </a:cubicBezTo>
                  <a:cubicBezTo>
                    <a:pt x="916" y="1092"/>
                    <a:pt x="916" y="1092"/>
                    <a:pt x="916" y="1092"/>
                  </a:cubicBezTo>
                  <a:cubicBezTo>
                    <a:pt x="941" y="1073"/>
                    <a:pt x="941" y="1073"/>
                    <a:pt x="941" y="1073"/>
                  </a:cubicBezTo>
                  <a:cubicBezTo>
                    <a:pt x="948" y="1073"/>
                    <a:pt x="948" y="1073"/>
                    <a:pt x="948" y="1073"/>
                  </a:cubicBezTo>
                  <a:cubicBezTo>
                    <a:pt x="950" y="1074"/>
                    <a:pt x="950" y="1074"/>
                    <a:pt x="950" y="1074"/>
                  </a:cubicBezTo>
                  <a:cubicBezTo>
                    <a:pt x="952" y="1076"/>
                    <a:pt x="952" y="1076"/>
                    <a:pt x="952" y="1076"/>
                  </a:cubicBezTo>
                  <a:cubicBezTo>
                    <a:pt x="953" y="1077"/>
                    <a:pt x="953" y="1077"/>
                    <a:pt x="953" y="1077"/>
                  </a:cubicBezTo>
                  <a:cubicBezTo>
                    <a:pt x="954" y="1077"/>
                    <a:pt x="954" y="1077"/>
                    <a:pt x="954" y="1077"/>
                  </a:cubicBezTo>
                  <a:cubicBezTo>
                    <a:pt x="956" y="1077"/>
                    <a:pt x="956" y="1077"/>
                    <a:pt x="956" y="1077"/>
                  </a:cubicBezTo>
                  <a:cubicBezTo>
                    <a:pt x="958" y="1074"/>
                    <a:pt x="958" y="1074"/>
                    <a:pt x="958" y="1074"/>
                  </a:cubicBezTo>
                  <a:cubicBezTo>
                    <a:pt x="958" y="1066"/>
                    <a:pt x="958" y="1066"/>
                    <a:pt x="958" y="1066"/>
                  </a:cubicBezTo>
                  <a:cubicBezTo>
                    <a:pt x="959" y="1066"/>
                    <a:pt x="959" y="1066"/>
                    <a:pt x="959" y="1066"/>
                  </a:cubicBezTo>
                  <a:cubicBezTo>
                    <a:pt x="960" y="1063"/>
                    <a:pt x="960" y="1063"/>
                    <a:pt x="960" y="1063"/>
                  </a:cubicBezTo>
                  <a:cubicBezTo>
                    <a:pt x="962" y="1059"/>
                    <a:pt x="962" y="1059"/>
                    <a:pt x="962" y="1059"/>
                  </a:cubicBezTo>
                  <a:cubicBezTo>
                    <a:pt x="963" y="1058"/>
                    <a:pt x="963" y="1058"/>
                    <a:pt x="963" y="1058"/>
                  </a:cubicBezTo>
                  <a:cubicBezTo>
                    <a:pt x="964" y="1057"/>
                    <a:pt x="964" y="1057"/>
                    <a:pt x="964" y="1057"/>
                  </a:cubicBezTo>
                  <a:cubicBezTo>
                    <a:pt x="971" y="1053"/>
                    <a:pt x="971" y="1053"/>
                    <a:pt x="971" y="1053"/>
                  </a:cubicBezTo>
                  <a:cubicBezTo>
                    <a:pt x="977" y="1047"/>
                    <a:pt x="977" y="1047"/>
                    <a:pt x="977" y="1047"/>
                  </a:cubicBezTo>
                  <a:cubicBezTo>
                    <a:pt x="988" y="1040"/>
                    <a:pt x="988" y="1040"/>
                    <a:pt x="988" y="1040"/>
                  </a:cubicBezTo>
                  <a:cubicBezTo>
                    <a:pt x="991" y="1037"/>
                    <a:pt x="991" y="1037"/>
                    <a:pt x="991" y="1037"/>
                  </a:cubicBezTo>
                  <a:cubicBezTo>
                    <a:pt x="1000" y="1030"/>
                    <a:pt x="1000" y="1030"/>
                    <a:pt x="1000" y="1030"/>
                  </a:cubicBezTo>
                  <a:cubicBezTo>
                    <a:pt x="1001" y="1031"/>
                    <a:pt x="1001" y="1031"/>
                    <a:pt x="1001" y="1031"/>
                  </a:cubicBezTo>
                  <a:cubicBezTo>
                    <a:pt x="1062" y="984"/>
                    <a:pt x="1062" y="984"/>
                    <a:pt x="1062" y="984"/>
                  </a:cubicBezTo>
                  <a:cubicBezTo>
                    <a:pt x="1064" y="986"/>
                    <a:pt x="1064" y="986"/>
                    <a:pt x="1064" y="986"/>
                  </a:cubicBezTo>
                  <a:cubicBezTo>
                    <a:pt x="1118" y="1033"/>
                    <a:pt x="1118" y="1033"/>
                    <a:pt x="1118" y="1033"/>
                  </a:cubicBezTo>
                  <a:cubicBezTo>
                    <a:pt x="1124" y="1026"/>
                    <a:pt x="1124" y="1026"/>
                    <a:pt x="1124" y="1026"/>
                  </a:cubicBezTo>
                  <a:cubicBezTo>
                    <a:pt x="1124" y="1006"/>
                    <a:pt x="1124" y="1006"/>
                    <a:pt x="1124" y="1006"/>
                  </a:cubicBezTo>
                  <a:cubicBezTo>
                    <a:pt x="1129" y="994"/>
                    <a:pt x="1129" y="994"/>
                    <a:pt x="1129" y="994"/>
                  </a:cubicBezTo>
                  <a:cubicBezTo>
                    <a:pt x="1130" y="994"/>
                    <a:pt x="1130" y="994"/>
                    <a:pt x="1130" y="994"/>
                  </a:cubicBezTo>
                  <a:cubicBezTo>
                    <a:pt x="1135" y="989"/>
                    <a:pt x="1135" y="989"/>
                    <a:pt x="1135" y="989"/>
                  </a:cubicBezTo>
                  <a:cubicBezTo>
                    <a:pt x="1144" y="987"/>
                    <a:pt x="1144" y="987"/>
                    <a:pt x="1144" y="987"/>
                  </a:cubicBezTo>
                  <a:cubicBezTo>
                    <a:pt x="1166" y="985"/>
                    <a:pt x="1166" y="985"/>
                    <a:pt x="1166" y="985"/>
                  </a:cubicBezTo>
                  <a:cubicBezTo>
                    <a:pt x="1168" y="985"/>
                    <a:pt x="1168" y="985"/>
                    <a:pt x="1168" y="985"/>
                  </a:cubicBezTo>
                  <a:cubicBezTo>
                    <a:pt x="1169" y="985"/>
                    <a:pt x="1169" y="985"/>
                    <a:pt x="1169" y="985"/>
                  </a:cubicBezTo>
                  <a:cubicBezTo>
                    <a:pt x="1162" y="956"/>
                    <a:pt x="1162" y="956"/>
                    <a:pt x="1162" y="956"/>
                  </a:cubicBezTo>
                  <a:cubicBezTo>
                    <a:pt x="1157" y="942"/>
                    <a:pt x="1157" y="942"/>
                    <a:pt x="1157" y="942"/>
                  </a:cubicBezTo>
                  <a:cubicBezTo>
                    <a:pt x="1152" y="937"/>
                    <a:pt x="1152" y="937"/>
                    <a:pt x="1152" y="937"/>
                  </a:cubicBezTo>
                  <a:cubicBezTo>
                    <a:pt x="1144" y="927"/>
                    <a:pt x="1144" y="927"/>
                    <a:pt x="1144" y="927"/>
                  </a:cubicBezTo>
                  <a:cubicBezTo>
                    <a:pt x="1148" y="925"/>
                    <a:pt x="1148" y="925"/>
                    <a:pt x="1148" y="925"/>
                  </a:cubicBezTo>
                  <a:cubicBezTo>
                    <a:pt x="1158" y="939"/>
                    <a:pt x="1158" y="939"/>
                    <a:pt x="1158" y="939"/>
                  </a:cubicBezTo>
                  <a:cubicBezTo>
                    <a:pt x="1161" y="946"/>
                    <a:pt x="1161" y="946"/>
                    <a:pt x="1161" y="946"/>
                  </a:cubicBezTo>
                  <a:cubicBezTo>
                    <a:pt x="1165" y="954"/>
                    <a:pt x="1165" y="954"/>
                    <a:pt x="1165" y="954"/>
                  </a:cubicBezTo>
                  <a:cubicBezTo>
                    <a:pt x="1171" y="978"/>
                    <a:pt x="1171" y="978"/>
                    <a:pt x="1171" y="978"/>
                  </a:cubicBezTo>
                  <a:cubicBezTo>
                    <a:pt x="1174" y="987"/>
                    <a:pt x="1174" y="987"/>
                    <a:pt x="1174" y="987"/>
                  </a:cubicBezTo>
                  <a:cubicBezTo>
                    <a:pt x="1175" y="991"/>
                    <a:pt x="1175" y="991"/>
                    <a:pt x="1175" y="991"/>
                  </a:cubicBezTo>
                  <a:cubicBezTo>
                    <a:pt x="1176" y="990"/>
                    <a:pt x="1176" y="990"/>
                    <a:pt x="1176" y="990"/>
                  </a:cubicBezTo>
                  <a:cubicBezTo>
                    <a:pt x="1183" y="990"/>
                    <a:pt x="1183" y="990"/>
                    <a:pt x="1183" y="990"/>
                  </a:cubicBezTo>
                  <a:cubicBezTo>
                    <a:pt x="1196" y="970"/>
                    <a:pt x="1196" y="970"/>
                    <a:pt x="1196" y="970"/>
                  </a:cubicBezTo>
                  <a:cubicBezTo>
                    <a:pt x="1238" y="956"/>
                    <a:pt x="1238" y="956"/>
                    <a:pt x="1238" y="956"/>
                  </a:cubicBezTo>
                  <a:cubicBezTo>
                    <a:pt x="1241" y="955"/>
                    <a:pt x="1241" y="955"/>
                    <a:pt x="1241" y="955"/>
                  </a:cubicBezTo>
                  <a:cubicBezTo>
                    <a:pt x="1243" y="953"/>
                    <a:pt x="1243" y="953"/>
                    <a:pt x="1243" y="953"/>
                  </a:cubicBezTo>
                  <a:cubicBezTo>
                    <a:pt x="1246" y="950"/>
                    <a:pt x="1246" y="950"/>
                    <a:pt x="1246" y="950"/>
                  </a:cubicBezTo>
                  <a:cubicBezTo>
                    <a:pt x="1259" y="935"/>
                    <a:pt x="1259" y="935"/>
                    <a:pt x="1259" y="935"/>
                  </a:cubicBezTo>
                  <a:cubicBezTo>
                    <a:pt x="1262" y="939"/>
                    <a:pt x="1262" y="939"/>
                    <a:pt x="1262" y="939"/>
                  </a:cubicBezTo>
                  <a:cubicBezTo>
                    <a:pt x="1266" y="936"/>
                    <a:pt x="1266" y="936"/>
                    <a:pt x="1266" y="936"/>
                  </a:cubicBezTo>
                  <a:cubicBezTo>
                    <a:pt x="1269" y="932"/>
                    <a:pt x="1269" y="932"/>
                    <a:pt x="1269" y="932"/>
                  </a:cubicBezTo>
                  <a:cubicBezTo>
                    <a:pt x="1316" y="856"/>
                    <a:pt x="1316" y="856"/>
                    <a:pt x="1316" y="856"/>
                  </a:cubicBezTo>
                  <a:cubicBezTo>
                    <a:pt x="1307" y="812"/>
                    <a:pt x="1307" y="812"/>
                    <a:pt x="1307" y="812"/>
                  </a:cubicBezTo>
                  <a:cubicBezTo>
                    <a:pt x="1428" y="680"/>
                    <a:pt x="1428" y="680"/>
                    <a:pt x="1428" y="680"/>
                  </a:cubicBezTo>
                  <a:cubicBezTo>
                    <a:pt x="1575" y="764"/>
                    <a:pt x="1575" y="764"/>
                    <a:pt x="1575" y="764"/>
                  </a:cubicBezTo>
                  <a:cubicBezTo>
                    <a:pt x="1593" y="622"/>
                    <a:pt x="1593" y="622"/>
                    <a:pt x="1593" y="622"/>
                  </a:cubicBezTo>
                  <a:cubicBezTo>
                    <a:pt x="1706" y="704"/>
                    <a:pt x="1706" y="704"/>
                    <a:pt x="1706" y="704"/>
                  </a:cubicBezTo>
                  <a:cubicBezTo>
                    <a:pt x="1742" y="788"/>
                    <a:pt x="1742" y="788"/>
                    <a:pt x="1742" y="788"/>
                  </a:cubicBezTo>
                  <a:cubicBezTo>
                    <a:pt x="2039" y="685"/>
                    <a:pt x="2039" y="685"/>
                    <a:pt x="2039" y="685"/>
                  </a:cubicBezTo>
                  <a:cubicBezTo>
                    <a:pt x="2040" y="612"/>
                    <a:pt x="2040" y="612"/>
                    <a:pt x="2040" y="612"/>
                  </a:cubicBezTo>
                  <a:cubicBezTo>
                    <a:pt x="2144" y="620"/>
                    <a:pt x="2144" y="620"/>
                    <a:pt x="2144" y="620"/>
                  </a:cubicBezTo>
                  <a:cubicBezTo>
                    <a:pt x="2020" y="90"/>
                    <a:pt x="2020" y="90"/>
                    <a:pt x="2020" y="90"/>
                  </a:cubicBezTo>
                  <a:cubicBezTo>
                    <a:pt x="1444" y="95"/>
                    <a:pt x="1444" y="95"/>
                    <a:pt x="1444" y="95"/>
                  </a:cubicBezTo>
                  <a:cubicBezTo>
                    <a:pt x="1057" y="0"/>
                    <a:pt x="1057" y="0"/>
                    <a:pt x="1057" y="0"/>
                  </a:cubicBezTo>
                  <a:cubicBezTo>
                    <a:pt x="937" y="33"/>
                    <a:pt x="937" y="33"/>
                    <a:pt x="937" y="33"/>
                  </a:cubicBezTo>
                  <a:cubicBezTo>
                    <a:pt x="847" y="37"/>
                    <a:pt x="847" y="37"/>
                    <a:pt x="847" y="37"/>
                  </a:cubicBezTo>
                  <a:cubicBezTo>
                    <a:pt x="958" y="387"/>
                    <a:pt x="958" y="387"/>
                    <a:pt x="958" y="387"/>
                  </a:cubicBezTo>
                  <a:cubicBezTo>
                    <a:pt x="991" y="485"/>
                    <a:pt x="991" y="485"/>
                    <a:pt x="991" y="485"/>
                  </a:cubicBezTo>
                  <a:cubicBezTo>
                    <a:pt x="996" y="502"/>
                    <a:pt x="1000" y="515"/>
                    <a:pt x="1003" y="527"/>
                  </a:cubicBezTo>
                  <a:cubicBezTo>
                    <a:pt x="994" y="454"/>
                    <a:pt x="1041" y="653"/>
                    <a:pt x="1003" y="527"/>
                  </a:cubicBezTo>
                  <a:cubicBezTo>
                    <a:pt x="1005" y="538"/>
                    <a:pt x="1007" y="555"/>
                    <a:pt x="1012" y="580"/>
                  </a:cubicBezTo>
                  <a:cubicBezTo>
                    <a:pt x="1124" y="734"/>
                    <a:pt x="1124" y="734"/>
                    <a:pt x="1124" y="734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9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1" name="Freeform 28"/>
            <p:cNvSpPr>
              <a:spLocks/>
            </p:cNvSpPr>
            <p:nvPr/>
          </p:nvSpPr>
          <p:spPr bwMode="auto">
            <a:xfrm>
              <a:off x="484643" y="4157379"/>
              <a:ext cx="791491" cy="575289"/>
            </a:xfrm>
            <a:custGeom>
              <a:avLst/>
              <a:gdLst>
                <a:gd name="T0" fmla="*/ 407 w 720"/>
                <a:gd name="T1" fmla="*/ 519 h 588"/>
                <a:gd name="T2" fmla="*/ 370 w 720"/>
                <a:gd name="T3" fmla="*/ 512 h 588"/>
                <a:gd name="T4" fmla="*/ 341 w 720"/>
                <a:gd name="T5" fmla="*/ 485 h 588"/>
                <a:gd name="T6" fmla="*/ 314 w 720"/>
                <a:gd name="T7" fmla="*/ 520 h 588"/>
                <a:gd name="T8" fmla="*/ 227 w 720"/>
                <a:gd name="T9" fmla="*/ 534 h 588"/>
                <a:gd name="T10" fmla="*/ 175 w 720"/>
                <a:gd name="T11" fmla="*/ 512 h 588"/>
                <a:gd name="T12" fmla="*/ 153 w 720"/>
                <a:gd name="T13" fmla="*/ 588 h 588"/>
                <a:gd name="T14" fmla="*/ 82 w 720"/>
                <a:gd name="T15" fmla="*/ 500 h 588"/>
                <a:gd name="T16" fmla="*/ 18 w 720"/>
                <a:gd name="T17" fmla="*/ 402 h 588"/>
                <a:gd name="T18" fmla="*/ 98 w 720"/>
                <a:gd name="T19" fmla="*/ 361 h 588"/>
                <a:gd name="T20" fmla="*/ 109 w 720"/>
                <a:gd name="T21" fmla="*/ 270 h 588"/>
                <a:gd name="T22" fmla="*/ 233 w 720"/>
                <a:gd name="T23" fmla="*/ 147 h 588"/>
                <a:gd name="T24" fmla="*/ 352 w 720"/>
                <a:gd name="T25" fmla="*/ 158 h 588"/>
                <a:gd name="T26" fmla="*/ 396 w 720"/>
                <a:gd name="T27" fmla="*/ 102 h 588"/>
                <a:gd name="T28" fmla="*/ 421 w 720"/>
                <a:gd name="T29" fmla="*/ 105 h 588"/>
                <a:gd name="T30" fmla="*/ 406 w 720"/>
                <a:gd name="T31" fmla="*/ 131 h 588"/>
                <a:gd name="T32" fmla="*/ 438 w 720"/>
                <a:gd name="T33" fmla="*/ 165 h 588"/>
                <a:gd name="T34" fmla="*/ 522 w 720"/>
                <a:gd name="T35" fmla="*/ 178 h 588"/>
                <a:gd name="T36" fmla="*/ 570 w 720"/>
                <a:gd name="T37" fmla="*/ 136 h 588"/>
                <a:gd name="T38" fmla="*/ 547 w 720"/>
                <a:gd name="T39" fmla="*/ 30 h 588"/>
                <a:gd name="T40" fmla="*/ 690 w 720"/>
                <a:gd name="T41" fmla="*/ 24 h 588"/>
                <a:gd name="T42" fmla="*/ 679 w 720"/>
                <a:gd name="T43" fmla="*/ 77 h 588"/>
                <a:gd name="T44" fmla="*/ 688 w 720"/>
                <a:gd name="T45" fmla="*/ 133 h 588"/>
                <a:gd name="T46" fmla="*/ 659 w 720"/>
                <a:gd name="T47" fmla="*/ 151 h 588"/>
                <a:gd name="T48" fmla="*/ 612 w 720"/>
                <a:gd name="T49" fmla="*/ 215 h 588"/>
                <a:gd name="T50" fmla="*/ 632 w 720"/>
                <a:gd name="T51" fmla="*/ 327 h 588"/>
                <a:gd name="T52" fmla="*/ 715 w 720"/>
                <a:gd name="T53" fmla="*/ 321 h 588"/>
                <a:gd name="T54" fmla="*/ 597 w 720"/>
                <a:gd name="T55" fmla="*/ 443 h 588"/>
                <a:gd name="T56" fmla="*/ 561 w 720"/>
                <a:gd name="T57" fmla="*/ 410 h 588"/>
                <a:gd name="T58" fmla="*/ 459 w 720"/>
                <a:gd name="T59" fmla="*/ 497 h 588"/>
                <a:gd name="T60" fmla="*/ 437 w 720"/>
                <a:gd name="T61" fmla="*/ 495 h 588"/>
                <a:gd name="T62" fmla="*/ 437 w 720"/>
                <a:gd name="T63" fmla="*/ 495 h 5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720" h="588">
                  <a:moveTo>
                    <a:pt x="437" y="495"/>
                  </a:moveTo>
                  <a:lnTo>
                    <a:pt x="407" y="519"/>
                  </a:lnTo>
                  <a:lnTo>
                    <a:pt x="394" y="535"/>
                  </a:lnTo>
                  <a:lnTo>
                    <a:pt x="370" y="512"/>
                  </a:lnTo>
                  <a:lnTo>
                    <a:pt x="322" y="528"/>
                  </a:lnTo>
                  <a:lnTo>
                    <a:pt x="341" y="485"/>
                  </a:lnTo>
                  <a:lnTo>
                    <a:pt x="334" y="478"/>
                  </a:lnTo>
                  <a:lnTo>
                    <a:pt x="314" y="520"/>
                  </a:lnTo>
                  <a:lnTo>
                    <a:pt x="284" y="484"/>
                  </a:lnTo>
                  <a:lnTo>
                    <a:pt x="227" y="534"/>
                  </a:lnTo>
                  <a:lnTo>
                    <a:pt x="220" y="486"/>
                  </a:lnTo>
                  <a:lnTo>
                    <a:pt x="175" y="512"/>
                  </a:lnTo>
                  <a:lnTo>
                    <a:pt x="175" y="583"/>
                  </a:lnTo>
                  <a:lnTo>
                    <a:pt x="153" y="588"/>
                  </a:lnTo>
                  <a:lnTo>
                    <a:pt x="139" y="543"/>
                  </a:lnTo>
                  <a:lnTo>
                    <a:pt x="82" y="500"/>
                  </a:lnTo>
                  <a:lnTo>
                    <a:pt x="0" y="419"/>
                  </a:lnTo>
                  <a:lnTo>
                    <a:pt x="18" y="402"/>
                  </a:lnTo>
                  <a:lnTo>
                    <a:pt x="51" y="408"/>
                  </a:lnTo>
                  <a:lnTo>
                    <a:pt x="98" y="361"/>
                  </a:lnTo>
                  <a:lnTo>
                    <a:pt x="118" y="323"/>
                  </a:lnTo>
                  <a:lnTo>
                    <a:pt x="109" y="270"/>
                  </a:lnTo>
                  <a:lnTo>
                    <a:pt x="142" y="215"/>
                  </a:lnTo>
                  <a:lnTo>
                    <a:pt x="233" y="147"/>
                  </a:lnTo>
                  <a:lnTo>
                    <a:pt x="326" y="145"/>
                  </a:lnTo>
                  <a:lnTo>
                    <a:pt x="352" y="158"/>
                  </a:lnTo>
                  <a:lnTo>
                    <a:pt x="405" y="163"/>
                  </a:lnTo>
                  <a:lnTo>
                    <a:pt x="396" y="102"/>
                  </a:lnTo>
                  <a:lnTo>
                    <a:pt x="413" y="96"/>
                  </a:lnTo>
                  <a:lnTo>
                    <a:pt x="421" y="105"/>
                  </a:lnTo>
                  <a:lnTo>
                    <a:pt x="423" y="128"/>
                  </a:lnTo>
                  <a:lnTo>
                    <a:pt x="406" y="131"/>
                  </a:lnTo>
                  <a:lnTo>
                    <a:pt x="409" y="164"/>
                  </a:lnTo>
                  <a:lnTo>
                    <a:pt x="438" y="165"/>
                  </a:lnTo>
                  <a:lnTo>
                    <a:pt x="485" y="194"/>
                  </a:lnTo>
                  <a:lnTo>
                    <a:pt x="522" y="178"/>
                  </a:lnTo>
                  <a:lnTo>
                    <a:pt x="526" y="137"/>
                  </a:lnTo>
                  <a:lnTo>
                    <a:pt x="570" y="136"/>
                  </a:lnTo>
                  <a:lnTo>
                    <a:pt x="579" y="65"/>
                  </a:lnTo>
                  <a:lnTo>
                    <a:pt x="547" y="30"/>
                  </a:lnTo>
                  <a:lnTo>
                    <a:pt x="561" y="0"/>
                  </a:lnTo>
                  <a:lnTo>
                    <a:pt x="690" y="24"/>
                  </a:lnTo>
                  <a:lnTo>
                    <a:pt x="706" y="48"/>
                  </a:lnTo>
                  <a:lnTo>
                    <a:pt x="679" y="77"/>
                  </a:lnTo>
                  <a:lnTo>
                    <a:pt x="701" y="91"/>
                  </a:lnTo>
                  <a:lnTo>
                    <a:pt x="688" y="133"/>
                  </a:lnTo>
                  <a:lnTo>
                    <a:pt x="658" y="127"/>
                  </a:lnTo>
                  <a:lnTo>
                    <a:pt x="659" y="151"/>
                  </a:lnTo>
                  <a:lnTo>
                    <a:pt x="642" y="155"/>
                  </a:lnTo>
                  <a:lnTo>
                    <a:pt x="612" y="215"/>
                  </a:lnTo>
                  <a:lnTo>
                    <a:pt x="600" y="272"/>
                  </a:lnTo>
                  <a:lnTo>
                    <a:pt x="632" y="327"/>
                  </a:lnTo>
                  <a:lnTo>
                    <a:pt x="670" y="346"/>
                  </a:lnTo>
                  <a:lnTo>
                    <a:pt x="715" y="321"/>
                  </a:lnTo>
                  <a:lnTo>
                    <a:pt x="720" y="384"/>
                  </a:lnTo>
                  <a:lnTo>
                    <a:pt x="597" y="443"/>
                  </a:lnTo>
                  <a:lnTo>
                    <a:pt x="590" y="395"/>
                  </a:lnTo>
                  <a:lnTo>
                    <a:pt x="561" y="410"/>
                  </a:lnTo>
                  <a:lnTo>
                    <a:pt x="534" y="391"/>
                  </a:lnTo>
                  <a:lnTo>
                    <a:pt x="459" y="497"/>
                  </a:lnTo>
                  <a:lnTo>
                    <a:pt x="424" y="482"/>
                  </a:lnTo>
                  <a:lnTo>
                    <a:pt x="437" y="495"/>
                  </a:lnTo>
                  <a:lnTo>
                    <a:pt x="437" y="495"/>
                  </a:lnTo>
                  <a:lnTo>
                    <a:pt x="437" y="495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2" name="Freeform 29"/>
            <p:cNvSpPr>
              <a:spLocks/>
            </p:cNvSpPr>
            <p:nvPr/>
          </p:nvSpPr>
          <p:spPr bwMode="auto">
            <a:xfrm>
              <a:off x="2834932" y="3561546"/>
              <a:ext cx="380356" cy="447121"/>
            </a:xfrm>
            <a:custGeom>
              <a:avLst/>
              <a:gdLst>
                <a:gd name="T0" fmla="*/ 377 w 1038"/>
                <a:gd name="T1" fmla="*/ 1156 h 1372"/>
                <a:gd name="T2" fmla="*/ 434 w 1038"/>
                <a:gd name="T3" fmla="*/ 1328 h 1372"/>
                <a:gd name="T4" fmla="*/ 505 w 1038"/>
                <a:gd name="T5" fmla="*/ 1372 h 1372"/>
                <a:gd name="T6" fmla="*/ 983 w 1038"/>
                <a:gd name="T7" fmla="*/ 1322 h 1372"/>
                <a:gd name="T8" fmla="*/ 1020 w 1038"/>
                <a:gd name="T9" fmla="*/ 890 h 1372"/>
                <a:gd name="T10" fmla="*/ 1026 w 1038"/>
                <a:gd name="T11" fmla="*/ 830 h 1372"/>
                <a:gd name="T12" fmla="*/ 1025 w 1038"/>
                <a:gd name="T13" fmla="*/ 696 h 1372"/>
                <a:gd name="T14" fmla="*/ 962 w 1038"/>
                <a:gd name="T15" fmla="*/ 351 h 1372"/>
                <a:gd name="T16" fmla="*/ 958 w 1038"/>
                <a:gd name="T17" fmla="*/ 169 h 1372"/>
                <a:gd name="T18" fmla="*/ 928 w 1038"/>
                <a:gd name="T19" fmla="*/ 124 h 1372"/>
                <a:gd name="T20" fmla="*/ 848 w 1038"/>
                <a:gd name="T21" fmla="*/ 127 h 1372"/>
                <a:gd name="T22" fmla="*/ 739 w 1038"/>
                <a:gd name="T23" fmla="*/ 0 h 1372"/>
                <a:gd name="T24" fmla="*/ 796 w 1038"/>
                <a:gd name="T25" fmla="*/ 66 h 1372"/>
                <a:gd name="T26" fmla="*/ 742 w 1038"/>
                <a:gd name="T27" fmla="*/ 85 h 1372"/>
                <a:gd name="T28" fmla="*/ 662 w 1038"/>
                <a:gd name="T29" fmla="*/ 45 h 1372"/>
                <a:gd name="T30" fmla="*/ 641 w 1038"/>
                <a:gd name="T31" fmla="*/ 132 h 1372"/>
                <a:gd name="T32" fmla="*/ 630 w 1038"/>
                <a:gd name="T33" fmla="*/ 253 h 1372"/>
                <a:gd name="T34" fmla="*/ 571 w 1038"/>
                <a:gd name="T35" fmla="*/ 248 h 1372"/>
                <a:gd name="T36" fmla="*/ 507 w 1038"/>
                <a:gd name="T37" fmla="*/ 218 h 1372"/>
                <a:gd name="T38" fmla="*/ 484 w 1038"/>
                <a:gd name="T39" fmla="*/ 261 h 1372"/>
                <a:gd name="T40" fmla="*/ 424 w 1038"/>
                <a:gd name="T41" fmla="*/ 254 h 1372"/>
                <a:gd name="T42" fmla="*/ 128 w 1038"/>
                <a:gd name="T43" fmla="*/ 335 h 1372"/>
                <a:gd name="T44" fmla="*/ 125 w 1038"/>
                <a:gd name="T45" fmla="*/ 402 h 1372"/>
                <a:gd name="T46" fmla="*/ 83 w 1038"/>
                <a:gd name="T47" fmla="*/ 425 h 1372"/>
                <a:gd name="T48" fmla="*/ 34 w 1038"/>
                <a:gd name="T49" fmla="*/ 442 h 1372"/>
                <a:gd name="T50" fmla="*/ 0 w 1038"/>
                <a:gd name="T51" fmla="*/ 605 h 1372"/>
                <a:gd name="T52" fmla="*/ 83 w 1038"/>
                <a:gd name="T53" fmla="*/ 798 h 1372"/>
                <a:gd name="T54" fmla="*/ 271 w 1038"/>
                <a:gd name="T55" fmla="*/ 738 h 1372"/>
                <a:gd name="T56" fmla="*/ 375 w 1038"/>
                <a:gd name="T57" fmla="*/ 753 h 1372"/>
                <a:gd name="T58" fmla="*/ 361 w 1038"/>
                <a:gd name="T59" fmla="*/ 1013 h 1372"/>
                <a:gd name="T60" fmla="*/ 377 w 1038"/>
                <a:gd name="T61" fmla="*/ 1156 h 13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038" h="1372">
                  <a:moveTo>
                    <a:pt x="377" y="1156"/>
                  </a:moveTo>
                  <a:cubicBezTo>
                    <a:pt x="396" y="1213"/>
                    <a:pt x="415" y="1270"/>
                    <a:pt x="434" y="1328"/>
                  </a:cubicBezTo>
                  <a:cubicBezTo>
                    <a:pt x="458" y="1342"/>
                    <a:pt x="480" y="1362"/>
                    <a:pt x="505" y="1372"/>
                  </a:cubicBezTo>
                  <a:cubicBezTo>
                    <a:pt x="664" y="1355"/>
                    <a:pt x="823" y="1338"/>
                    <a:pt x="983" y="1322"/>
                  </a:cubicBezTo>
                  <a:cubicBezTo>
                    <a:pt x="995" y="1178"/>
                    <a:pt x="1008" y="1034"/>
                    <a:pt x="1020" y="890"/>
                  </a:cubicBezTo>
                  <a:cubicBezTo>
                    <a:pt x="1025" y="876"/>
                    <a:pt x="1024" y="849"/>
                    <a:pt x="1026" y="830"/>
                  </a:cubicBezTo>
                  <a:cubicBezTo>
                    <a:pt x="1028" y="785"/>
                    <a:pt x="1038" y="740"/>
                    <a:pt x="1025" y="696"/>
                  </a:cubicBezTo>
                  <a:cubicBezTo>
                    <a:pt x="1004" y="581"/>
                    <a:pt x="981" y="466"/>
                    <a:pt x="962" y="351"/>
                  </a:cubicBezTo>
                  <a:cubicBezTo>
                    <a:pt x="960" y="290"/>
                    <a:pt x="963" y="229"/>
                    <a:pt x="958" y="169"/>
                  </a:cubicBezTo>
                  <a:cubicBezTo>
                    <a:pt x="949" y="152"/>
                    <a:pt x="956" y="114"/>
                    <a:pt x="928" y="124"/>
                  </a:cubicBezTo>
                  <a:cubicBezTo>
                    <a:pt x="902" y="124"/>
                    <a:pt x="872" y="132"/>
                    <a:pt x="848" y="127"/>
                  </a:cubicBezTo>
                  <a:cubicBezTo>
                    <a:pt x="812" y="85"/>
                    <a:pt x="775" y="42"/>
                    <a:pt x="739" y="0"/>
                  </a:cubicBezTo>
                  <a:cubicBezTo>
                    <a:pt x="758" y="22"/>
                    <a:pt x="777" y="44"/>
                    <a:pt x="796" y="66"/>
                  </a:cubicBezTo>
                  <a:cubicBezTo>
                    <a:pt x="778" y="74"/>
                    <a:pt x="762" y="103"/>
                    <a:pt x="742" y="85"/>
                  </a:cubicBezTo>
                  <a:cubicBezTo>
                    <a:pt x="715" y="72"/>
                    <a:pt x="689" y="59"/>
                    <a:pt x="662" y="45"/>
                  </a:cubicBezTo>
                  <a:cubicBezTo>
                    <a:pt x="648" y="73"/>
                    <a:pt x="641" y="102"/>
                    <a:pt x="641" y="132"/>
                  </a:cubicBezTo>
                  <a:cubicBezTo>
                    <a:pt x="637" y="173"/>
                    <a:pt x="634" y="213"/>
                    <a:pt x="630" y="253"/>
                  </a:cubicBezTo>
                  <a:cubicBezTo>
                    <a:pt x="609" y="256"/>
                    <a:pt x="588" y="262"/>
                    <a:pt x="571" y="248"/>
                  </a:cubicBezTo>
                  <a:cubicBezTo>
                    <a:pt x="550" y="238"/>
                    <a:pt x="528" y="228"/>
                    <a:pt x="507" y="218"/>
                  </a:cubicBezTo>
                  <a:cubicBezTo>
                    <a:pt x="499" y="231"/>
                    <a:pt x="508" y="275"/>
                    <a:pt x="484" y="261"/>
                  </a:cubicBezTo>
                  <a:cubicBezTo>
                    <a:pt x="465" y="254"/>
                    <a:pt x="445" y="243"/>
                    <a:pt x="424" y="254"/>
                  </a:cubicBezTo>
                  <a:cubicBezTo>
                    <a:pt x="326" y="282"/>
                    <a:pt x="225" y="304"/>
                    <a:pt x="128" y="335"/>
                  </a:cubicBezTo>
                  <a:cubicBezTo>
                    <a:pt x="121" y="354"/>
                    <a:pt x="127" y="380"/>
                    <a:pt x="125" y="402"/>
                  </a:cubicBezTo>
                  <a:cubicBezTo>
                    <a:pt x="134" y="433"/>
                    <a:pt x="104" y="424"/>
                    <a:pt x="83" y="425"/>
                  </a:cubicBezTo>
                  <a:cubicBezTo>
                    <a:pt x="66" y="429"/>
                    <a:pt x="32" y="413"/>
                    <a:pt x="34" y="442"/>
                  </a:cubicBezTo>
                  <a:cubicBezTo>
                    <a:pt x="23" y="496"/>
                    <a:pt x="11" y="551"/>
                    <a:pt x="0" y="605"/>
                  </a:cubicBezTo>
                  <a:cubicBezTo>
                    <a:pt x="28" y="669"/>
                    <a:pt x="55" y="733"/>
                    <a:pt x="83" y="798"/>
                  </a:cubicBezTo>
                  <a:cubicBezTo>
                    <a:pt x="145" y="778"/>
                    <a:pt x="208" y="755"/>
                    <a:pt x="271" y="738"/>
                  </a:cubicBezTo>
                  <a:cubicBezTo>
                    <a:pt x="306" y="743"/>
                    <a:pt x="340" y="748"/>
                    <a:pt x="375" y="753"/>
                  </a:cubicBezTo>
                  <a:cubicBezTo>
                    <a:pt x="371" y="839"/>
                    <a:pt x="362" y="926"/>
                    <a:pt x="361" y="1013"/>
                  </a:cubicBezTo>
                  <a:cubicBezTo>
                    <a:pt x="367" y="1060"/>
                    <a:pt x="372" y="1108"/>
                    <a:pt x="377" y="1156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3" name="Freeform 31"/>
            <p:cNvSpPr>
              <a:spLocks/>
            </p:cNvSpPr>
            <p:nvPr/>
          </p:nvSpPr>
          <p:spPr bwMode="auto">
            <a:xfrm>
              <a:off x="1387162" y="2613493"/>
              <a:ext cx="482590" cy="567464"/>
            </a:xfrm>
            <a:custGeom>
              <a:avLst/>
              <a:gdLst>
                <a:gd name="T0" fmla="*/ 0 w 439"/>
                <a:gd name="T1" fmla="*/ 559 h 580"/>
                <a:gd name="T2" fmla="*/ 11 w 439"/>
                <a:gd name="T3" fmla="*/ 559 h 580"/>
                <a:gd name="T4" fmla="*/ 26 w 439"/>
                <a:gd name="T5" fmla="*/ 573 h 580"/>
                <a:gd name="T6" fmla="*/ 80 w 439"/>
                <a:gd name="T7" fmla="*/ 568 h 580"/>
                <a:gd name="T8" fmla="*/ 101 w 439"/>
                <a:gd name="T9" fmla="*/ 580 h 580"/>
                <a:gd name="T10" fmla="*/ 176 w 439"/>
                <a:gd name="T11" fmla="*/ 576 h 580"/>
                <a:gd name="T12" fmla="*/ 223 w 439"/>
                <a:gd name="T13" fmla="*/ 566 h 580"/>
                <a:gd name="T14" fmla="*/ 242 w 439"/>
                <a:gd name="T15" fmla="*/ 528 h 580"/>
                <a:gd name="T16" fmla="*/ 224 w 439"/>
                <a:gd name="T17" fmla="*/ 524 h 580"/>
                <a:gd name="T18" fmla="*/ 201 w 439"/>
                <a:gd name="T19" fmla="*/ 502 h 580"/>
                <a:gd name="T20" fmla="*/ 196 w 439"/>
                <a:gd name="T21" fmla="*/ 464 h 580"/>
                <a:gd name="T22" fmla="*/ 235 w 439"/>
                <a:gd name="T23" fmla="*/ 374 h 580"/>
                <a:gd name="T24" fmla="*/ 272 w 439"/>
                <a:gd name="T25" fmla="*/ 378 h 580"/>
                <a:gd name="T26" fmla="*/ 289 w 439"/>
                <a:gd name="T27" fmla="*/ 418 h 580"/>
                <a:gd name="T28" fmla="*/ 350 w 439"/>
                <a:gd name="T29" fmla="*/ 431 h 580"/>
                <a:gd name="T30" fmla="*/ 417 w 439"/>
                <a:gd name="T31" fmla="*/ 385 h 580"/>
                <a:gd name="T32" fmla="*/ 432 w 439"/>
                <a:gd name="T33" fmla="*/ 348 h 580"/>
                <a:gd name="T34" fmla="*/ 439 w 439"/>
                <a:gd name="T35" fmla="*/ 227 h 580"/>
                <a:gd name="T36" fmla="*/ 391 w 439"/>
                <a:gd name="T37" fmla="*/ 195 h 580"/>
                <a:gd name="T38" fmla="*/ 338 w 439"/>
                <a:gd name="T39" fmla="*/ 202 h 580"/>
                <a:gd name="T40" fmla="*/ 264 w 439"/>
                <a:gd name="T41" fmla="*/ 152 h 580"/>
                <a:gd name="T42" fmla="*/ 251 w 439"/>
                <a:gd name="T43" fmla="*/ 79 h 580"/>
                <a:gd name="T44" fmla="*/ 215 w 439"/>
                <a:gd name="T45" fmla="*/ 30 h 580"/>
                <a:gd name="T46" fmla="*/ 166 w 439"/>
                <a:gd name="T47" fmla="*/ 7 h 580"/>
                <a:gd name="T48" fmla="*/ 137 w 439"/>
                <a:gd name="T49" fmla="*/ 0 h 580"/>
                <a:gd name="T50" fmla="*/ 112 w 439"/>
                <a:gd name="T51" fmla="*/ 188 h 580"/>
                <a:gd name="T52" fmla="*/ 96 w 439"/>
                <a:gd name="T53" fmla="*/ 187 h 580"/>
                <a:gd name="T54" fmla="*/ 91 w 439"/>
                <a:gd name="T55" fmla="*/ 206 h 580"/>
                <a:gd name="T56" fmla="*/ 106 w 439"/>
                <a:gd name="T57" fmla="*/ 225 h 580"/>
                <a:gd name="T58" fmla="*/ 24 w 439"/>
                <a:gd name="T59" fmla="*/ 373 h 580"/>
                <a:gd name="T60" fmla="*/ 1 w 439"/>
                <a:gd name="T61" fmla="*/ 379 h 580"/>
                <a:gd name="T62" fmla="*/ 26 w 439"/>
                <a:gd name="T63" fmla="*/ 400 h 580"/>
                <a:gd name="T64" fmla="*/ 8 w 439"/>
                <a:gd name="T65" fmla="*/ 438 h 580"/>
                <a:gd name="T66" fmla="*/ 0 w 439"/>
                <a:gd name="T67" fmla="*/ 559 h 5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439" h="580">
                  <a:moveTo>
                    <a:pt x="0" y="559"/>
                  </a:moveTo>
                  <a:lnTo>
                    <a:pt x="11" y="559"/>
                  </a:lnTo>
                  <a:lnTo>
                    <a:pt x="26" y="573"/>
                  </a:lnTo>
                  <a:lnTo>
                    <a:pt x="80" y="568"/>
                  </a:lnTo>
                  <a:lnTo>
                    <a:pt x="101" y="580"/>
                  </a:lnTo>
                  <a:lnTo>
                    <a:pt x="176" y="576"/>
                  </a:lnTo>
                  <a:lnTo>
                    <a:pt x="223" y="566"/>
                  </a:lnTo>
                  <a:lnTo>
                    <a:pt x="242" y="528"/>
                  </a:lnTo>
                  <a:lnTo>
                    <a:pt x="224" y="524"/>
                  </a:lnTo>
                  <a:lnTo>
                    <a:pt x="201" y="502"/>
                  </a:lnTo>
                  <a:lnTo>
                    <a:pt x="196" y="464"/>
                  </a:lnTo>
                  <a:lnTo>
                    <a:pt x="235" y="374"/>
                  </a:lnTo>
                  <a:lnTo>
                    <a:pt x="272" y="378"/>
                  </a:lnTo>
                  <a:lnTo>
                    <a:pt x="289" y="418"/>
                  </a:lnTo>
                  <a:lnTo>
                    <a:pt x="350" y="431"/>
                  </a:lnTo>
                  <a:lnTo>
                    <a:pt x="417" y="385"/>
                  </a:lnTo>
                  <a:lnTo>
                    <a:pt x="432" y="348"/>
                  </a:lnTo>
                  <a:lnTo>
                    <a:pt x="439" y="227"/>
                  </a:lnTo>
                  <a:lnTo>
                    <a:pt x="391" y="195"/>
                  </a:lnTo>
                  <a:lnTo>
                    <a:pt x="338" y="202"/>
                  </a:lnTo>
                  <a:lnTo>
                    <a:pt x="264" y="152"/>
                  </a:lnTo>
                  <a:lnTo>
                    <a:pt x="251" y="79"/>
                  </a:lnTo>
                  <a:lnTo>
                    <a:pt x="215" y="30"/>
                  </a:lnTo>
                  <a:lnTo>
                    <a:pt x="166" y="7"/>
                  </a:lnTo>
                  <a:lnTo>
                    <a:pt x="137" y="0"/>
                  </a:lnTo>
                  <a:lnTo>
                    <a:pt x="112" y="188"/>
                  </a:lnTo>
                  <a:lnTo>
                    <a:pt x="96" y="187"/>
                  </a:lnTo>
                  <a:lnTo>
                    <a:pt x="91" y="206"/>
                  </a:lnTo>
                  <a:lnTo>
                    <a:pt x="106" y="225"/>
                  </a:lnTo>
                  <a:lnTo>
                    <a:pt x="24" y="373"/>
                  </a:lnTo>
                  <a:lnTo>
                    <a:pt x="1" y="379"/>
                  </a:lnTo>
                  <a:lnTo>
                    <a:pt x="26" y="400"/>
                  </a:lnTo>
                  <a:lnTo>
                    <a:pt x="8" y="438"/>
                  </a:lnTo>
                  <a:lnTo>
                    <a:pt x="0" y="559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6" name="Freeform 34"/>
            <p:cNvSpPr>
              <a:spLocks/>
            </p:cNvSpPr>
            <p:nvPr/>
          </p:nvSpPr>
          <p:spPr bwMode="auto">
            <a:xfrm>
              <a:off x="3672593" y="2862980"/>
              <a:ext cx="371562" cy="409943"/>
            </a:xfrm>
            <a:custGeom>
              <a:avLst/>
              <a:gdLst>
                <a:gd name="T0" fmla="*/ 51 w 1016"/>
                <a:gd name="T1" fmla="*/ 54 h 1258"/>
                <a:gd name="T2" fmla="*/ 206 w 1016"/>
                <a:gd name="T3" fmla="*/ 23 h 1258"/>
                <a:gd name="T4" fmla="*/ 1016 w 1016"/>
                <a:gd name="T5" fmla="*/ 0 h 1258"/>
                <a:gd name="T6" fmla="*/ 1016 w 1016"/>
                <a:gd name="T7" fmla="*/ 263 h 1258"/>
                <a:gd name="T8" fmla="*/ 917 w 1016"/>
                <a:gd name="T9" fmla="*/ 261 h 1258"/>
                <a:gd name="T10" fmla="*/ 919 w 1016"/>
                <a:gd name="T11" fmla="*/ 413 h 1258"/>
                <a:gd name="T12" fmla="*/ 952 w 1016"/>
                <a:gd name="T13" fmla="*/ 413 h 1258"/>
                <a:gd name="T14" fmla="*/ 947 w 1016"/>
                <a:gd name="T15" fmla="*/ 1016 h 1258"/>
                <a:gd name="T16" fmla="*/ 679 w 1016"/>
                <a:gd name="T17" fmla="*/ 1114 h 1258"/>
                <a:gd name="T18" fmla="*/ 653 w 1016"/>
                <a:gd name="T19" fmla="*/ 1077 h 1258"/>
                <a:gd name="T20" fmla="*/ 574 w 1016"/>
                <a:gd name="T21" fmla="*/ 1072 h 1258"/>
                <a:gd name="T22" fmla="*/ 449 w 1016"/>
                <a:gd name="T23" fmla="*/ 1148 h 1258"/>
                <a:gd name="T24" fmla="*/ 169 w 1016"/>
                <a:gd name="T25" fmla="*/ 1258 h 1258"/>
                <a:gd name="T26" fmla="*/ 91 w 1016"/>
                <a:gd name="T27" fmla="*/ 1108 h 1258"/>
                <a:gd name="T28" fmla="*/ 75 w 1016"/>
                <a:gd name="T29" fmla="*/ 985 h 1258"/>
                <a:gd name="T30" fmla="*/ 33 w 1016"/>
                <a:gd name="T31" fmla="*/ 975 h 1258"/>
                <a:gd name="T32" fmla="*/ 0 w 1016"/>
                <a:gd name="T33" fmla="*/ 458 h 1258"/>
                <a:gd name="T34" fmla="*/ 30 w 1016"/>
                <a:gd name="T35" fmla="*/ 253 h 1258"/>
                <a:gd name="T36" fmla="*/ 51 w 1016"/>
                <a:gd name="T37" fmla="*/ 54 h 1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016" h="1258">
                  <a:moveTo>
                    <a:pt x="51" y="54"/>
                  </a:moveTo>
                  <a:cubicBezTo>
                    <a:pt x="206" y="23"/>
                    <a:pt x="206" y="23"/>
                    <a:pt x="206" y="23"/>
                  </a:cubicBezTo>
                  <a:cubicBezTo>
                    <a:pt x="1016" y="0"/>
                    <a:pt x="1016" y="0"/>
                    <a:pt x="1016" y="0"/>
                  </a:cubicBezTo>
                  <a:cubicBezTo>
                    <a:pt x="1016" y="263"/>
                    <a:pt x="1016" y="263"/>
                    <a:pt x="1016" y="263"/>
                  </a:cubicBezTo>
                  <a:cubicBezTo>
                    <a:pt x="917" y="261"/>
                    <a:pt x="917" y="261"/>
                    <a:pt x="917" y="261"/>
                  </a:cubicBezTo>
                  <a:cubicBezTo>
                    <a:pt x="919" y="413"/>
                    <a:pt x="919" y="413"/>
                    <a:pt x="919" y="413"/>
                  </a:cubicBezTo>
                  <a:cubicBezTo>
                    <a:pt x="952" y="413"/>
                    <a:pt x="952" y="413"/>
                    <a:pt x="952" y="413"/>
                  </a:cubicBezTo>
                  <a:cubicBezTo>
                    <a:pt x="947" y="1016"/>
                    <a:pt x="947" y="1016"/>
                    <a:pt x="947" y="1016"/>
                  </a:cubicBezTo>
                  <a:cubicBezTo>
                    <a:pt x="679" y="1114"/>
                    <a:pt x="679" y="1114"/>
                    <a:pt x="679" y="1114"/>
                  </a:cubicBezTo>
                  <a:cubicBezTo>
                    <a:pt x="679" y="1114"/>
                    <a:pt x="661" y="1084"/>
                    <a:pt x="653" y="1077"/>
                  </a:cubicBezTo>
                  <a:cubicBezTo>
                    <a:pt x="644" y="1069"/>
                    <a:pt x="608" y="1063"/>
                    <a:pt x="574" y="1072"/>
                  </a:cubicBezTo>
                  <a:cubicBezTo>
                    <a:pt x="541" y="1081"/>
                    <a:pt x="509" y="1119"/>
                    <a:pt x="449" y="1148"/>
                  </a:cubicBezTo>
                  <a:cubicBezTo>
                    <a:pt x="389" y="1178"/>
                    <a:pt x="169" y="1258"/>
                    <a:pt x="169" y="1258"/>
                  </a:cubicBezTo>
                  <a:cubicBezTo>
                    <a:pt x="91" y="1108"/>
                    <a:pt x="91" y="1108"/>
                    <a:pt x="91" y="1108"/>
                  </a:cubicBezTo>
                  <a:cubicBezTo>
                    <a:pt x="75" y="985"/>
                    <a:pt x="75" y="985"/>
                    <a:pt x="75" y="985"/>
                  </a:cubicBezTo>
                  <a:cubicBezTo>
                    <a:pt x="33" y="975"/>
                    <a:pt x="33" y="975"/>
                    <a:pt x="33" y="975"/>
                  </a:cubicBezTo>
                  <a:cubicBezTo>
                    <a:pt x="0" y="458"/>
                    <a:pt x="0" y="458"/>
                    <a:pt x="0" y="458"/>
                  </a:cubicBezTo>
                  <a:cubicBezTo>
                    <a:pt x="30" y="253"/>
                    <a:pt x="30" y="253"/>
                    <a:pt x="30" y="253"/>
                  </a:cubicBezTo>
                  <a:cubicBezTo>
                    <a:pt x="51" y="54"/>
                    <a:pt x="51" y="54"/>
                    <a:pt x="51" y="5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7" name="Freeform 35"/>
            <p:cNvSpPr>
              <a:spLocks/>
            </p:cNvSpPr>
            <p:nvPr/>
          </p:nvSpPr>
          <p:spPr bwMode="auto">
            <a:xfrm>
              <a:off x="3853977" y="3266074"/>
              <a:ext cx="344079" cy="252423"/>
            </a:xfrm>
            <a:custGeom>
              <a:avLst/>
              <a:gdLst>
                <a:gd name="T0" fmla="*/ 62 w 313"/>
                <a:gd name="T1" fmla="*/ 94 h 258"/>
                <a:gd name="T2" fmla="*/ 79 w 313"/>
                <a:gd name="T3" fmla="*/ 150 h 258"/>
                <a:gd name="T4" fmla="*/ 53 w 313"/>
                <a:gd name="T5" fmla="*/ 146 h 258"/>
                <a:gd name="T6" fmla="*/ 49 w 313"/>
                <a:gd name="T7" fmla="*/ 171 h 258"/>
                <a:gd name="T8" fmla="*/ 40 w 313"/>
                <a:gd name="T9" fmla="*/ 170 h 258"/>
                <a:gd name="T10" fmla="*/ 41 w 313"/>
                <a:gd name="T11" fmla="*/ 184 h 258"/>
                <a:gd name="T12" fmla="*/ 32 w 313"/>
                <a:gd name="T13" fmla="*/ 183 h 258"/>
                <a:gd name="T14" fmla="*/ 31 w 313"/>
                <a:gd name="T15" fmla="*/ 194 h 258"/>
                <a:gd name="T16" fmla="*/ 24 w 313"/>
                <a:gd name="T17" fmla="*/ 192 h 258"/>
                <a:gd name="T18" fmla="*/ 17 w 313"/>
                <a:gd name="T19" fmla="*/ 217 h 258"/>
                <a:gd name="T20" fmla="*/ 0 w 313"/>
                <a:gd name="T21" fmla="*/ 217 h 258"/>
                <a:gd name="T22" fmla="*/ 8 w 313"/>
                <a:gd name="T23" fmla="*/ 258 h 258"/>
                <a:gd name="T24" fmla="*/ 307 w 313"/>
                <a:gd name="T25" fmla="*/ 149 h 258"/>
                <a:gd name="T26" fmla="*/ 301 w 313"/>
                <a:gd name="T27" fmla="*/ 128 h 258"/>
                <a:gd name="T28" fmla="*/ 313 w 313"/>
                <a:gd name="T29" fmla="*/ 108 h 258"/>
                <a:gd name="T30" fmla="*/ 274 w 313"/>
                <a:gd name="T31" fmla="*/ 99 h 258"/>
                <a:gd name="T32" fmla="*/ 294 w 313"/>
                <a:gd name="T33" fmla="*/ 29 h 258"/>
                <a:gd name="T34" fmla="*/ 191 w 313"/>
                <a:gd name="T35" fmla="*/ 0 h 258"/>
                <a:gd name="T36" fmla="*/ 188 w 313"/>
                <a:gd name="T37" fmla="*/ 13 h 258"/>
                <a:gd name="T38" fmla="*/ 197 w 313"/>
                <a:gd name="T39" fmla="*/ 17 h 258"/>
                <a:gd name="T40" fmla="*/ 193 w 313"/>
                <a:gd name="T41" fmla="*/ 35 h 258"/>
                <a:gd name="T42" fmla="*/ 183 w 313"/>
                <a:gd name="T43" fmla="*/ 31 h 258"/>
                <a:gd name="T44" fmla="*/ 175 w 313"/>
                <a:gd name="T45" fmla="*/ 70 h 258"/>
                <a:gd name="T46" fmla="*/ 142 w 313"/>
                <a:gd name="T47" fmla="*/ 60 h 258"/>
                <a:gd name="T48" fmla="*/ 62 w 313"/>
                <a:gd name="T49" fmla="*/ 94 h 258"/>
                <a:gd name="T50" fmla="*/ 62 w 313"/>
                <a:gd name="T51" fmla="*/ 94 h 2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313" h="258">
                  <a:moveTo>
                    <a:pt x="62" y="94"/>
                  </a:moveTo>
                  <a:lnTo>
                    <a:pt x="79" y="150"/>
                  </a:lnTo>
                  <a:lnTo>
                    <a:pt x="53" y="146"/>
                  </a:lnTo>
                  <a:lnTo>
                    <a:pt x="49" y="171"/>
                  </a:lnTo>
                  <a:lnTo>
                    <a:pt x="40" y="170"/>
                  </a:lnTo>
                  <a:lnTo>
                    <a:pt x="41" y="184"/>
                  </a:lnTo>
                  <a:lnTo>
                    <a:pt x="32" y="183"/>
                  </a:lnTo>
                  <a:lnTo>
                    <a:pt x="31" y="194"/>
                  </a:lnTo>
                  <a:lnTo>
                    <a:pt x="24" y="192"/>
                  </a:lnTo>
                  <a:lnTo>
                    <a:pt x="17" y="217"/>
                  </a:lnTo>
                  <a:lnTo>
                    <a:pt x="0" y="217"/>
                  </a:lnTo>
                  <a:lnTo>
                    <a:pt x="8" y="258"/>
                  </a:lnTo>
                  <a:lnTo>
                    <a:pt x="307" y="149"/>
                  </a:lnTo>
                  <a:lnTo>
                    <a:pt x="301" y="128"/>
                  </a:lnTo>
                  <a:lnTo>
                    <a:pt x="313" y="108"/>
                  </a:lnTo>
                  <a:lnTo>
                    <a:pt x="274" y="99"/>
                  </a:lnTo>
                  <a:lnTo>
                    <a:pt x="294" y="29"/>
                  </a:lnTo>
                  <a:lnTo>
                    <a:pt x="191" y="0"/>
                  </a:lnTo>
                  <a:lnTo>
                    <a:pt x="188" y="13"/>
                  </a:lnTo>
                  <a:lnTo>
                    <a:pt x="197" y="17"/>
                  </a:lnTo>
                  <a:lnTo>
                    <a:pt x="193" y="35"/>
                  </a:lnTo>
                  <a:lnTo>
                    <a:pt x="183" y="31"/>
                  </a:lnTo>
                  <a:lnTo>
                    <a:pt x="175" y="70"/>
                  </a:lnTo>
                  <a:lnTo>
                    <a:pt x="142" y="60"/>
                  </a:lnTo>
                  <a:lnTo>
                    <a:pt x="62" y="94"/>
                  </a:lnTo>
                  <a:lnTo>
                    <a:pt x="62" y="94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8" name="Freeform 36"/>
            <p:cNvSpPr>
              <a:spLocks/>
            </p:cNvSpPr>
            <p:nvPr/>
          </p:nvSpPr>
          <p:spPr bwMode="auto">
            <a:xfrm>
              <a:off x="3524190" y="3192695"/>
              <a:ext cx="547450" cy="333627"/>
            </a:xfrm>
            <a:custGeom>
              <a:avLst/>
              <a:gdLst>
                <a:gd name="T0" fmla="*/ 0 w 1494"/>
                <a:gd name="T1" fmla="*/ 504 h 1023"/>
                <a:gd name="T2" fmla="*/ 303 w 1494"/>
                <a:gd name="T3" fmla="*/ 379 h 1023"/>
                <a:gd name="T4" fmla="*/ 541 w 1494"/>
                <a:gd name="T5" fmla="*/ 301 h 1023"/>
                <a:gd name="T6" fmla="*/ 567 w 1494"/>
                <a:gd name="T7" fmla="*/ 283 h 1023"/>
                <a:gd name="T8" fmla="*/ 574 w 1494"/>
                <a:gd name="T9" fmla="*/ 243 h 1023"/>
                <a:gd name="T10" fmla="*/ 826 w 1494"/>
                <a:gd name="T11" fmla="*/ 148 h 1023"/>
                <a:gd name="T12" fmla="*/ 966 w 1494"/>
                <a:gd name="T13" fmla="*/ 66 h 1023"/>
                <a:gd name="T14" fmla="*/ 1059 w 1494"/>
                <a:gd name="T15" fmla="*/ 55 h 1023"/>
                <a:gd name="T16" fmla="*/ 1080 w 1494"/>
                <a:gd name="T17" fmla="*/ 102 h 1023"/>
                <a:gd name="T18" fmla="*/ 1353 w 1494"/>
                <a:gd name="T19" fmla="*/ 0 h 1023"/>
                <a:gd name="T20" fmla="*/ 1357 w 1494"/>
                <a:gd name="T21" fmla="*/ 76 h 1023"/>
                <a:gd name="T22" fmla="*/ 1327 w 1494"/>
                <a:gd name="T23" fmla="*/ 165 h 1023"/>
                <a:gd name="T24" fmla="*/ 1341 w 1494"/>
                <a:gd name="T25" fmla="*/ 209 h 1023"/>
                <a:gd name="T26" fmla="*/ 1380 w 1494"/>
                <a:gd name="T27" fmla="*/ 202 h 1023"/>
                <a:gd name="T28" fmla="*/ 1475 w 1494"/>
                <a:gd name="T29" fmla="*/ 228 h 1023"/>
                <a:gd name="T30" fmla="*/ 1466 w 1494"/>
                <a:gd name="T31" fmla="*/ 271 h 1023"/>
                <a:gd name="T32" fmla="*/ 1494 w 1494"/>
                <a:gd name="T33" fmla="*/ 282 h 1023"/>
                <a:gd name="T34" fmla="*/ 1482 w 1494"/>
                <a:gd name="T35" fmla="*/ 334 h 1023"/>
                <a:gd name="T36" fmla="*/ 1451 w 1494"/>
                <a:gd name="T37" fmla="*/ 322 h 1023"/>
                <a:gd name="T38" fmla="*/ 1423 w 1494"/>
                <a:gd name="T39" fmla="*/ 438 h 1023"/>
                <a:gd name="T40" fmla="*/ 1345 w 1494"/>
                <a:gd name="T41" fmla="*/ 419 h 1023"/>
                <a:gd name="T42" fmla="*/ 1084 w 1494"/>
                <a:gd name="T43" fmla="*/ 504 h 1023"/>
                <a:gd name="T44" fmla="*/ 1138 w 1494"/>
                <a:gd name="T45" fmla="*/ 673 h 1023"/>
                <a:gd name="T46" fmla="*/ 1061 w 1494"/>
                <a:gd name="T47" fmla="*/ 663 h 1023"/>
                <a:gd name="T48" fmla="*/ 1042 w 1494"/>
                <a:gd name="T49" fmla="*/ 737 h 1023"/>
                <a:gd name="T50" fmla="*/ 1023 w 1494"/>
                <a:gd name="T51" fmla="*/ 736 h 1023"/>
                <a:gd name="T52" fmla="*/ 1021 w 1494"/>
                <a:gd name="T53" fmla="*/ 776 h 1023"/>
                <a:gd name="T54" fmla="*/ 997 w 1494"/>
                <a:gd name="T55" fmla="*/ 777 h 1023"/>
                <a:gd name="T56" fmla="*/ 993 w 1494"/>
                <a:gd name="T57" fmla="*/ 802 h 1023"/>
                <a:gd name="T58" fmla="*/ 971 w 1494"/>
                <a:gd name="T59" fmla="*/ 802 h 1023"/>
                <a:gd name="T60" fmla="*/ 953 w 1494"/>
                <a:gd name="T61" fmla="*/ 875 h 1023"/>
                <a:gd name="T62" fmla="*/ 899 w 1494"/>
                <a:gd name="T63" fmla="*/ 876 h 1023"/>
                <a:gd name="T64" fmla="*/ 931 w 1494"/>
                <a:gd name="T65" fmla="*/ 981 h 1023"/>
                <a:gd name="T66" fmla="*/ 811 w 1494"/>
                <a:gd name="T67" fmla="*/ 1023 h 1023"/>
                <a:gd name="T68" fmla="*/ 723 w 1494"/>
                <a:gd name="T69" fmla="*/ 956 h 1023"/>
                <a:gd name="T70" fmla="*/ 571 w 1494"/>
                <a:gd name="T71" fmla="*/ 917 h 1023"/>
                <a:gd name="T72" fmla="*/ 497 w 1494"/>
                <a:gd name="T73" fmla="*/ 884 h 1023"/>
                <a:gd name="T74" fmla="*/ 325 w 1494"/>
                <a:gd name="T75" fmla="*/ 705 h 1023"/>
                <a:gd name="T76" fmla="*/ 159 w 1494"/>
                <a:gd name="T77" fmla="*/ 614 h 1023"/>
                <a:gd name="T78" fmla="*/ 77 w 1494"/>
                <a:gd name="T79" fmla="*/ 586 h 1023"/>
                <a:gd name="T80" fmla="*/ 15 w 1494"/>
                <a:gd name="T81" fmla="*/ 524 h 1023"/>
                <a:gd name="T82" fmla="*/ 0 w 1494"/>
                <a:gd name="T83" fmla="*/ 504 h 10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494" h="1023">
                  <a:moveTo>
                    <a:pt x="0" y="504"/>
                  </a:moveTo>
                  <a:cubicBezTo>
                    <a:pt x="303" y="379"/>
                    <a:pt x="303" y="379"/>
                    <a:pt x="303" y="379"/>
                  </a:cubicBezTo>
                  <a:cubicBezTo>
                    <a:pt x="303" y="379"/>
                    <a:pt x="503" y="319"/>
                    <a:pt x="541" y="301"/>
                  </a:cubicBezTo>
                  <a:cubicBezTo>
                    <a:pt x="579" y="282"/>
                    <a:pt x="561" y="292"/>
                    <a:pt x="567" y="283"/>
                  </a:cubicBezTo>
                  <a:cubicBezTo>
                    <a:pt x="573" y="274"/>
                    <a:pt x="574" y="243"/>
                    <a:pt x="574" y="243"/>
                  </a:cubicBezTo>
                  <a:cubicBezTo>
                    <a:pt x="574" y="243"/>
                    <a:pt x="768" y="176"/>
                    <a:pt x="826" y="148"/>
                  </a:cubicBezTo>
                  <a:cubicBezTo>
                    <a:pt x="885" y="120"/>
                    <a:pt x="929" y="78"/>
                    <a:pt x="966" y="66"/>
                  </a:cubicBezTo>
                  <a:cubicBezTo>
                    <a:pt x="1002" y="54"/>
                    <a:pt x="1059" y="55"/>
                    <a:pt x="1059" y="55"/>
                  </a:cubicBezTo>
                  <a:cubicBezTo>
                    <a:pt x="1080" y="102"/>
                    <a:pt x="1080" y="102"/>
                    <a:pt x="1080" y="102"/>
                  </a:cubicBezTo>
                  <a:cubicBezTo>
                    <a:pt x="1353" y="0"/>
                    <a:pt x="1353" y="0"/>
                    <a:pt x="1353" y="0"/>
                  </a:cubicBezTo>
                  <a:cubicBezTo>
                    <a:pt x="1357" y="76"/>
                    <a:pt x="1357" y="76"/>
                    <a:pt x="1357" y="76"/>
                  </a:cubicBezTo>
                  <a:cubicBezTo>
                    <a:pt x="1327" y="165"/>
                    <a:pt x="1327" y="165"/>
                    <a:pt x="1327" y="165"/>
                  </a:cubicBezTo>
                  <a:cubicBezTo>
                    <a:pt x="1341" y="209"/>
                    <a:pt x="1341" y="209"/>
                    <a:pt x="1341" y="209"/>
                  </a:cubicBezTo>
                  <a:cubicBezTo>
                    <a:pt x="1380" y="202"/>
                    <a:pt x="1380" y="202"/>
                    <a:pt x="1380" y="202"/>
                  </a:cubicBezTo>
                  <a:cubicBezTo>
                    <a:pt x="1475" y="228"/>
                    <a:pt x="1475" y="228"/>
                    <a:pt x="1475" y="228"/>
                  </a:cubicBezTo>
                  <a:cubicBezTo>
                    <a:pt x="1466" y="271"/>
                    <a:pt x="1466" y="271"/>
                    <a:pt x="1466" y="271"/>
                  </a:cubicBezTo>
                  <a:cubicBezTo>
                    <a:pt x="1494" y="282"/>
                    <a:pt x="1494" y="282"/>
                    <a:pt x="1494" y="282"/>
                  </a:cubicBezTo>
                  <a:cubicBezTo>
                    <a:pt x="1482" y="334"/>
                    <a:pt x="1482" y="334"/>
                    <a:pt x="1482" y="334"/>
                  </a:cubicBezTo>
                  <a:cubicBezTo>
                    <a:pt x="1451" y="322"/>
                    <a:pt x="1451" y="322"/>
                    <a:pt x="1451" y="322"/>
                  </a:cubicBezTo>
                  <a:cubicBezTo>
                    <a:pt x="1423" y="438"/>
                    <a:pt x="1423" y="438"/>
                    <a:pt x="1423" y="438"/>
                  </a:cubicBezTo>
                  <a:cubicBezTo>
                    <a:pt x="1345" y="419"/>
                    <a:pt x="1345" y="419"/>
                    <a:pt x="1345" y="419"/>
                  </a:cubicBezTo>
                  <a:cubicBezTo>
                    <a:pt x="1084" y="504"/>
                    <a:pt x="1084" y="504"/>
                    <a:pt x="1084" y="504"/>
                  </a:cubicBezTo>
                  <a:cubicBezTo>
                    <a:pt x="1138" y="673"/>
                    <a:pt x="1138" y="673"/>
                    <a:pt x="1138" y="673"/>
                  </a:cubicBezTo>
                  <a:cubicBezTo>
                    <a:pt x="1061" y="663"/>
                    <a:pt x="1061" y="663"/>
                    <a:pt x="1061" y="663"/>
                  </a:cubicBezTo>
                  <a:cubicBezTo>
                    <a:pt x="1042" y="737"/>
                    <a:pt x="1042" y="737"/>
                    <a:pt x="1042" y="737"/>
                  </a:cubicBezTo>
                  <a:cubicBezTo>
                    <a:pt x="1023" y="736"/>
                    <a:pt x="1023" y="736"/>
                    <a:pt x="1023" y="736"/>
                  </a:cubicBezTo>
                  <a:cubicBezTo>
                    <a:pt x="1021" y="776"/>
                    <a:pt x="1021" y="776"/>
                    <a:pt x="1021" y="776"/>
                  </a:cubicBezTo>
                  <a:cubicBezTo>
                    <a:pt x="997" y="777"/>
                    <a:pt x="997" y="777"/>
                    <a:pt x="997" y="777"/>
                  </a:cubicBezTo>
                  <a:cubicBezTo>
                    <a:pt x="993" y="802"/>
                    <a:pt x="993" y="802"/>
                    <a:pt x="993" y="802"/>
                  </a:cubicBezTo>
                  <a:cubicBezTo>
                    <a:pt x="971" y="802"/>
                    <a:pt x="971" y="802"/>
                    <a:pt x="971" y="802"/>
                  </a:cubicBezTo>
                  <a:cubicBezTo>
                    <a:pt x="953" y="875"/>
                    <a:pt x="953" y="875"/>
                    <a:pt x="953" y="875"/>
                  </a:cubicBezTo>
                  <a:cubicBezTo>
                    <a:pt x="899" y="876"/>
                    <a:pt x="899" y="876"/>
                    <a:pt x="899" y="876"/>
                  </a:cubicBezTo>
                  <a:cubicBezTo>
                    <a:pt x="931" y="981"/>
                    <a:pt x="931" y="981"/>
                    <a:pt x="931" y="981"/>
                  </a:cubicBezTo>
                  <a:cubicBezTo>
                    <a:pt x="811" y="1023"/>
                    <a:pt x="811" y="1023"/>
                    <a:pt x="811" y="1023"/>
                  </a:cubicBezTo>
                  <a:cubicBezTo>
                    <a:pt x="811" y="1023"/>
                    <a:pt x="760" y="976"/>
                    <a:pt x="723" y="956"/>
                  </a:cubicBezTo>
                  <a:cubicBezTo>
                    <a:pt x="686" y="936"/>
                    <a:pt x="607" y="929"/>
                    <a:pt x="571" y="917"/>
                  </a:cubicBezTo>
                  <a:cubicBezTo>
                    <a:pt x="536" y="906"/>
                    <a:pt x="535" y="911"/>
                    <a:pt x="497" y="884"/>
                  </a:cubicBezTo>
                  <a:cubicBezTo>
                    <a:pt x="458" y="858"/>
                    <a:pt x="376" y="744"/>
                    <a:pt x="325" y="705"/>
                  </a:cubicBezTo>
                  <a:cubicBezTo>
                    <a:pt x="274" y="665"/>
                    <a:pt x="199" y="633"/>
                    <a:pt x="159" y="614"/>
                  </a:cubicBezTo>
                  <a:cubicBezTo>
                    <a:pt x="118" y="595"/>
                    <a:pt x="95" y="598"/>
                    <a:pt x="77" y="586"/>
                  </a:cubicBezTo>
                  <a:cubicBezTo>
                    <a:pt x="59" y="573"/>
                    <a:pt x="30" y="543"/>
                    <a:pt x="15" y="524"/>
                  </a:cubicBezTo>
                  <a:cubicBezTo>
                    <a:pt x="2" y="509"/>
                    <a:pt x="0" y="504"/>
                    <a:pt x="0" y="50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9" name="Freeform 37"/>
            <p:cNvSpPr>
              <a:spLocks/>
            </p:cNvSpPr>
            <p:nvPr/>
          </p:nvSpPr>
          <p:spPr bwMode="auto">
            <a:xfrm>
              <a:off x="3623086" y="3519477"/>
              <a:ext cx="379257" cy="266119"/>
            </a:xfrm>
            <a:custGeom>
              <a:avLst/>
              <a:gdLst>
                <a:gd name="T0" fmla="*/ 634 w 1037"/>
                <a:gd name="T1" fmla="*/ 538 h 817"/>
                <a:gd name="T2" fmla="*/ 162 w 1037"/>
                <a:gd name="T3" fmla="*/ 743 h 817"/>
                <a:gd name="T4" fmla="*/ 206 w 1037"/>
                <a:gd name="T5" fmla="*/ 721 h 817"/>
                <a:gd name="T6" fmla="*/ 51 w 1037"/>
                <a:gd name="T7" fmla="*/ 325 h 817"/>
                <a:gd name="T8" fmla="*/ 0 w 1037"/>
                <a:gd name="T9" fmla="*/ 298 h 817"/>
                <a:gd name="T10" fmla="*/ 318 w 1037"/>
                <a:gd name="T11" fmla="*/ 199 h 817"/>
                <a:gd name="T12" fmla="*/ 381 w 1037"/>
                <a:gd name="T13" fmla="*/ 149 h 817"/>
                <a:gd name="T14" fmla="*/ 420 w 1037"/>
                <a:gd name="T15" fmla="*/ 55 h 817"/>
                <a:gd name="T16" fmla="*/ 517 w 1037"/>
                <a:gd name="T17" fmla="*/ 24 h 817"/>
                <a:gd name="T18" fmla="*/ 588 w 1037"/>
                <a:gd name="T19" fmla="*/ 0 h 817"/>
                <a:gd name="T20" fmla="*/ 519 w 1037"/>
                <a:gd name="T21" fmla="*/ 25 h 817"/>
                <a:gd name="T22" fmla="*/ 694 w 1037"/>
                <a:gd name="T23" fmla="*/ 175 h 817"/>
                <a:gd name="T24" fmla="*/ 1037 w 1037"/>
                <a:gd name="T25" fmla="*/ 375 h 817"/>
                <a:gd name="T26" fmla="*/ 966 w 1037"/>
                <a:gd name="T27" fmla="*/ 817 h 817"/>
                <a:gd name="T28" fmla="*/ 741 w 1037"/>
                <a:gd name="T29" fmla="*/ 768 h 817"/>
                <a:gd name="T30" fmla="*/ 634 w 1037"/>
                <a:gd name="T31" fmla="*/ 538 h 8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1037" h="817">
                  <a:moveTo>
                    <a:pt x="634" y="538"/>
                  </a:moveTo>
                  <a:cubicBezTo>
                    <a:pt x="477" y="607"/>
                    <a:pt x="319" y="675"/>
                    <a:pt x="162" y="743"/>
                  </a:cubicBezTo>
                  <a:cubicBezTo>
                    <a:pt x="176" y="736"/>
                    <a:pt x="198" y="732"/>
                    <a:pt x="206" y="721"/>
                  </a:cubicBezTo>
                  <a:cubicBezTo>
                    <a:pt x="154" y="589"/>
                    <a:pt x="103" y="457"/>
                    <a:pt x="51" y="325"/>
                  </a:cubicBezTo>
                  <a:cubicBezTo>
                    <a:pt x="34" y="316"/>
                    <a:pt x="17" y="307"/>
                    <a:pt x="0" y="298"/>
                  </a:cubicBezTo>
                  <a:cubicBezTo>
                    <a:pt x="106" y="265"/>
                    <a:pt x="212" y="232"/>
                    <a:pt x="318" y="199"/>
                  </a:cubicBezTo>
                  <a:cubicBezTo>
                    <a:pt x="339" y="182"/>
                    <a:pt x="362" y="167"/>
                    <a:pt x="381" y="149"/>
                  </a:cubicBezTo>
                  <a:cubicBezTo>
                    <a:pt x="394" y="117"/>
                    <a:pt x="407" y="86"/>
                    <a:pt x="420" y="55"/>
                  </a:cubicBezTo>
                  <a:cubicBezTo>
                    <a:pt x="452" y="45"/>
                    <a:pt x="485" y="32"/>
                    <a:pt x="517" y="24"/>
                  </a:cubicBezTo>
                  <a:cubicBezTo>
                    <a:pt x="541" y="19"/>
                    <a:pt x="564" y="8"/>
                    <a:pt x="588" y="0"/>
                  </a:cubicBezTo>
                  <a:cubicBezTo>
                    <a:pt x="565" y="9"/>
                    <a:pt x="542" y="17"/>
                    <a:pt x="519" y="25"/>
                  </a:cubicBezTo>
                  <a:cubicBezTo>
                    <a:pt x="577" y="75"/>
                    <a:pt x="634" y="127"/>
                    <a:pt x="694" y="175"/>
                  </a:cubicBezTo>
                  <a:cubicBezTo>
                    <a:pt x="808" y="242"/>
                    <a:pt x="922" y="309"/>
                    <a:pt x="1037" y="375"/>
                  </a:cubicBezTo>
                  <a:cubicBezTo>
                    <a:pt x="1013" y="523"/>
                    <a:pt x="989" y="670"/>
                    <a:pt x="966" y="817"/>
                  </a:cubicBezTo>
                  <a:cubicBezTo>
                    <a:pt x="891" y="801"/>
                    <a:pt x="816" y="784"/>
                    <a:pt x="741" y="768"/>
                  </a:cubicBezTo>
                  <a:cubicBezTo>
                    <a:pt x="705" y="691"/>
                    <a:pt x="670" y="615"/>
                    <a:pt x="634" y="538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0" name="Freeform 38"/>
            <p:cNvSpPr>
              <a:spLocks/>
            </p:cNvSpPr>
            <p:nvPr/>
          </p:nvSpPr>
          <p:spPr bwMode="auto">
            <a:xfrm>
              <a:off x="3277947" y="3417724"/>
              <a:ext cx="540853" cy="248508"/>
            </a:xfrm>
            <a:custGeom>
              <a:avLst/>
              <a:gdLst>
                <a:gd name="T0" fmla="*/ 410 w 1477"/>
                <a:gd name="T1" fmla="*/ 761 h 761"/>
                <a:gd name="T2" fmla="*/ 351 w 1477"/>
                <a:gd name="T3" fmla="*/ 718 h 761"/>
                <a:gd name="T4" fmla="*/ 0 w 1477"/>
                <a:gd name="T5" fmla="*/ 521 h 761"/>
                <a:gd name="T6" fmla="*/ 10 w 1477"/>
                <a:gd name="T7" fmla="*/ 479 h 761"/>
                <a:gd name="T8" fmla="*/ 46 w 1477"/>
                <a:gd name="T9" fmla="*/ 491 h 761"/>
                <a:gd name="T10" fmla="*/ 57 w 1477"/>
                <a:gd name="T11" fmla="*/ 440 h 761"/>
                <a:gd name="T12" fmla="*/ 82 w 1477"/>
                <a:gd name="T13" fmla="*/ 435 h 761"/>
                <a:gd name="T14" fmla="*/ 81 w 1477"/>
                <a:gd name="T15" fmla="*/ 340 h 761"/>
                <a:gd name="T16" fmla="*/ 224 w 1477"/>
                <a:gd name="T17" fmla="*/ 473 h 761"/>
                <a:gd name="T18" fmla="*/ 251 w 1477"/>
                <a:gd name="T19" fmla="*/ 489 h 761"/>
                <a:gd name="T20" fmla="*/ 345 w 1477"/>
                <a:gd name="T21" fmla="*/ 269 h 761"/>
                <a:gd name="T22" fmla="*/ 340 w 1477"/>
                <a:gd name="T23" fmla="*/ 199 h 761"/>
                <a:gd name="T24" fmla="*/ 315 w 1477"/>
                <a:gd name="T25" fmla="*/ 157 h 761"/>
                <a:gd name="T26" fmla="*/ 310 w 1477"/>
                <a:gd name="T27" fmla="*/ 58 h 761"/>
                <a:gd name="T28" fmla="*/ 367 w 1477"/>
                <a:gd name="T29" fmla="*/ 60 h 761"/>
                <a:gd name="T30" fmla="*/ 369 w 1477"/>
                <a:gd name="T31" fmla="*/ 34 h 761"/>
                <a:gd name="T32" fmla="*/ 553 w 1477"/>
                <a:gd name="T33" fmla="*/ 50 h 761"/>
                <a:gd name="T34" fmla="*/ 602 w 1477"/>
                <a:gd name="T35" fmla="*/ 238 h 761"/>
                <a:gd name="T36" fmla="*/ 671 w 1477"/>
                <a:gd name="T37" fmla="*/ 318 h 761"/>
                <a:gd name="T38" fmla="*/ 703 w 1477"/>
                <a:gd name="T39" fmla="*/ 339 h 761"/>
                <a:gd name="T40" fmla="*/ 836 w 1477"/>
                <a:gd name="T41" fmla="*/ 362 h 761"/>
                <a:gd name="T42" fmla="*/ 971 w 1477"/>
                <a:gd name="T43" fmla="*/ 0 h 761"/>
                <a:gd name="T44" fmla="*/ 1004 w 1477"/>
                <a:gd name="T45" fmla="*/ 17 h 761"/>
                <a:gd name="T46" fmla="*/ 1177 w 1477"/>
                <a:gd name="T47" fmla="*/ 202 h 761"/>
                <a:gd name="T48" fmla="*/ 1400 w 1477"/>
                <a:gd name="T49" fmla="*/ 262 h 761"/>
                <a:gd name="T50" fmla="*/ 1477 w 1477"/>
                <a:gd name="T51" fmla="*/ 330 h 761"/>
                <a:gd name="T52" fmla="*/ 1385 w 1477"/>
                <a:gd name="T53" fmla="*/ 363 h 761"/>
                <a:gd name="T54" fmla="*/ 1368 w 1477"/>
                <a:gd name="T55" fmla="*/ 461 h 761"/>
                <a:gd name="T56" fmla="*/ 1296 w 1477"/>
                <a:gd name="T57" fmla="*/ 505 h 761"/>
                <a:gd name="T58" fmla="*/ 639 w 1477"/>
                <a:gd name="T59" fmla="*/ 714 h 761"/>
                <a:gd name="T60" fmla="*/ 615 w 1477"/>
                <a:gd name="T61" fmla="*/ 662 h 761"/>
                <a:gd name="T62" fmla="*/ 410 w 1477"/>
                <a:gd name="T63" fmla="*/ 761 h 7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477" h="761">
                  <a:moveTo>
                    <a:pt x="410" y="761"/>
                  </a:moveTo>
                  <a:cubicBezTo>
                    <a:pt x="351" y="718"/>
                    <a:pt x="351" y="718"/>
                    <a:pt x="351" y="718"/>
                  </a:cubicBezTo>
                  <a:cubicBezTo>
                    <a:pt x="0" y="521"/>
                    <a:pt x="0" y="521"/>
                    <a:pt x="0" y="521"/>
                  </a:cubicBezTo>
                  <a:cubicBezTo>
                    <a:pt x="10" y="479"/>
                    <a:pt x="10" y="479"/>
                    <a:pt x="10" y="479"/>
                  </a:cubicBezTo>
                  <a:cubicBezTo>
                    <a:pt x="46" y="491"/>
                    <a:pt x="46" y="491"/>
                    <a:pt x="46" y="491"/>
                  </a:cubicBezTo>
                  <a:cubicBezTo>
                    <a:pt x="57" y="440"/>
                    <a:pt x="57" y="440"/>
                    <a:pt x="57" y="440"/>
                  </a:cubicBezTo>
                  <a:cubicBezTo>
                    <a:pt x="82" y="435"/>
                    <a:pt x="82" y="435"/>
                    <a:pt x="82" y="435"/>
                  </a:cubicBezTo>
                  <a:cubicBezTo>
                    <a:pt x="81" y="340"/>
                    <a:pt x="81" y="340"/>
                    <a:pt x="81" y="340"/>
                  </a:cubicBezTo>
                  <a:cubicBezTo>
                    <a:pt x="224" y="473"/>
                    <a:pt x="224" y="473"/>
                    <a:pt x="224" y="473"/>
                  </a:cubicBezTo>
                  <a:cubicBezTo>
                    <a:pt x="251" y="489"/>
                    <a:pt x="251" y="489"/>
                    <a:pt x="251" y="489"/>
                  </a:cubicBezTo>
                  <a:cubicBezTo>
                    <a:pt x="345" y="269"/>
                    <a:pt x="345" y="269"/>
                    <a:pt x="345" y="269"/>
                  </a:cubicBezTo>
                  <a:cubicBezTo>
                    <a:pt x="340" y="199"/>
                    <a:pt x="340" y="199"/>
                    <a:pt x="340" y="199"/>
                  </a:cubicBezTo>
                  <a:cubicBezTo>
                    <a:pt x="315" y="157"/>
                    <a:pt x="315" y="157"/>
                    <a:pt x="315" y="157"/>
                  </a:cubicBezTo>
                  <a:cubicBezTo>
                    <a:pt x="310" y="58"/>
                    <a:pt x="310" y="58"/>
                    <a:pt x="310" y="58"/>
                  </a:cubicBezTo>
                  <a:cubicBezTo>
                    <a:pt x="367" y="60"/>
                    <a:pt x="367" y="60"/>
                    <a:pt x="367" y="60"/>
                  </a:cubicBezTo>
                  <a:cubicBezTo>
                    <a:pt x="369" y="34"/>
                    <a:pt x="369" y="34"/>
                    <a:pt x="369" y="34"/>
                  </a:cubicBezTo>
                  <a:cubicBezTo>
                    <a:pt x="553" y="50"/>
                    <a:pt x="553" y="50"/>
                    <a:pt x="553" y="50"/>
                  </a:cubicBezTo>
                  <a:cubicBezTo>
                    <a:pt x="602" y="238"/>
                    <a:pt x="602" y="238"/>
                    <a:pt x="602" y="238"/>
                  </a:cubicBezTo>
                  <a:cubicBezTo>
                    <a:pt x="671" y="318"/>
                    <a:pt x="671" y="318"/>
                    <a:pt x="671" y="318"/>
                  </a:cubicBezTo>
                  <a:cubicBezTo>
                    <a:pt x="703" y="339"/>
                    <a:pt x="703" y="339"/>
                    <a:pt x="703" y="339"/>
                  </a:cubicBezTo>
                  <a:cubicBezTo>
                    <a:pt x="836" y="362"/>
                    <a:pt x="836" y="362"/>
                    <a:pt x="836" y="362"/>
                  </a:cubicBezTo>
                  <a:cubicBezTo>
                    <a:pt x="971" y="0"/>
                    <a:pt x="971" y="0"/>
                    <a:pt x="971" y="0"/>
                  </a:cubicBezTo>
                  <a:cubicBezTo>
                    <a:pt x="1004" y="17"/>
                    <a:pt x="1004" y="17"/>
                    <a:pt x="1004" y="17"/>
                  </a:cubicBezTo>
                  <a:cubicBezTo>
                    <a:pt x="1004" y="17"/>
                    <a:pt x="1116" y="136"/>
                    <a:pt x="1177" y="202"/>
                  </a:cubicBezTo>
                  <a:cubicBezTo>
                    <a:pt x="1235" y="215"/>
                    <a:pt x="1354" y="248"/>
                    <a:pt x="1400" y="262"/>
                  </a:cubicBezTo>
                  <a:cubicBezTo>
                    <a:pt x="1440" y="294"/>
                    <a:pt x="1477" y="330"/>
                    <a:pt x="1477" y="330"/>
                  </a:cubicBezTo>
                  <a:cubicBezTo>
                    <a:pt x="1385" y="363"/>
                    <a:pt x="1385" y="363"/>
                    <a:pt x="1385" y="363"/>
                  </a:cubicBezTo>
                  <a:cubicBezTo>
                    <a:pt x="1385" y="363"/>
                    <a:pt x="1384" y="443"/>
                    <a:pt x="1368" y="461"/>
                  </a:cubicBezTo>
                  <a:cubicBezTo>
                    <a:pt x="1351" y="480"/>
                    <a:pt x="1329" y="488"/>
                    <a:pt x="1296" y="505"/>
                  </a:cubicBezTo>
                  <a:cubicBezTo>
                    <a:pt x="1263" y="523"/>
                    <a:pt x="639" y="714"/>
                    <a:pt x="639" y="714"/>
                  </a:cubicBezTo>
                  <a:cubicBezTo>
                    <a:pt x="615" y="662"/>
                    <a:pt x="615" y="662"/>
                    <a:pt x="615" y="662"/>
                  </a:cubicBezTo>
                  <a:cubicBezTo>
                    <a:pt x="410" y="761"/>
                    <a:pt x="410" y="761"/>
                    <a:pt x="410" y="761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1" name="Freeform 39"/>
            <p:cNvSpPr>
              <a:spLocks/>
            </p:cNvSpPr>
            <p:nvPr/>
          </p:nvSpPr>
          <p:spPr bwMode="auto">
            <a:xfrm>
              <a:off x="3943021" y="3641774"/>
              <a:ext cx="469399" cy="444187"/>
            </a:xfrm>
            <a:custGeom>
              <a:avLst/>
              <a:gdLst>
                <a:gd name="T0" fmla="*/ 249 w 1282"/>
                <a:gd name="T1" fmla="*/ 1185 h 1363"/>
                <a:gd name="T2" fmla="*/ 304 w 1282"/>
                <a:gd name="T3" fmla="*/ 983 h 1363"/>
                <a:gd name="T4" fmla="*/ 230 w 1282"/>
                <a:gd name="T5" fmla="*/ 963 h 1363"/>
                <a:gd name="T6" fmla="*/ 125 w 1282"/>
                <a:gd name="T7" fmla="*/ 983 h 1363"/>
                <a:gd name="T8" fmla="*/ 59 w 1282"/>
                <a:gd name="T9" fmla="*/ 1022 h 1363"/>
                <a:gd name="T10" fmla="*/ 0 w 1282"/>
                <a:gd name="T11" fmla="*/ 971 h 1363"/>
                <a:gd name="T12" fmla="*/ 2 w 1282"/>
                <a:gd name="T13" fmla="*/ 921 h 1363"/>
                <a:gd name="T14" fmla="*/ 43 w 1282"/>
                <a:gd name="T15" fmla="*/ 921 h 1363"/>
                <a:gd name="T16" fmla="*/ 115 w 1282"/>
                <a:gd name="T17" fmla="*/ 413 h 1363"/>
                <a:gd name="T18" fmla="*/ 191 w 1282"/>
                <a:gd name="T19" fmla="*/ 0 h 1363"/>
                <a:gd name="T20" fmla="*/ 831 w 1282"/>
                <a:gd name="T21" fmla="*/ 371 h 1363"/>
                <a:gd name="T22" fmla="*/ 1127 w 1282"/>
                <a:gd name="T23" fmla="*/ 557 h 1363"/>
                <a:gd name="T24" fmla="*/ 1194 w 1282"/>
                <a:gd name="T25" fmla="*/ 624 h 1363"/>
                <a:gd name="T26" fmla="*/ 1138 w 1282"/>
                <a:gd name="T27" fmla="*/ 684 h 1363"/>
                <a:gd name="T28" fmla="*/ 1277 w 1282"/>
                <a:gd name="T29" fmla="*/ 823 h 1363"/>
                <a:gd name="T30" fmla="*/ 1198 w 1282"/>
                <a:gd name="T31" fmla="*/ 905 h 1363"/>
                <a:gd name="T32" fmla="*/ 1282 w 1282"/>
                <a:gd name="T33" fmla="*/ 975 h 1363"/>
                <a:gd name="T34" fmla="*/ 1206 w 1282"/>
                <a:gd name="T35" fmla="*/ 1319 h 1363"/>
                <a:gd name="T36" fmla="*/ 1158 w 1282"/>
                <a:gd name="T37" fmla="*/ 1363 h 1363"/>
                <a:gd name="T38" fmla="*/ 734 w 1282"/>
                <a:gd name="T39" fmla="*/ 1036 h 1363"/>
                <a:gd name="T40" fmla="*/ 807 w 1282"/>
                <a:gd name="T41" fmla="*/ 1335 h 1363"/>
                <a:gd name="T42" fmla="*/ 626 w 1282"/>
                <a:gd name="T43" fmla="*/ 1331 h 1363"/>
                <a:gd name="T44" fmla="*/ 517 w 1282"/>
                <a:gd name="T45" fmla="*/ 1215 h 1363"/>
                <a:gd name="T46" fmla="*/ 376 w 1282"/>
                <a:gd name="T47" fmla="*/ 1347 h 1363"/>
                <a:gd name="T48" fmla="*/ 240 w 1282"/>
                <a:gd name="T49" fmla="*/ 1234 h 1363"/>
                <a:gd name="T50" fmla="*/ 249 w 1282"/>
                <a:gd name="T51" fmla="*/ 1185 h 13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282" h="1363">
                  <a:moveTo>
                    <a:pt x="249" y="1185"/>
                  </a:moveTo>
                  <a:cubicBezTo>
                    <a:pt x="304" y="983"/>
                    <a:pt x="304" y="983"/>
                    <a:pt x="304" y="983"/>
                  </a:cubicBezTo>
                  <a:cubicBezTo>
                    <a:pt x="304" y="983"/>
                    <a:pt x="249" y="964"/>
                    <a:pt x="230" y="963"/>
                  </a:cubicBezTo>
                  <a:cubicBezTo>
                    <a:pt x="210" y="961"/>
                    <a:pt x="136" y="977"/>
                    <a:pt x="125" y="983"/>
                  </a:cubicBezTo>
                  <a:cubicBezTo>
                    <a:pt x="115" y="990"/>
                    <a:pt x="59" y="1022"/>
                    <a:pt x="59" y="1022"/>
                  </a:cubicBezTo>
                  <a:cubicBezTo>
                    <a:pt x="0" y="971"/>
                    <a:pt x="0" y="971"/>
                    <a:pt x="0" y="971"/>
                  </a:cubicBezTo>
                  <a:cubicBezTo>
                    <a:pt x="2" y="921"/>
                    <a:pt x="2" y="921"/>
                    <a:pt x="2" y="921"/>
                  </a:cubicBezTo>
                  <a:cubicBezTo>
                    <a:pt x="43" y="921"/>
                    <a:pt x="43" y="921"/>
                    <a:pt x="43" y="921"/>
                  </a:cubicBezTo>
                  <a:cubicBezTo>
                    <a:pt x="115" y="413"/>
                    <a:pt x="115" y="413"/>
                    <a:pt x="115" y="413"/>
                  </a:cubicBezTo>
                  <a:cubicBezTo>
                    <a:pt x="191" y="0"/>
                    <a:pt x="191" y="0"/>
                    <a:pt x="191" y="0"/>
                  </a:cubicBezTo>
                  <a:cubicBezTo>
                    <a:pt x="831" y="371"/>
                    <a:pt x="831" y="371"/>
                    <a:pt x="831" y="371"/>
                  </a:cubicBezTo>
                  <a:cubicBezTo>
                    <a:pt x="1127" y="557"/>
                    <a:pt x="1127" y="557"/>
                    <a:pt x="1127" y="557"/>
                  </a:cubicBezTo>
                  <a:cubicBezTo>
                    <a:pt x="1194" y="624"/>
                    <a:pt x="1194" y="624"/>
                    <a:pt x="1194" y="624"/>
                  </a:cubicBezTo>
                  <a:cubicBezTo>
                    <a:pt x="1138" y="684"/>
                    <a:pt x="1138" y="684"/>
                    <a:pt x="1138" y="684"/>
                  </a:cubicBezTo>
                  <a:cubicBezTo>
                    <a:pt x="1277" y="823"/>
                    <a:pt x="1277" y="823"/>
                    <a:pt x="1277" y="823"/>
                  </a:cubicBezTo>
                  <a:cubicBezTo>
                    <a:pt x="1198" y="905"/>
                    <a:pt x="1198" y="905"/>
                    <a:pt x="1198" y="905"/>
                  </a:cubicBezTo>
                  <a:cubicBezTo>
                    <a:pt x="1282" y="975"/>
                    <a:pt x="1282" y="975"/>
                    <a:pt x="1282" y="975"/>
                  </a:cubicBezTo>
                  <a:cubicBezTo>
                    <a:pt x="1206" y="1319"/>
                    <a:pt x="1206" y="1319"/>
                    <a:pt x="1206" y="1319"/>
                  </a:cubicBezTo>
                  <a:cubicBezTo>
                    <a:pt x="1158" y="1363"/>
                    <a:pt x="1158" y="1363"/>
                    <a:pt x="1158" y="1363"/>
                  </a:cubicBezTo>
                  <a:cubicBezTo>
                    <a:pt x="734" y="1036"/>
                    <a:pt x="734" y="1036"/>
                    <a:pt x="734" y="1036"/>
                  </a:cubicBezTo>
                  <a:cubicBezTo>
                    <a:pt x="807" y="1335"/>
                    <a:pt x="807" y="1335"/>
                    <a:pt x="807" y="1335"/>
                  </a:cubicBezTo>
                  <a:cubicBezTo>
                    <a:pt x="626" y="1331"/>
                    <a:pt x="626" y="1331"/>
                    <a:pt x="626" y="1331"/>
                  </a:cubicBezTo>
                  <a:cubicBezTo>
                    <a:pt x="517" y="1215"/>
                    <a:pt x="517" y="1215"/>
                    <a:pt x="517" y="1215"/>
                  </a:cubicBezTo>
                  <a:cubicBezTo>
                    <a:pt x="376" y="1347"/>
                    <a:pt x="376" y="1347"/>
                    <a:pt x="376" y="1347"/>
                  </a:cubicBezTo>
                  <a:cubicBezTo>
                    <a:pt x="240" y="1234"/>
                    <a:pt x="240" y="1234"/>
                    <a:pt x="240" y="1234"/>
                  </a:cubicBezTo>
                  <a:cubicBezTo>
                    <a:pt x="249" y="1185"/>
                    <a:pt x="249" y="1185"/>
                    <a:pt x="249" y="1185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2" name="Freeform 40"/>
            <p:cNvSpPr>
              <a:spLocks/>
            </p:cNvSpPr>
            <p:nvPr/>
          </p:nvSpPr>
          <p:spPr bwMode="auto">
            <a:xfrm>
              <a:off x="4660859" y="3660363"/>
              <a:ext cx="406739" cy="454949"/>
            </a:xfrm>
            <a:custGeom>
              <a:avLst/>
              <a:gdLst>
                <a:gd name="T0" fmla="*/ 103 w 1111"/>
                <a:gd name="T1" fmla="*/ 1155 h 1396"/>
                <a:gd name="T2" fmla="*/ 201 w 1111"/>
                <a:gd name="T3" fmla="*/ 1187 h 1396"/>
                <a:gd name="T4" fmla="*/ 224 w 1111"/>
                <a:gd name="T5" fmla="*/ 1327 h 1396"/>
                <a:gd name="T6" fmla="*/ 738 w 1111"/>
                <a:gd name="T7" fmla="*/ 1342 h 1396"/>
                <a:gd name="T8" fmla="*/ 777 w 1111"/>
                <a:gd name="T9" fmla="*/ 1367 h 1396"/>
                <a:gd name="T10" fmla="*/ 1006 w 1111"/>
                <a:gd name="T11" fmla="*/ 1396 h 1396"/>
                <a:gd name="T12" fmla="*/ 986 w 1111"/>
                <a:gd name="T13" fmla="*/ 1352 h 1396"/>
                <a:gd name="T14" fmla="*/ 944 w 1111"/>
                <a:gd name="T15" fmla="*/ 1337 h 1396"/>
                <a:gd name="T16" fmla="*/ 952 w 1111"/>
                <a:gd name="T17" fmla="*/ 1263 h 1396"/>
                <a:gd name="T18" fmla="*/ 991 w 1111"/>
                <a:gd name="T19" fmla="*/ 1202 h 1396"/>
                <a:gd name="T20" fmla="*/ 952 w 1111"/>
                <a:gd name="T21" fmla="*/ 1118 h 1396"/>
                <a:gd name="T22" fmla="*/ 974 w 1111"/>
                <a:gd name="T23" fmla="*/ 990 h 1396"/>
                <a:gd name="T24" fmla="*/ 875 w 1111"/>
                <a:gd name="T25" fmla="*/ 894 h 1396"/>
                <a:gd name="T26" fmla="*/ 649 w 1111"/>
                <a:gd name="T27" fmla="*/ 774 h 1396"/>
                <a:gd name="T28" fmla="*/ 745 w 1111"/>
                <a:gd name="T29" fmla="*/ 734 h 1396"/>
                <a:gd name="T30" fmla="*/ 834 w 1111"/>
                <a:gd name="T31" fmla="*/ 714 h 1396"/>
                <a:gd name="T32" fmla="*/ 958 w 1111"/>
                <a:gd name="T33" fmla="*/ 623 h 1396"/>
                <a:gd name="T34" fmla="*/ 946 w 1111"/>
                <a:gd name="T35" fmla="*/ 581 h 1396"/>
                <a:gd name="T36" fmla="*/ 897 w 1111"/>
                <a:gd name="T37" fmla="*/ 541 h 1396"/>
                <a:gd name="T38" fmla="*/ 792 w 1111"/>
                <a:gd name="T39" fmla="*/ 524 h 1396"/>
                <a:gd name="T40" fmla="*/ 729 w 1111"/>
                <a:gd name="T41" fmla="*/ 415 h 1396"/>
                <a:gd name="T42" fmla="*/ 806 w 1111"/>
                <a:gd name="T43" fmla="*/ 426 h 1396"/>
                <a:gd name="T44" fmla="*/ 935 w 1111"/>
                <a:gd name="T45" fmla="*/ 444 h 1396"/>
                <a:gd name="T46" fmla="*/ 1063 w 1111"/>
                <a:gd name="T47" fmla="*/ 443 h 1396"/>
                <a:gd name="T48" fmla="*/ 1026 w 1111"/>
                <a:gd name="T49" fmla="*/ 394 h 1396"/>
                <a:gd name="T50" fmla="*/ 973 w 1111"/>
                <a:gd name="T51" fmla="*/ 322 h 1396"/>
                <a:gd name="T52" fmla="*/ 1060 w 1111"/>
                <a:gd name="T53" fmla="*/ 269 h 1396"/>
                <a:gd name="T54" fmla="*/ 1003 w 1111"/>
                <a:gd name="T55" fmla="*/ 244 h 1396"/>
                <a:gd name="T56" fmla="*/ 918 w 1111"/>
                <a:gd name="T57" fmla="*/ 219 h 1396"/>
                <a:gd name="T58" fmla="*/ 874 w 1111"/>
                <a:gd name="T59" fmla="*/ 141 h 1396"/>
                <a:gd name="T60" fmla="*/ 708 w 1111"/>
                <a:gd name="T61" fmla="*/ 149 h 1396"/>
                <a:gd name="T62" fmla="*/ 700 w 1111"/>
                <a:gd name="T63" fmla="*/ 63 h 1396"/>
                <a:gd name="T64" fmla="*/ 652 w 1111"/>
                <a:gd name="T65" fmla="*/ 0 h 1396"/>
                <a:gd name="T66" fmla="*/ 587 w 1111"/>
                <a:gd name="T67" fmla="*/ 55 h 1396"/>
                <a:gd name="T68" fmla="*/ 524 w 1111"/>
                <a:gd name="T69" fmla="*/ 131 h 1396"/>
                <a:gd name="T70" fmla="*/ 391 w 1111"/>
                <a:gd name="T71" fmla="*/ 118 h 1396"/>
                <a:gd name="T72" fmla="*/ 355 w 1111"/>
                <a:gd name="T73" fmla="*/ 169 h 1396"/>
                <a:gd name="T74" fmla="*/ 274 w 1111"/>
                <a:gd name="T75" fmla="*/ 213 h 1396"/>
                <a:gd name="T76" fmla="*/ 217 w 1111"/>
                <a:gd name="T77" fmla="*/ 328 h 1396"/>
                <a:gd name="T78" fmla="*/ 174 w 1111"/>
                <a:gd name="T79" fmla="*/ 397 h 1396"/>
                <a:gd name="T80" fmla="*/ 0 w 1111"/>
                <a:gd name="T81" fmla="*/ 404 h 1396"/>
                <a:gd name="T82" fmla="*/ 56 w 1111"/>
                <a:gd name="T83" fmla="*/ 597 h 1396"/>
                <a:gd name="T84" fmla="*/ 178 w 1111"/>
                <a:gd name="T85" fmla="*/ 589 h 1396"/>
                <a:gd name="T86" fmla="*/ 217 w 1111"/>
                <a:gd name="T87" fmla="*/ 666 h 1396"/>
                <a:gd name="T88" fmla="*/ 215 w 1111"/>
                <a:gd name="T89" fmla="*/ 759 h 1396"/>
                <a:gd name="T90" fmla="*/ 294 w 1111"/>
                <a:gd name="T91" fmla="*/ 752 h 1396"/>
                <a:gd name="T92" fmla="*/ 361 w 1111"/>
                <a:gd name="T93" fmla="*/ 722 h 1396"/>
                <a:gd name="T94" fmla="*/ 333 w 1111"/>
                <a:gd name="T95" fmla="*/ 807 h 1396"/>
                <a:gd name="T96" fmla="*/ 288 w 1111"/>
                <a:gd name="T97" fmla="*/ 904 h 1396"/>
                <a:gd name="T98" fmla="*/ 192 w 1111"/>
                <a:gd name="T99" fmla="*/ 936 h 1396"/>
                <a:gd name="T100" fmla="*/ 174 w 1111"/>
                <a:gd name="T101" fmla="*/ 1007 h 1396"/>
                <a:gd name="T102" fmla="*/ 108 w 1111"/>
                <a:gd name="T103" fmla="*/ 1096 h 1396"/>
                <a:gd name="T104" fmla="*/ 103 w 1111"/>
                <a:gd name="T105" fmla="*/ 1155 h 13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111" h="1396">
                  <a:moveTo>
                    <a:pt x="103" y="1155"/>
                  </a:moveTo>
                  <a:cubicBezTo>
                    <a:pt x="201" y="1187"/>
                    <a:pt x="201" y="1187"/>
                    <a:pt x="201" y="1187"/>
                  </a:cubicBezTo>
                  <a:cubicBezTo>
                    <a:pt x="224" y="1327"/>
                    <a:pt x="224" y="1327"/>
                    <a:pt x="224" y="1327"/>
                  </a:cubicBezTo>
                  <a:cubicBezTo>
                    <a:pt x="738" y="1342"/>
                    <a:pt x="738" y="1342"/>
                    <a:pt x="738" y="1342"/>
                  </a:cubicBezTo>
                  <a:cubicBezTo>
                    <a:pt x="777" y="1367"/>
                    <a:pt x="777" y="1367"/>
                    <a:pt x="777" y="1367"/>
                  </a:cubicBezTo>
                  <a:cubicBezTo>
                    <a:pt x="1006" y="1396"/>
                    <a:pt x="1006" y="1396"/>
                    <a:pt x="1006" y="1396"/>
                  </a:cubicBezTo>
                  <a:cubicBezTo>
                    <a:pt x="986" y="1352"/>
                    <a:pt x="986" y="1352"/>
                    <a:pt x="986" y="1352"/>
                  </a:cubicBezTo>
                  <a:cubicBezTo>
                    <a:pt x="944" y="1337"/>
                    <a:pt x="944" y="1337"/>
                    <a:pt x="944" y="1337"/>
                  </a:cubicBezTo>
                  <a:cubicBezTo>
                    <a:pt x="952" y="1263"/>
                    <a:pt x="952" y="1263"/>
                    <a:pt x="952" y="1263"/>
                  </a:cubicBezTo>
                  <a:cubicBezTo>
                    <a:pt x="991" y="1202"/>
                    <a:pt x="991" y="1202"/>
                    <a:pt x="991" y="1202"/>
                  </a:cubicBezTo>
                  <a:cubicBezTo>
                    <a:pt x="952" y="1118"/>
                    <a:pt x="952" y="1118"/>
                    <a:pt x="952" y="1118"/>
                  </a:cubicBezTo>
                  <a:cubicBezTo>
                    <a:pt x="974" y="990"/>
                    <a:pt x="974" y="990"/>
                    <a:pt x="974" y="990"/>
                  </a:cubicBezTo>
                  <a:cubicBezTo>
                    <a:pt x="875" y="894"/>
                    <a:pt x="875" y="894"/>
                    <a:pt x="875" y="894"/>
                  </a:cubicBezTo>
                  <a:cubicBezTo>
                    <a:pt x="649" y="774"/>
                    <a:pt x="649" y="774"/>
                    <a:pt x="649" y="774"/>
                  </a:cubicBezTo>
                  <a:cubicBezTo>
                    <a:pt x="745" y="734"/>
                    <a:pt x="745" y="734"/>
                    <a:pt x="745" y="734"/>
                  </a:cubicBezTo>
                  <a:cubicBezTo>
                    <a:pt x="834" y="714"/>
                    <a:pt x="834" y="714"/>
                    <a:pt x="834" y="714"/>
                  </a:cubicBezTo>
                  <a:cubicBezTo>
                    <a:pt x="1111" y="707"/>
                    <a:pt x="932" y="643"/>
                    <a:pt x="958" y="623"/>
                  </a:cubicBezTo>
                  <a:cubicBezTo>
                    <a:pt x="946" y="581"/>
                    <a:pt x="946" y="581"/>
                    <a:pt x="946" y="581"/>
                  </a:cubicBezTo>
                  <a:cubicBezTo>
                    <a:pt x="897" y="541"/>
                    <a:pt x="897" y="541"/>
                    <a:pt x="897" y="541"/>
                  </a:cubicBezTo>
                  <a:cubicBezTo>
                    <a:pt x="792" y="524"/>
                    <a:pt x="792" y="524"/>
                    <a:pt x="792" y="524"/>
                  </a:cubicBezTo>
                  <a:cubicBezTo>
                    <a:pt x="729" y="415"/>
                    <a:pt x="729" y="415"/>
                    <a:pt x="729" y="415"/>
                  </a:cubicBezTo>
                  <a:cubicBezTo>
                    <a:pt x="806" y="426"/>
                    <a:pt x="806" y="426"/>
                    <a:pt x="806" y="426"/>
                  </a:cubicBezTo>
                  <a:cubicBezTo>
                    <a:pt x="935" y="444"/>
                    <a:pt x="935" y="444"/>
                    <a:pt x="935" y="444"/>
                  </a:cubicBezTo>
                  <a:cubicBezTo>
                    <a:pt x="1063" y="443"/>
                    <a:pt x="1063" y="443"/>
                    <a:pt x="1063" y="443"/>
                  </a:cubicBezTo>
                  <a:cubicBezTo>
                    <a:pt x="1026" y="394"/>
                    <a:pt x="1026" y="394"/>
                    <a:pt x="1026" y="394"/>
                  </a:cubicBezTo>
                  <a:cubicBezTo>
                    <a:pt x="973" y="322"/>
                    <a:pt x="973" y="322"/>
                    <a:pt x="973" y="322"/>
                  </a:cubicBezTo>
                  <a:cubicBezTo>
                    <a:pt x="1060" y="269"/>
                    <a:pt x="1060" y="269"/>
                    <a:pt x="1060" y="269"/>
                  </a:cubicBezTo>
                  <a:cubicBezTo>
                    <a:pt x="1003" y="244"/>
                    <a:pt x="1003" y="244"/>
                    <a:pt x="1003" y="244"/>
                  </a:cubicBezTo>
                  <a:cubicBezTo>
                    <a:pt x="918" y="219"/>
                    <a:pt x="918" y="219"/>
                    <a:pt x="918" y="219"/>
                  </a:cubicBezTo>
                  <a:cubicBezTo>
                    <a:pt x="874" y="141"/>
                    <a:pt x="874" y="141"/>
                    <a:pt x="874" y="141"/>
                  </a:cubicBezTo>
                  <a:cubicBezTo>
                    <a:pt x="708" y="149"/>
                    <a:pt x="708" y="149"/>
                    <a:pt x="708" y="149"/>
                  </a:cubicBezTo>
                  <a:cubicBezTo>
                    <a:pt x="700" y="63"/>
                    <a:pt x="700" y="63"/>
                    <a:pt x="700" y="63"/>
                  </a:cubicBezTo>
                  <a:cubicBezTo>
                    <a:pt x="652" y="0"/>
                    <a:pt x="652" y="0"/>
                    <a:pt x="652" y="0"/>
                  </a:cubicBezTo>
                  <a:cubicBezTo>
                    <a:pt x="587" y="55"/>
                    <a:pt x="587" y="55"/>
                    <a:pt x="587" y="55"/>
                  </a:cubicBezTo>
                  <a:cubicBezTo>
                    <a:pt x="524" y="131"/>
                    <a:pt x="524" y="131"/>
                    <a:pt x="524" y="131"/>
                  </a:cubicBezTo>
                  <a:cubicBezTo>
                    <a:pt x="391" y="118"/>
                    <a:pt x="391" y="118"/>
                    <a:pt x="391" y="118"/>
                  </a:cubicBezTo>
                  <a:cubicBezTo>
                    <a:pt x="355" y="169"/>
                    <a:pt x="355" y="169"/>
                    <a:pt x="355" y="169"/>
                  </a:cubicBezTo>
                  <a:cubicBezTo>
                    <a:pt x="274" y="213"/>
                    <a:pt x="274" y="213"/>
                    <a:pt x="274" y="213"/>
                  </a:cubicBezTo>
                  <a:cubicBezTo>
                    <a:pt x="217" y="328"/>
                    <a:pt x="217" y="328"/>
                    <a:pt x="217" y="328"/>
                  </a:cubicBezTo>
                  <a:cubicBezTo>
                    <a:pt x="174" y="397"/>
                    <a:pt x="174" y="397"/>
                    <a:pt x="174" y="397"/>
                  </a:cubicBezTo>
                  <a:cubicBezTo>
                    <a:pt x="0" y="404"/>
                    <a:pt x="0" y="404"/>
                    <a:pt x="0" y="404"/>
                  </a:cubicBezTo>
                  <a:cubicBezTo>
                    <a:pt x="56" y="597"/>
                    <a:pt x="56" y="597"/>
                    <a:pt x="56" y="597"/>
                  </a:cubicBezTo>
                  <a:cubicBezTo>
                    <a:pt x="178" y="589"/>
                    <a:pt x="178" y="589"/>
                    <a:pt x="178" y="589"/>
                  </a:cubicBezTo>
                  <a:cubicBezTo>
                    <a:pt x="217" y="666"/>
                    <a:pt x="217" y="666"/>
                    <a:pt x="217" y="666"/>
                  </a:cubicBezTo>
                  <a:cubicBezTo>
                    <a:pt x="215" y="759"/>
                    <a:pt x="215" y="759"/>
                    <a:pt x="215" y="759"/>
                  </a:cubicBezTo>
                  <a:cubicBezTo>
                    <a:pt x="294" y="752"/>
                    <a:pt x="294" y="752"/>
                    <a:pt x="294" y="752"/>
                  </a:cubicBezTo>
                  <a:cubicBezTo>
                    <a:pt x="361" y="722"/>
                    <a:pt x="361" y="722"/>
                    <a:pt x="361" y="722"/>
                  </a:cubicBezTo>
                  <a:cubicBezTo>
                    <a:pt x="361" y="722"/>
                    <a:pt x="348" y="763"/>
                    <a:pt x="333" y="807"/>
                  </a:cubicBezTo>
                  <a:cubicBezTo>
                    <a:pt x="317" y="850"/>
                    <a:pt x="299" y="896"/>
                    <a:pt x="288" y="904"/>
                  </a:cubicBezTo>
                  <a:cubicBezTo>
                    <a:pt x="276" y="913"/>
                    <a:pt x="199" y="941"/>
                    <a:pt x="192" y="936"/>
                  </a:cubicBezTo>
                  <a:cubicBezTo>
                    <a:pt x="184" y="931"/>
                    <a:pt x="174" y="1007"/>
                    <a:pt x="174" y="1007"/>
                  </a:cubicBezTo>
                  <a:cubicBezTo>
                    <a:pt x="108" y="1096"/>
                    <a:pt x="108" y="1096"/>
                    <a:pt x="108" y="1096"/>
                  </a:cubicBezTo>
                  <a:lnTo>
                    <a:pt x="103" y="1155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3" name="Freeform 42"/>
            <p:cNvSpPr>
              <a:spLocks/>
            </p:cNvSpPr>
            <p:nvPr/>
          </p:nvSpPr>
          <p:spPr bwMode="auto">
            <a:xfrm>
              <a:off x="2626067" y="4569280"/>
              <a:ext cx="427627" cy="214265"/>
            </a:xfrm>
            <a:custGeom>
              <a:avLst/>
              <a:gdLst>
                <a:gd name="T0" fmla="*/ 298 w 389"/>
                <a:gd name="T1" fmla="*/ 45 h 219"/>
                <a:gd name="T2" fmla="*/ 246 w 389"/>
                <a:gd name="T3" fmla="*/ 30 h 219"/>
                <a:gd name="T4" fmla="*/ 240 w 389"/>
                <a:gd name="T5" fmla="*/ 47 h 219"/>
                <a:gd name="T6" fmla="*/ 114 w 389"/>
                <a:gd name="T7" fmla="*/ 9 h 219"/>
                <a:gd name="T8" fmla="*/ 96 w 389"/>
                <a:gd name="T9" fmla="*/ 18 h 219"/>
                <a:gd name="T10" fmla="*/ 81 w 389"/>
                <a:gd name="T11" fmla="*/ 11 h 219"/>
                <a:gd name="T12" fmla="*/ 66 w 389"/>
                <a:gd name="T13" fmla="*/ 0 h 219"/>
                <a:gd name="T14" fmla="*/ 55 w 389"/>
                <a:gd name="T15" fmla="*/ 24 h 219"/>
                <a:gd name="T16" fmla="*/ 28 w 389"/>
                <a:gd name="T17" fmla="*/ 34 h 219"/>
                <a:gd name="T18" fmla="*/ 22 w 389"/>
                <a:gd name="T19" fmla="*/ 55 h 219"/>
                <a:gd name="T20" fmla="*/ 28 w 389"/>
                <a:gd name="T21" fmla="*/ 66 h 219"/>
                <a:gd name="T22" fmla="*/ 42 w 389"/>
                <a:gd name="T23" fmla="*/ 56 h 219"/>
                <a:gd name="T24" fmla="*/ 38 w 389"/>
                <a:gd name="T25" fmla="*/ 77 h 219"/>
                <a:gd name="T26" fmla="*/ 48 w 389"/>
                <a:gd name="T27" fmla="*/ 76 h 219"/>
                <a:gd name="T28" fmla="*/ 40 w 389"/>
                <a:gd name="T29" fmla="*/ 102 h 219"/>
                <a:gd name="T30" fmla="*/ 41 w 389"/>
                <a:gd name="T31" fmla="*/ 109 h 219"/>
                <a:gd name="T32" fmla="*/ 28 w 389"/>
                <a:gd name="T33" fmla="*/ 118 h 219"/>
                <a:gd name="T34" fmla="*/ 29 w 389"/>
                <a:gd name="T35" fmla="*/ 164 h 219"/>
                <a:gd name="T36" fmla="*/ 0 w 389"/>
                <a:gd name="T37" fmla="*/ 169 h 219"/>
                <a:gd name="T38" fmla="*/ 12 w 389"/>
                <a:gd name="T39" fmla="*/ 196 h 219"/>
                <a:gd name="T40" fmla="*/ 24 w 389"/>
                <a:gd name="T41" fmla="*/ 190 h 219"/>
                <a:gd name="T42" fmla="*/ 34 w 389"/>
                <a:gd name="T43" fmla="*/ 213 h 219"/>
                <a:gd name="T44" fmla="*/ 49 w 389"/>
                <a:gd name="T45" fmla="*/ 214 h 219"/>
                <a:gd name="T46" fmla="*/ 83 w 389"/>
                <a:gd name="T47" fmla="*/ 191 h 219"/>
                <a:gd name="T48" fmla="*/ 106 w 389"/>
                <a:gd name="T49" fmla="*/ 190 h 219"/>
                <a:gd name="T50" fmla="*/ 105 w 389"/>
                <a:gd name="T51" fmla="*/ 207 h 219"/>
                <a:gd name="T52" fmla="*/ 159 w 389"/>
                <a:gd name="T53" fmla="*/ 217 h 219"/>
                <a:gd name="T54" fmla="*/ 164 w 389"/>
                <a:gd name="T55" fmla="*/ 212 h 219"/>
                <a:gd name="T56" fmla="*/ 193 w 389"/>
                <a:gd name="T57" fmla="*/ 219 h 219"/>
                <a:gd name="T58" fmla="*/ 209 w 389"/>
                <a:gd name="T59" fmla="*/ 160 h 219"/>
                <a:gd name="T60" fmla="*/ 294 w 389"/>
                <a:gd name="T61" fmla="*/ 179 h 219"/>
                <a:gd name="T62" fmla="*/ 350 w 389"/>
                <a:gd name="T63" fmla="*/ 209 h 219"/>
                <a:gd name="T64" fmla="*/ 389 w 389"/>
                <a:gd name="T65" fmla="*/ 147 h 219"/>
                <a:gd name="T66" fmla="*/ 357 w 389"/>
                <a:gd name="T67" fmla="*/ 120 h 219"/>
                <a:gd name="T68" fmla="*/ 329 w 389"/>
                <a:gd name="T69" fmla="*/ 30 h 219"/>
                <a:gd name="T70" fmla="*/ 299 w 389"/>
                <a:gd name="T71" fmla="*/ 31 h 219"/>
                <a:gd name="T72" fmla="*/ 298 w 389"/>
                <a:gd name="T73" fmla="*/ 45 h 219"/>
                <a:gd name="T74" fmla="*/ 298 w 389"/>
                <a:gd name="T75" fmla="*/ 45 h 2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389" h="219">
                  <a:moveTo>
                    <a:pt x="298" y="45"/>
                  </a:moveTo>
                  <a:lnTo>
                    <a:pt x="246" y="30"/>
                  </a:lnTo>
                  <a:lnTo>
                    <a:pt x="240" y="47"/>
                  </a:lnTo>
                  <a:lnTo>
                    <a:pt x="114" y="9"/>
                  </a:lnTo>
                  <a:lnTo>
                    <a:pt x="96" y="18"/>
                  </a:lnTo>
                  <a:lnTo>
                    <a:pt x="81" y="11"/>
                  </a:lnTo>
                  <a:lnTo>
                    <a:pt x="66" y="0"/>
                  </a:lnTo>
                  <a:lnTo>
                    <a:pt x="55" y="24"/>
                  </a:lnTo>
                  <a:lnTo>
                    <a:pt x="28" y="34"/>
                  </a:lnTo>
                  <a:lnTo>
                    <a:pt x="22" y="55"/>
                  </a:lnTo>
                  <a:lnTo>
                    <a:pt x="28" y="66"/>
                  </a:lnTo>
                  <a:lnTo>
                    <a:pt x="42" y="56"/>
                  </a:lnTo>
                  <a:lnTo>
                    <a:pt x="38" y="77"/>
                  </a:lnTo>
                  <a:lnTo>
                    <a:pt x="48" y="76"/>
                  </a:lnTo>
                  <a:lnTo>
                    <a:pt x="40" y="102"/>
                  </a:lnTo>
                  <a:lnTo>
                    <a:pt x="41" y="109"/>
                  </a:lnTo>
                  <a:lnTo>
                    <a:pt x="28" y="118"/>
                  </a:lnTo>
                  <a:lnTo>
                    <a:pt x="29" y="164"/>
                  </a:lnTo>
                  <a:lnTo>
                    <a:pt x="0" y="169"/>
                  </a:lnTo>
                  <a:lnTo>
                    <a:pt x="12" y="196"/>
                  </a:lnTo>
                  <a:lnTo>
                    <a:pt x="24" y="190"/>
                  </a:lnTo>
                  <a:lnTo>
                    <a:pt x="34" y="213"/>
                  </a:lnTo>
                  <a:lnTo>
                    <a:pt x="49" y="214"/>
                  </a:lnTo>
                  <a:lnTo>
                    <a:pt x="83" y="191"/>
                  </a:lnTo>
                  <a:lnTo>
                    <a:pt x="106" y="190"/>
                  </a:lnTo>
                  <a:lnTo>
                    <a:pt x="105" y="207"/>
                  </a:lnTo>
                  <a:lnTo>
                    <a:pt x="159" y="217"/>
                  </a:lnTo>
                  <a:lnTo>
                    <a:pt x="164" y="212"/>
                  </a:lnTo>
                  <a:lnTo>
                    <a:pt x="193" y="219"/>
                  </a:lnTo>
                  <a:lnTo>
                    <a:pt x="209" y="160"/>
                  </a:lnTo>
                  <a:lnTo>
                    <a:pt x="294" y="179"/>
                  </a:lnTo>
                  <a:lnTo>
                    <a:pt x="350" y="209"/>
                  </a:lnTo>
                  <a:lnTo>
                    <a:pt x="389" y="147"/>
                  </a:lnTo>
                  <a:lnTo>
                    <a:pt x="357" y="120"/>
                  </a:lnTo>
                  <a:lnTo>
                    <a:pt x="329" y="30"/>
                  </a:lnTo>
                  <a:lnTo>
                    <a:pt x="299" y="31"/>
                  </a:lnTo>
                  <a:lnTo>
                    <a:pt x="298" y="45"/>
                  </a:lnTo>
                  <a:lnTo>
                    <a:pt x="298" y="45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4" name="Freeform 43"/>
            <p:cNvSpPr>
              <a:spLocks/>
            </p:cNvSpPr>
            <p:nvPr/>
          </p:nvSpPr>
          <p:spPr bwMode="auto">
            <a:xfrm>
              <a:off x="2122589" y="4340337"/>
              <a:ext cx="599115" cy="651603"/>
            </a:xfrm>
            <a:custGeom>
              <a:avLst/>
              <a:gdLst>
                <a:gd name="T0" fmla="*/ 1476 w 1635"/>
                <a:gd name="T1" fmla="*/ 1811 h 2000"/>
                <a:gd name="T2" fmla="*/ 1457 w 1635"/>
                <a:gd name="T3" fmla="*/ 1977 h 2000"/>
                <a:gd name="T4" fmla="*/ 1106 w 1635"/>
                <a:gd name="T5" fmla="*/ 1875 h 2000"/>
                <a:gd name="T6" fmla="*/ 730 w 1635"/>
                <a:gd name="T7" fmla="*/ 1750 h 2000"/>
                <a:gd name="T8" fmla="*/ 607 w 1635"/>
                <a:gd name="T9" fmla="*/ 1722 h 2000"/>
                <a:gd name="T10" fmla="*/ 289 w 1635"/>
                <a:gd name="T11" fmla="*/ 1543 h 2000"/>
                <a:gd name="T12" fmla="*/ 0 w 1635"/>
                <a:gd name="T13" fmla="*/ 1198 h 2000"/>
                <a:gd name="T14" fmla="*/ 52 w 1635"/>
                <a:gd name="T15" fmla="*/ 1150 h 2000"/>
                <a:gd name="T16" fmla="*/ 476 w 1635"/>
                <a:gd name="T17" fmla="*/ 604 h 2000"/>
                <a:gd name="T18" fmla="*/ 640 w 1635"/>
                <a:gd name="T19" fmla="*/ 710 h 2000"/>
                <a:gd name="T20" fmla="*/ 631 w 1635"/>
                <a:gd name="T21" fmla="*/ 595 h 2000"/>
                <a:gd name="T22" fmla="*/ 743 w 1635"/>
                <a:gd name="T23" fmla="*/ 513 h 2000"/>
                <a:gd name="T24" fmla="*/ 896 w 1635"/>
                <a:gd name="T25" fmla="*/ 515 h 2000"/>
                <a:gd name="T26" fmla="*/ 1066 w 1635"/>
                <a:gd name="T27" fmla="*/ 230 h 2000"/>
                <a:gd name="T28" fmla="*/ 1096 w 1635"/>
                <a:gd name="T29" fmla="*/ 110 h 2000"/>
                <a:gd name="T30" fmla="*/ 1214 w 1635"/>
                <a:gd name="T31" fmla="*/ 148 h 2000"/>
                <a:gd name="T32" fmla="*/ 1331 w 1635"/>
                <a:gd name="T33" fmla="*/ 57 h 2000"/>
                <a:gd name="T34" fmla="*/ 1531 w 1635"/>
                <a:gd name="T35" fmla="*/ 122 h 2000"/>
                <a:gd name="T36" fmla="*/ 1565 w 1635"/>
                <a:gd name="T37" fmla="*/ 202 h 2000"/>
                <a:gd name="T38" fmla="*/ 1487 w 1635"/>
                <a:gd name="T39" fmla="*/ 433 h 2000"/>
                <a:gd name="T40" fmla="*/ 1585 w 1635"/>
                <a:gd name="T41" fmla="*/ 518 h 2000"/>
                <a:gd name="T42" fmla="*/ 1578 w 1635"/>
                <a:gd name="T43" fmla="*/ 687 h 2000"/>
                <a:gd name="T44" fmla="*/ 1460 w 1635"/>
                <a:gd name="T45" fmla="*/ 805 h 2000"/>
                <a:gd name="T46" fmla="*/ 1462 w 1635"/>
                <a:gd name="T47" fmla="*/ 892 h 2000"/>
                <a:gd name="T48" fmla="*/ 1491 w 1635"/>
                <a:gd name="T49" fmla="*/ 929 h 2000"/>
                <a:gd name="T50" fmla="*/ 1492 w 1635"/>
                <a:gd name="T51" fmla="*/ 1002 h 2000"/>
                <a:gd name="T52" fmla="*/ 1461 w 1635"/>
                <a:gd name="T53" fmla="*/ 1049 h 2000"/>
                <a:gd name="T54" fmla="*/ 1376 w 1635"/>
                <a:gd name="T55" fmla="*/ 1204 h 2000"/>
                <a:gd name="T56" fmla="*/ 1442 w 1635"/>
                <a:gd name="T57" fmla="*/ 1270 h 2000"/>
                <a:gd name="T58" fmla="*/ 1545 w 1635"/>
                <a:gd name="T59" fmla="*/ 1338 h 2000"/>
                <a:gd name="T60" fmla="*/ 1551 w 1635"/>
                <a:gd name="T61" fmla="*/ 1527 h 2000"/>
                <a:gd name="T62" fmla="*/ 1522 w 1635"/>
                <a:gd name="T63" fmla="*/ 1581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35" h="2000">
                  <a:moveTo>
                    <a:pt x="1502" y="1581"/>
                  </a:moveTo>
                  <a:cubicBezTo>
                    <a:pt x="1476" y="1811"/>
                    <a:pt x="1476" y="1811"/>
                    <a:pt x="1476" y="1811"/>
                  </a:cubicBezTo>
                  <a:cubicBezTo>
                    <a:pt x="1504" y="1862"/>
                    <a:pt x="1504" y="1862"/>
                    <a:pt x="1504" y="1862"/>
                  </a:cubicBezTo>
                  <a:cubicBezTo>
                    <a:pt x="1457" y="1977"/>
                    <a:pt x="1457" y="1977"/>
                    <a:pt x="1457" y="1977"/>
                  </a:cubicBezTo>
                  <a:cubicBezTo>
                    <a:pt x="1388" y="2000"/>
                    <a:pt x="1388" y="2000"/>
                    <a:pt x="1388" y="2000"/>
                  </a:cubicBezTo>
                  <a:cubicBezTo>
                    <a:pt x="1106" y="1875"/>
                    <a:pt x="1106" y="1875"/>
                    <a:pt x="1106" y="1875"/>
                  </a:cubicBezTo>
                  <a:cubicBezTo>
                    <a:pt x="977" y="1837"/>
                    <a:pt x="977" y="1837"/>
                    <a:pt x="977" y="1837"/>
                  </a:cubicBezTo>
                  <a:cubicBezTo>
                    <a:pt x="730" y="1750"/>
                    <a:pt x="730" y="1750"/>
                    <a:pt x="730" y="1750"/>
                  </a:cubicBezTo>
                  <a:cubicBezTo>
                    <a:pt x="659" y="1786"/>
                    <a:pt x="659" y="1786"/>
                    <a:pt x="659" y="1786"/>
                  </a:cubicBezTo>
                  <a:cubicBezTo>
                    <a:pt x="607" y="1722"/>
                    <a:pt x="607" y="1722"/>
                    <a:pt x="607" y="1722"/>
                  </a:cubicBezTo>
                  <a:cubicBezTo>
                    <a:pt x="461" y="1659"/>
                    <a:pt x="461" y="1659"/>
                    <a:pt x="461" y="1659"/>
                  </a:cubicBezTo>
                  <a:cubicBezTo>
                    <a:pt x="289" y="1543"/>
                    <a:pt x="289" y="1543"/>
                    <a:pt x="289" y="1543"/>
                  </a:cubicBezTo>
                  <a:cubicBezTo>
                    <a:pt x="57" y="1198"/>
                    <a:pt x="57" y="1198"/>
                    <a:pt x="57" y="1198"/>
                  </a:cubicBezTo>
                  <a:cubicBezTo>
                    <a:pt x="0" y="1198"/>
                    <a:pt x="0" y="1198"/>
                    <a:pt x="0" y="1198"/>
                  </a:cubicBezTo>
                  <a:cubicBezTo>
                    <a:pt x="3" y="1191"/>
                    <a:pt x="3" y="1191"/>
                    <a:pt x="3" y="1191"/>
                  </a:cubicBezTo>
                  <a:cubicBezTo>
                    <a:pt x="52" y="1150"/>
                    <a:pt x="52" y="1150"/>
                    <a:pt x="52" y="1150"/>
                  </a:cubicBezTo>
                  <a:cubicBezTo>
                    <a:pt x="249" y="964"/>
                    <a:pt x="249" y="964"/>
                    <a:pt x="249" y="964"/>
                  </a:cubicBezTo>
                  <a:cubicBezTo>
                    <a:pt x="476" y="604"/>
                    <a:pt x="476" y="604"/>
                    <a:pt x="476" y="604"/>
                  </a:cubicBezTo>
                  <a:cubicBezTo>
                    <a:pt x="476" y="604"/>
                    <a:pt x="552" y="684"/>
                    <a:pt x="579" y="697"/>
                  </a:cubicBezTo>
                  <a:cubicBezTo>
                    <a:pt x="606" y="711"/>
                    <a:pt x="624" y="716"/>
                    <a:pt x="640" y="710"/>
                  </a:cubicBezTo>
                  <a:cubicBezTo>
                    <a:pt x="656" y="703"/>
                    <a:pt x="669" y="686"/>
                    <a:pt x="670" y="666"/>
                  </a:cubicBezTo>
                  <a:cubicBezTo>
                    <a:pt x="671" y="646"/>
                    <a:pt x="631" y="619"/>
                    <a:pt x="631" y="595"/>
                  </a:cubicBezTo>
                  <a:cubicBezTo>
                    <a:pt x="631" y="571"/>
                    <a:pt x="651" y="539"/>
                    <a:pt x="670" y="525"/>
                  </a:cubicBezTo>
                  <a:cubicBezTo>
                    <a:pt x="688" y="512"/>
                    <a:pt x="722" y="509"/>
                    <a:pt x="743" y="513"/>
                  </a:cubicBezTo>
                  <a:cubicBezTo>
                    <a:pt x="763" y="517"/>
                    <a:pt x="775" y="545"/>
                    <a:pt x="800" y="548"/>
                  </a:cubicBezTo>
                  <a:cubicBezTo>
                    <a:pt x="825" y="551"/>
                    <a:pt x="896" y="515"/>
                    <a:pt x="896" y="515"/>
                  </a:cubicBezTo>
                  <a:cubicBezTo>
                    <a:pt x="953" y="358"/>
                    <a:pt x="953" y="358"/>
                    <a:pt x="953" y="358"/>
                  </a:cubicBezTo>
                  <a:cubicBezTo>
                    <a:pt x="1066" y="230"/>
                    <a:pt x="1066" y="230"/>
                    <a:pt x="1066" y="230"/>
                  </a:cubicBezTo>
                  <a:cubicBezTo>
                    <a:pt x="1066" y="230"/>
                    <a:pt x="1060" y="205"/>
                    <a:pt x="1063" y="186"/>
                  </a:cubicBezTo>
                  <a:cubicBezTo>
                    <a:pt x="1066" y="167"/>
                    <a:pt x="1077" y="120"/>
                    <a:pt x="1096" y="110"/>
                  </a:cubicBezTo>
                  <a:cubicBezTo>
                    <a:pt x="1115" y="99"/>
                    <a:pt x="1155" y="120"/>
                    <a:pt x="1155" y="120"/>
                  </a:cubicBezTo>
                  <a:cubicBezTo>
                    <a:pt x="1155" y="120"/>
                    <a:pt x="1181" y="156"/>
                    <a:pt x="1214" y="148"/>
                  </a:cubicBezTo>
                  <a:cubicBezTo>
                    <a:pt x="1247" y="140"/>
                    <a:pt x="1277" y="0"/>
                    <a:pt x="1277" y="0"/>
                  </a:cubicBezTo>
                  <a:cubicBezTo>
                    <a:pt x="1331" y="57"/>
                    <a:pt x="1331" y="57"/>
                    <a:pt x="1331" y="57"/>
                  </a:cubicBezTo>
                  <a:cubicBezTo>
                    <a:pt x="1331" y="57"/>
                    <a:pt x="1350" y="35"/>
                    <a:pt x="1407" y="57"/>
                  </a:cubicBezTo>
                  <a:cubicBezTo>
                    <a:pt x="1464" y="80"/>
                    <a:pt x="1531" y="122"/>
                    <a:pt x="1531" y="122"/>
                  </a:cubicBezTo>
                  <a:cubicBezTo>
                    <a:pt x="1510" y="183"/>
                    <a:pt x="1510" y="183"/>
                    <a:pt x="1510" y="183"/>
                  </a:cubicBezTo>
                  <a:cubicBezTo>
                    <a:pt x="1510" y="183"/>
                    <a:pt x="1562" y="186"/>
                    <a:pt x="1565" y="202"/>
                  </a:cubicBezTo>
                  <a:cubicBezTo>
                    <a:pt x="1569" y="217"/>
                    <a:pt x="1558" y="341"/>
                    <a:pt x="1558" y="341"/>
                  </a:cubicBezTo>
                  <a:cubicBezTo>
                    <a:pt x="1487" y="433"/>
                    <a:pt x="1487" y="433"/>
                    <a:pt x="1487" y="433"/>
                  </a:cubicBezTo>
                  <a:cubicBezTo>
                    <a:pt x="1484" y="475"/>
                    <a:pt x="1484" y="475"/>
                    <a:pt x="1484" y="475"/>
                  </a:cubicBezTo>
                  <a:cubicBezTo>
                    <a:pt x="1585" y="518"/>
                    <a:pt x="1585" y="518"/>
                    <a:pt x="1585" y="518"/>
                  </a:cubicBezTo>
                  <a:cubicBezTo>
                    <a:pt x="1635" y="511"/>
                    <a:pt x="1635" y="511"/>
                    <a:pt x="1635" y="511"/>
                  </a:cubicBezTo>
                  <a:cubicBezTo>
                    <a:pt x="1578" y="687"/>
                    <a:pt x="1578" y="687"/>
                    <a:pt x="1578" y="687"/>
                  </a:cubicBezTo>
                  <a:cubicBezTo>
                    <a:pt x="1541" y="774"/>
                    <a:pt x="1541" y="774"/>
                    <a:pt x="1541" y="774"/>
                  </a:cubicBezTo>
                  <a:cubicBezTo>
                    <a:pt x="1460" y="805"/>
                    <a:pt x="1460" y="805"/>
                    <a:pt x="1460" y="805"/>
                  </a:cubicBezTo>
                  <a:cubicBezTo>
                    <a:pt x="1444" y="855"/>
                    <a:pt x="1444" y="855"/>
                    <a:pt x="1444" y="855"/>
                  </a:cubicBezTo>
                  <a:cubicBezTo>
                    <a:pt x="1462" y="892"/>
                    <a:pt x="1462" y="892"/>
                    <a:pt x="1462" y="892"/>
                  </a:cubicBezTo>
                  <a:cubicBezTo>
                    <a:pt x="1505" y="857"/>
                    <a:pt x="1505" y="857"/>
                    <a:pt x="1505" y="857"/>
                  </a:cubicBezTo>
                  <a:cubicBezTo>
                    <a:pt x="1491" y="929"/>
                    <a:pt x="1491" y="929"/>
                    <a:pt x="1491" y="929"/>
                  </a:cubicBezTo>
                  <a:cubicBezTo>
                    <a:pt x="1526" y="928"/>
                    <a:pt x="1526" y="928"/>
                    <a:pt x="1526" y="928"/>
                  </a:cubicBezTo>
                  <a:cubicBezTo>
                    <a:pt x="1492" y="1002"/>
                    <a:pt x="1492" y="1002"/>
                    <a:pt x="1492" y="1002"/>
                  </a:cubicBezTo>
                  <a:cubicBezTo>
                    <a:pt x="1501" y="1026"/>
                    <a:pt x="1501" y="1026"/>
                    <a:pt x="1501" y="1026"/>
                  </a:cubicBezTo>
                  <a:cubicBezTo>
                    <a:pt x="1461" y="1049"/>
                    <a:pt x="1461" y="1049"/>
                    <a:pt x="1461" y="1049"/>
                  </a:cubicBezTo>
                  <a:cubicBezTo>
                    <a:pt x="1456" y="1184"/>
                    <a:pt x="1456" y="1184"/>
                    <a:pt x="1456" y="1184"/>
                  </a:cubicBezTo>
                  <a:cubicBezTo>
                    <a:pt x="1376" y="1204"/>
                    <a:pt x="1376" y="1204"/>
                    <a:pt x="1376" y="1204"/>
                  </a:cubicBezTo>
                  <a:cubicBezTo>
                    <a:pt x="1409" y="1284"/>
                    <a:pt x="1409" y="1284"/>
                    <a:pt x="1409" y="1284"/>
                  </a:cubicBezTo>
                  <a:cubicBezTo>
                    <a:pt x="1442" y="1270"/>
                    <a:pt x="1442" y="1270"/>
                    <a:pt x="1442" y="1270"/>
                  </a:cubicBezTo>
                  <a:cubicBezTo>
                    <a:pt x="1480" y="1332"/>
                    <a:pt x="1480" y="1332"/>
                    <a:pt x="1480" y="1332"/>
                  </a:cubicBezTo>
                  <a:cubicBezTo>
                    <a:pt x="1545" y="1338"/>
                    <a:pt x="1545" y="1338"/>
                    <a:pt x="1545" y="1338"/>
                  </a:cubicBezTo>
                  <a:cubicBezTo>
                    <a:pt x="1494" y="1505"/>
                    <a:pt x="1494" y="1505"/>
                    <a:pt x="1494" y="1505"/>
                  </a:cubicBezTo>
                  <a:cubicBezTo>
                    <a:pt x="1551" y="1527"/>
                    <a:pt x="1551" y="1527"/>
                    <a:pt x="1551" y="1527"/>
                  </a:cubicBezTo>
                  <a:cubicBezTo>
                    <a:pt x="1531" y="1575"/>
                    <a:pt x="1531" y="1575"/>
                    <a:pt x="1531" y="1575"/>
                  </a:cubicBezTo>
                  <a:cubicBezTo>
                    <a:pt x="1522" y="1581"/>
                    <a:pt x="1522" y="1581"/>
                    <a:pt x="1522" y="1581"/>
                  </a:cubicBez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5" name="Freeform 44"/>
            <p:cNvSpPr>
              <a:spLocks/>
            </p:cNvSpPr>
            <p:nvPr/>
          </p:nvSpPr>
          <p:spPr bwMode="auto">
            <a:xfrm>
              <a:off x="2122589" y="4340337"/>
              <a:ext cx="599115" cy="651603"/>
            </a:xfrm>
            <a:custGeom>
              <a:avLst/>
              <a:gdLst>
                <a:gd name="T0" fmla="*/ 1476 w 1635"/>
                <a:gd name="T1" fmla="*/ 1811 h 2000"/>
                <a:gd name="T2" fmla="*/ 1457 w 1635"/>
                <a:gd name="T3" fmla="*/ 1977 h 2000"/>
                <a:gd name="T4" fmla="*/ 1106 w 1635"/>
                <a:gd name="T5" fmla="*/ 1875 h 2000"/>
                <a:gd name="T6" fmla="*/ 730 w 1635"/>
                <a:gd name="T7" fmla="*/ 1750 h 2000"/>
                <a:gd name="T8" fmla="*/ 607 w 1635"/>
                <a:gd name="T9" fmla="*/ 1722 h 2000"/>
                <a:gd name="T10" fmla="*/ 289 w 1635"/>
                <a:gd name="T11" fmla="*/ 1543 h 2000"/>
                <a:gd name="T12" fmla="*/ 0 w 1635"/>
                <a:gd name="T13" fmla="*/ 1198 h 2000"/>
                <a:gd name="T14" fmla="*/ 52 w 1635"/>
                <a:gd name="T15" fmla="*/ 1150 h 2000"/>
                <a:gd name="T16" fmla="*/ 476 w 1635"/>
                <a:gd name="T17" fmla="*/ 604 h 2000"/>
                <a:gd name="T18" fmla="*/ 640 w 1635"/>
                <a:gd name="T19" fmla="*/ 710 h 2000"/>
                <a:gd name="T20" fmla="*/ 631 w 1635"/>
                <a:gd name="T21" fmla="*/ 595 h 2000"/>
                <a:gd name="T22" fmla="*/ 743 w 1635"/>
                <a:gd name="T23" fmla="*/ 513 h 2000"/>
                <a:gd name="T24" fmla="*/ 896 w 1635"/>
                <a:gd name="T25" fmla="*/ 515 h 2000"/>
                <a:gd name="T26" fmla="*/ 1066 w 1635"/>
                <a:gd name="T27" fmla="*/ 230 h 2000"/>
                <a:gd name="T28" fmla="*/ 1096 w 1635"/>
                <a:gd name="T29" fmla="*/ 110 h 2000"/>
                <a:gd name="T30" fmla="*/ 1214 w 1635"/>
                <a:gd name="T31" fmla="*/ 148 h 2000"/>
                <a:gd name="T32" fmla="*/ 1331 w 1635"/>
                <a:gd name="T33" fmla="*/ 57 h 2000"/>
                <a:gd name="T34" fmla="*/ 1531 w 1635"/>
                <a:gd name="T35" fmla="*/ 122 h 2000"/>
                <a:gd name="T36" fmla="*/ 1565 w 1635"/>
                <a:gd name="T37" fmla="*/ 202 h 2000"/>
                <a:gd name="T38" fmla="*/ 1487 w 1635"/>
                <a:gd name="T39" fmla="*/ 433 h 2000"/>
                <a:gd name="T40" fmla="*/ 1585 w 1635"/>
                <a:gd name="T41" fmla="*/ 518 h 2000"/>
                <a:gd name="T42" fmla="*/ 1578 w 1635"/>
                <a:gd name="T43" fmla="*/ 687 h 2000"/>
                <a:gd name="T44" fmla="*/ 1460 w 1635"/>
                <a:gd name="T45" fmla="*/ 805 h 2000"/>
                <a:gd name="T46" fmla="*/ 1462 w 1635"/>
                <a:gd name="T47" fmla="*/ 892 h 2000"/>
                <a:gd name="T48" fmla="*/ 1491 w 1635"/>
                <a:gd name="T49" fmla="*/ 929 h 2000"/>
                <a:gd name="T50" fmla="*/ 1492 w 1635"/>
                <a:gd name="T51" fmla="*/ 1002 h 2000"/>
                <a:gd name="T52" fmla="*/ 1461 w 1635"/>
                <a:gd name="T53" fmla="*/ 1049 h 2000"/>
                <a:gd name="T54" fmla="*/ 1376 w 1635"/>
                <a:gd name="T55" fmla="*/ 1204 h 2000"/>
                <a:gd name="T56" fmla="*/ 1442 w 1635"/>
                <a:gd name="T57" fmla="*/ 1270 h 2000"/>
                <a:gd name="T58" fmla="*/ 1545 w 1635"/>
                <a:gd name="T59" fmla="*/ 1338 h 2000"/>
                <a:gd name="T60" fmla="*/ 1551 w 1635"/>
                <a:gd name="T61" fmla="*/ 1527 h 2000"/>
                <a:gd name="T62" fmla="*/ 1522 w 1635"/>
                <a:gd name="T63" fmla="*/ 1581 h 2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635" h="2000">
                  <a:moveTo>
                    <a:pt x="1502" y="1581"/>
                  </a:moveTo>
                  <a:cubicBezTo>
                    <a:pt x="1476" y="1811"/>
                    <a:pt x="1476" y="1811"/>
                    <a:pt x="1476" y="1811"/>
                  </a:cubicBezTo>
                  <a:cubicBezTo>
                    <a:pt x="1504" y="1862"/>
                    <a:pt x="1504" y="1862"/>
                    <a:pt x="1504" y="1862"/>
                  </a:cubicBezTo>
                  <a:cubicBezTo>
                    <a:pt x="1457" y="1977"/>
                    <a:pt x="1457" y="1977"/>
                    <a:pt x="1457" y="1977"/>
                  </a:cubicBezTo>
                  <a:cubicBezTo>
                    <a:pt x="1388" y="2000"/>
                    <a:pt x="1388" y="2000"/>
                    <a:pt x="1388" y="2000"/>
                  </a:cubicBezTo>
                  <a:cubicBezTo>
                    <a:pt x="1106" y="1875"/>
                    <a:pt x="1106" y="1875"/>
                    <a:pt x="1106" y="1875"/>
                  </a:cubicBezTo>
                  <a:cubicBezTo>
                    <a:pt x="977" y="1837"/>
                    <a:pt x="977" y="1837"/>
                    <a:pt x="977" y="1837"/>
                  </a:cubicBezTo>
                  <a:cubicBezTo>
                    <a:pt x="730" y="1750"/>
                    <a:pt x="730" y="1750"/>
                    <a:pt x="730" y="1750"/>
                  </a:cubicBezTo>
                  <a:cubicBezTo>
                    <a:pt x="659" y="1786"/>
                    <a:pt x="659" y="1786"/>
                    <a:pt x="659" y="1786"/>
                  </a:cubicBezTo>
                  <a:cubicBezTo>
                    <a:pt x="607" y="1722"/>
                    <a:pt x="607" y="1722"/>
                    <a:pt x="607" y="1722"/>
                  </a:cubicBezTo>
                  <a:cubicBezTo>
                    <a:pt x="461" y="1659"/>
                    <a:pt x="461" y="1659"/>
                    <a:pt x="461" y="1659"/>
                  </a:cubicBezTo>
                  <a:cubicBezTo>
                    <a:pt x="289" y="1543"/>
                    <a:pt x="289" y="1543"/>
                    <a:pt x="289" y="1543"/>
                  </a:cubicBezTo>
                  <a:cubicBezTo>
                    <a:pt x="57" y="1198"/>
                    <a:pt x="57" y="1198"/>
                    <a:pt x="57" y="1198"/>
                  </a:cubicBezTo>
                  <a:cubicBezTo>
                    <a:pt x="0" y="1198"/>
                    <a:pt x="0" y="1198"/>
                    <a:pt x="0" y="1198"/>
                  </a:cubicBezTo>
                  <a:cubicBezTo>
                    <a:pt x="3" y="1191"/>
                    <a:pt x="3" y="1191"/>
                    <a:pt x="3" y="1191"/>
                  </a:cubicBezTo>
                  <a:cubicBezTo>
                    <a:pt x="52" y="1150"/>
                    <a:pt x="52" y="1150"/>
                    <a:pt x="52" y="1150"/>
                  </a:cubicBezTo>
                  <a:cubicBezTo>
                    <a:pt x="249" y="964"/>
                    <a:pt x="249" y="964"/>
                    <a:pt x="249" y="964"/>
                  </a:cubicBezTo>
                  <a:cubicBezTo>
                    <a:pt x="476" y="604"/>
                    <a:pt x="476" y="604"/>
                    <a:pt x="476" y="604"/>
                  </a:cubicBezTo>
                  <a:cubicBezTo>
                    <a:pt x="476" y="604"/>
                    <a:pt x="552" y="684"/>
                    <a:pt x="579" y="697"/>
                  </a:cubicBezTo>
                  <a:cubicBezTo>
                    <a:pt x="606" y="711"/>
                    <a:pt x="624" y="716"/>
                    <a:pt x="640" y="710"/>
                  </a:cubicBezTo>
                  <a:cubicBezTo>
                    <a:pt x="656" y="703"/>
                    <a:pt x="669" y="686"/>
                    <a:pt x="670" y="666"/>
                  </a:cubicBezTo>
                  <a:cubicBezTo>
                    <a:pt x="671" y="646"/>
                    <a:pt x="631" y="619"/>
                    <a:pt x="631" y="595"/>
                  </a:cubicBezTo>
                  <a:cubicBezTo>
                    <a:pt x="631" y="571"/>
                    <a:pt x="651" y="539"/>
                    <a:pt x="670" y="525"/>
                  </a:cubicBezTo>
                  <a:cubicBezTo>
                    <a:pt x="688" y="512"/>
                    <a:pt x="722" y="509"/>
                    <a:pt x="743" y="513"/>
                  </a:cubicBezTo>
                  <a:cubicBezTo>
                    <a:pt x="763" y="517"/>
                    <a:pt x="775" y="545"/>
                    <a:pt x="800" y="548"/>
                  </a:cubicBezTo>
                  <a:cubicBezTo>
                    <a:pt x="825" y="551"/>
                    <a:pt x="896" y="515"/>
                    <a:pt x="896" y="515"/>
                  </a:cubicBezTo>
                  <a:cubicBezTo>
                    <a:pt x="953" y="358"/>
                    <a:pt x="953" y="358"/>
                    <a:pt x="953" y="358"/>
                  </a:cubicBezTo>
                  <a:cubicBezTo>
                    <a:pt x="1066" y="230"/>
                    <a:pt x="1066" y="230"/>
                    <a:pt x="1066" y="230"/>
                  </a:cubicBezTo>
                  <a:cubicBezTo>
                    <a:pt x="1066" y="230"/>
                    <a:pt x="1060" y="205"/>
                    <a:pt x="1063" y="186"/>
                  </a:cubicBezTo>
                  <a:cubicBezTo>
                    <a:pt x="1066" y="167"/>
                    <a:pt x="1077" y="120"/>
                    <a:pt x="1096" y="110"/>
                  </a:cubicBezTo>
                  <a:cubicBezTo>
                    <a:pt x="1115" y="99"/>
                    <a:pt x="1155" y="120"/>
                    <a:pt x="1155" y="120"/>
                  </a:cubicBezTo>
                  <a:cubicBezTo>
                    <a:pt x="1155" y="120"/>
                    <a:pt x="1181" y="156"/>
                    <a:pt x="1214" y="148"/>
                  </a:cubicBezTo>
                  <a:cubicBezTo>
                    <a:pt x="1247" y="140"/>
                    <a:pt x="1277" y="0"/>
                    <a:pt x="1277" y="0"/>
                  </a:cubicBezTo>
                  <a:cubicBezTo>
                    <a:pt x="1331" y="57"/>
                    <a:pt x="1331" y="57"/>
                    <a:pt x="1331" y="57"/>
                  </a:cubicBezTo>
                  <a:cubicBezTo>
                    <a:pt x="1331" y="57"/>
                    <a:pt x="1350" y="35"/>
                    <a:pt x="1407" y="57"/>
                  </a:cubicBezTo>
                  <a:cubicBezTo>
                    <a:pt x="1464" y="80"/>
                    <a:pt x="1531" y="122"/>
                    <a:pt x="1531" y="122"/>
                  </a:cubicBezTo>
                  <a:cubicBezTo>
                    <a:pt x="1510" y="183"/>
                    <a:pt x="1510" y="183"/>
                    <a:pt x="1510" y="183"/>
                  </a:cubicBezTo>
                  <a:cubicBezTo>
                    <a:pt x="1510" y="183"/>
                    <a:pt x="1562" y="186"/>
                    <a:pt x="1565" y="202"/>
                  </a:cubicBezTo>
                  <a:cubicBezTo>
                    <a:pt x="1569" y="217"/>
                    <a:pt x="1558" y="341"/>
                    <a:pt x="1558" y="341"/>
                  </a:cubicBezTo>
                  <a:cubicBezTo>
                    <a:pt x="1487" y="433"/>
                    <a:pt x="1487" y="433"/>
                    <a:pt x="1487" y="433"/>
                  </a:cubicBezTo>
                  <a:cubicBezTo>
                    <a:pt x="1484" y="475"/>
                    <a:pt x="1484" y="475"/>
                    <a:pt x="1484" y="475"/>
                  </a:cubicBezTo>
                  <a:cubicBezTo>
                    <a:pt x="1585" y="518"/>
                    <a:pt x="1585" y="518"/>
                    <a:pt x="1585" y="518"/>
                  </a:cubicBezTo>
                  <a:cubicBezTo>
                    <a:pt x="1635" y="511"/>
                    <a:pt x="1635" y="511"/>
                    <a:pt x="1635" y="511"/>
                  </a:cubicBezTo>
                  <a:cubicBezTo>
                    <a:pt x="1578" y="687"/>
                    <a:pt x="1578" y="687"/>
                    <a:pt x="1578" y="687"/>
                  </a:cubicBezTo>
                  <a:cubicBezTo>
                    <a:pt x="1541" y="774"/>
                    <a:pt x="1541" y="774"/>
                    <a:pt x="1541" y="774"/>
                  </a:cubicBezTo>
                  <a:cubicBezTo>
                    <a:pt x="1460" y="805"/>
                    <a:pt x="1460" y="805"/>
                    <a:pt x="1460" y="805"/>
                  </a:cubicBezTo>
                  <a:cubicBezTo>
                    <a:pt x="1444" y="855"/>
                    <a:pt x="1444" y="855"/>
                    <a:pt x="1444" y="855"/>
                  </a:cubicBezTo>
                  <a:cubicBezTo>
                    <a:pt x="1462" y="892"/>
                    <a:pt x="1462" y="892"/>
                    <a:pt x="1462" y="892"/>
                  </a:cubicBezTo>
                  <a:cubicBezTo>
                    <a:pt x="1505" y="857"/>
                    <a:pt x="1505" y="857"/>
                    <a:pt x="1505" y="857"/>
                  </a:cubicBezTo>
                  <a:cubicBezTo>
                    <a:pt x="1491" y="929"/>
                    <a:pt x="1491" y="929"/>
                    <a:pt x="1491" y="929"/>
                  </a:cubicBezTo>
                  <a:cubicBezTo>
                    <a:pt x="1526" y="928"/>
                    <a:pt x="1526" y="928"/>
                    <a:pt x="1526" y="928"/>
                  </a:cubicBezTo>
                  <a:cubicBezTo>
                    <a:pt x="1492" y="1002"/>
                    <a:pt x="1492" y="1002"/>
                    <a:pt x="1492" y="1002"/>
                  </a:cubicBezTo>
                  <a:cubicBezTo>
                    <a:pt x="1501" y="1026"/>
                    <a:pt x="1501" y="1026"/>
                    <a:pt x="1501" y="1026"/>
                  </a:cubicBezTo>
                  <a:cubicBezTo>
                    <a:pt x="1461" y="1049"/>
                    <a:pt x="1461" y="1049"/>
                    <a:pt x="1461" y="1049"/>
                  </a:cubicBezTo>
                  <a:cubicBezTo>
                    <a:pt x="1456" y="1184"/>
                    <a:pt x="1456" y="1184"/>
                    <a:pt x="1456" y="1184"/>
                  </a:cubicBezTo>
                  <a:cubicBezTo>
                    <a:pt x="1376" y="1204"/>
                    <a:pt x="1376" y="1204"/>
                    <a:pt x="1376" y="1204"/>
                  </a:cubicBezTo>
                  <a:cubicBezTo>
                    <a:pt x="1409" y="1284"/>
                    <a:pt x="1409" y="1284"/>
                    <a:pt x="1409" y="1284"/>
                  </a:cubicBezTo>
                  <a:cubicBezTo>
                    <a:pt x="1442" y="1270"/>
                    <a:pt x="1442" y="1270"/>
                    <a:pt x="1442" y="1270"/>
                  </a:cubicBezTo>
                  <a:cubicBezTo>
                    <a:pt x="1480" y="1332"/>
                    <a:pt x="1480" y="1332"/>
                    <a:pt x="1480" y="1332"/>
                  </a:cubicBezTo>
                  <a:cubicBezTo>
                    <a:pt x="1545" y="1338"/>
                    <a:pt x="1545" y="1338"/>
                    <a:pt x="1545" y="1338"/>
                  </a:cubicBezTo>
                  <a:cubicBezTo>
                    <a:pt x="1494" y="1505"/>
                    <a:pt x="1494" y="1505"/>
                    <a:pt x="1494" y="1505"/>
                  </a:cubicBezTo>
                  <a:cubicBezTo>
                    <a:pt x="1551" y="1527"/>
                    <a:pt x="1551" y="1527"/>
                    <a:pt x="1551" y="1527"/>
                  </a:cubicBezTo>
                  <a:cubicBezTo>
                    <a:pt x="1531" y="1575"/>
                    <a:pt x="1531" y="1575"/>
                    <a:pt x="1531" y="1575"/>
                  </a:cubicBezTo>
                  <a:cubicBezTo>
                    <a:pt x="1522" y="1581"/>
                    <a:pt x="1522" y="1581"/>
                    <a:pt x="1522" y="1581"/>
                  </a:cubicBezTo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6" name="Freeform 45"/>
            <p:cNvSpPr>
              <a:spLocks/>
            </p:cNvSpPr>
            <p:nvPr/>
          </p:nvSpPr>
          <p:spPr bwMode="auto">
            <a:xfrm>
              <a:off x="3235075" y="4453831"/>
              <a:ext cx="367163" cy="311126"/>
            </a:xfrm>
            <a:custGeom>
              <a:avLst/>
              <a:gdLst>
                <a:gd name="T0" fmla="*/ 0 w 1002"/>
                <a:gd name="T1" fmla="*/ 516 h 956"/>
                <a:gd name="T2" fmla="*/ 63 w 1002"/>
                <a:gd name="T3" fmla="*/ 531 h 956"/>
                <a:gd name="T4" fmla="*/ 108 w 1002"/>
                <a:gd name="T5" fmla="*/ 458 h 956"/>
                <a:gd name="T6" fmla="*/ 139 w 1002"/>
                <a:gd name="T7" fmla="*/ 476 h 956"/>
                <a:gd name="T8" fmla="*/ 117 w 1002"/>
                <a:gd name="T9" fmla="*/ 730 h 956"/>
                <a:gd name="T10" fmla="*/ 130 w 1002"/>
                <a:gd name="T11" fmla="*/ 788 h 956"/>
                <a:gd name="T12" fmla="*/ 208 w 1002"/>
                <a:gd name="T13" fmla="*/ 817 h 956"/>
                <a:gd name="T14" fmla="*/ 257 w 1002"/>
                <a:gd name="T15" fmla="*/ 867 h 956"/>
                <a:gd name="T16" fmla="*/ 275 w 1002"/>
                <a:gd name="T17" fmla="*/ 891 h 956"/>
                <a:gd name="T18" fmla="*/ 338 w 1002"/>
                <a:gd name="T19" fmla="*/ 898 h 956"/>
                <a:gd name="T20" fmla="*/ 360 w 1002"/>
                <a:gd name="T21" fmla="*/ 956 h 956"/>
                <a:gd name="T22" fmla="*/ 552 w 1002"/>
                <a:gd name="T23" fmla="*/ 835 h 956"/>
                <a:gd name="T24" fmla="*/ 1002 w 1002"/>
                <a:gd name="T25" fmla="*/ 708 h 956"/>
                <a:gd name="T26" fmla="*/ 952 w 1002"/>
                <a:gd name="T27" fmla="*/ 518 h 956"/>
                <a:gd name="T28" fmla="*/ 957 w 1002"/>
                <a:gd name="T29" fmla="*/ 393 h 956"/>
                <a:gd name="T30" fmla="*/ 986 w 1002"/>
                <a:gd name="T31" fmla="*/ 377 h 956"/>
                <a:gd name="T32" fmla="*/ 988 w 1002"/>
                <a:gd name="T33" fmla="*/ 310 h 956"/>
                <a:gd name="T34" fmla="*/ 957 w 1002"/>
                <a:gd name="T35" fmla="*/ 308 h 956"/>
                <a:gd name="T36" fmla="*/ 955 w 1002"/>
                <a:gd name="T37" fmla="*/ 283 h 956"/>
                <a:gd name="T38" fmla="*/ 993 w 1002"/>
                <a:gd name="T39" fmla="*/ 216 h 956"/>
                <a:gd name="T40" fmla="*/ 995 w 1002"/>
                <a:gd name="T41" fmla="*/ 165 h 956"/>
                <a:gd name="T42" fmla="*/ 903 w 1002"/>
                <a:gd name="T43" fmla="*/ 169 h 956"/>
                <a:gd name="T44" fmla="*/ 796 w 1002"/>
                <a:gd name="T45" fmla="*/ 165 h 956"/>
                <a:gd name="T46" fmla="*/ 747 w 1002"/>
                <a:gd name="T47" fmla="*/ 138 h 956"/>
                <a:gd name="T48" fmla="*/ 584 w 1002"/>
                <a:gd name="T49" fmla="*/ 207 h 956"/>
                <a:gd name="T50" fmla="*/ 438 w 1002"/>
                <a:gd name="T51" fmla="*/ 196 h 956"/>
                <a:gd name="T52" fmla="*/ 396 w 1002"/>
                <a:gd name="T53" fmla="*/ 252 h 956"/>
                <a:gd name="T54" fmla="*/ 333 w 1002"/>
                <a:gd name="T55" fmla="*/ 243 h 956"/>
                <a:gd name="T56" fmla="*/ 367 w 1002"/>
                <a:gd name="T57" fmla="*/ 2 h 956"/>
                <a:gd name="T58" fmla="*/ 255 w 1002"/>
                <a:gd name="T59" fmla="*/ 0 h 956"/>
                <a:gd name="T60" fmla="*/ 249 w 1002"/>
                <a:gd name="T61" fmla="*/ 145 h 956"/>
                <a:gd name="T62" fmla="*/ 155 w 1002"/>
                <a:gd name="T63" fmla="*/ 319 h 956"/>
                <a:gd name="T64" fmla="*/ 0 w 1002"/>
                <a:gd name="T65" fmla="*/ 516 h 9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</a:cxnLst>
              <a:rect l="0" t="0" r="r" b="b"/>
              <a:pathLst>
                <a:path w="1002" h="956">
                  <a:moveTo>
                    <a:pt x="0" y="516"/>
                  </a:moveTo>
                  <a:cubicBezTo>
                    <a:pt x="45" y="534"/>
                    <a:pt x="59" y="540"/>
                    <a:pt x="63" y="531"/>
                  </a:cubicBezTo>
                  <a:cubicBezTo>
                    <a:pt x="68" y="523"/>
                    <a:pt x="108" y="458"/>
                    <a:pt x="108" y="458"/>
                  </a:cubicBezTo>
                  <a:cubicBezTo>
                    <a:pt x="139" y="476"/>
                    <a:pt x="139" y="476"/>
                    <a:pt x="139" y="476"/>
                  </a:cubicBezTo>
                  <a:cubicBezTo>
                    <a:pt x="117" y="730"/>
                    <a:pt x="117" y="730"/>
                    <a:pt x="117" y="730"/>
                  </a:cubicBezTo>
                  <a:cubicBezTo>
                    <a:pt x="117" y="730"/>
                    <a:pt x="101" y="768"/>
                    <a:pt x="130" y="788"/>
                  </a:cubicBezTo>
                  <a:cubicBezTo>
                    <a:pt x="159" y="809"/>
                    <a:pt x="208" y="817"/>
                    <a:pt x="208" y="817"/>
                  </a:cubicBezTo>
                  <a:cubicBezTo>
                    <a:pt x="257" y="867"/>
                    <a:pt x="257" y="867"/>
                    <a:pt x="257" y="867"/>
                  </a:cubicBezTo>
                  <a:cubicBezTo>
                    <a:pt x="257" y="867"/>
                    <a:pt x="266" y="891"/>
                    <a:pt x="275" y="891"/>
                  </a:cubicBezTo>
                  <a:cubicBezTo>
                    <a:pt x="284" y="891"/>
                    <a:pt x="338" y="898"/>
                    <a:pt x="338" y="898"/>
                  </a:cubicBezTo>
                  <a:cubicBezTo>
                    <a:pt x="360" y="956"/>
                    <a:pt x="360" y="956"/>
                    <a:pt x="360" y="956"/>
                  </a:cubicBezTo>
                  <a:cubicBezTo>
                    <a:pt x="552" y="835"/>
                    <a:pt x="552" y="835"/>
                    <a:pt x="552" y="835"/>
                  </a:cubicBezTo>
                  <a:cubicBezTo>
                    <a:pt x="1002" y="708"/>
                    <a:pt x="1002" y="708"/>
                    <a:pt x="1002" y="708"/>
                  </a:cubicBezTo>
                  <a:cubicBezTo>
                    <a:pt x="952" y="518"/>
                    <a:pt x="952" y="518"/>
                    <a:pt x="952" y="518"/>
                  </a:cubicBezTo>
                  <a:cubicBezTo>
                    <a:pt x="957" y="393"/>
                    <a:pt x="957" y="393"/>
                    <a:pt x="957" y="393"/>
                  </a:cubicBezTo>
                  <a:cubicBezTo>
                    <a:pt x="986" y="377"/>
                    <a:pt x="986" y="377"/>
                    <a:pt x="986" y="377"/>
                  </a:cubicBezTo>
                  <a:cubicBezTo>
                    <a:pt x="988" y="310"/>
                    <a:pt x="988" y="310"/>
                    <a:pt x="988" y="310"/>
                  </a:cubicBezTo>
                  <a:cubicBezTo>
                    <a:pt x="957" y="308"/>
                    <a:pt x="957" y="308"/>
                    <a:pt x="957" y="308"/>
                  </a:cubicBezTo>
                  <a:cubicBezTo>
                    <a:pt x="955" y="283"/>
                    <a:pt x="955" y="283"/>
                    <a:pt x="955" y="283"/>
                  </a:cubicBezTo>
                  <a:cubicBezTo>
                    <a:pt x="993" y="216"/>
                    <a:pt x="993" y="216"/>
                    <a:pt x="993" y="216"/>
                  </a:cubicBezTo>
                  <a:cubicBezTo>
                    <a:pt x="995" y="165"/>
                    <a:pt x="995" y="165"/>
                    <a:pt x="995" y="165"/>
                  </a:cubicBezTo>
                  <a:cubicBezTo>
                    <a:pt x="903" y="169"/>
                    <a:pt x="903" y="169"/>
                    <a:pt x="903" y="169"/>
                  </a:cubicBezTo>
                  <a:cubicBezTo>
                    <a:pt x="796" y="165"/>
                    <a:pt x="796" y="165"/>
                    <a:pt x="796" y="165"/>
                  </a:cubicBezTo>
                  <a:cubicBezTo>
                    <a:pt x="747" y="138"/>
                    <a:pt x="747" y="138"/>
                    <a:pt x="747" y="138"/>
                  </a:cubicBezTo>
                  <a:cubicBezTo>
                    <a:pt x="584" y="207"/>
                    <a:pt x="584" y="207"/>
                    <a:pt x="584" y="207"/>
                  </a:cubicBezTo>
                  <a:cubicBezTo>
                    <a:pt x="438" y="196"/>
                    <a:pt x="438" y="196"/>
                    <a:pt x="438" y="196"/>
                  </a:cubicBezTo>
                  <a:cubicBezTo>
                    <a:pt x="396" y="252"/>
                    <a:pt x="396" y="252"/>
                    <a:pt x="396" y="252"/>
                  </a:cubicBezTo>
                  <a:cubicBezTo>
                    <a:pt x="333" y="243"/>
                    <a:pt x="333" y="243"/>
                    <a:pt x="333" y="243"/>
                  </a:cubicBezTo>
                  <a:cubicBezTo>
                    <a:pt x="367" y="2"/>
                    <a:pt x="367" y="2"/>
                    <a:pt x="367" y="2"/>
                  </a:cubicBezTo>
                  <a:cubicBezTo>
                    <a:pt x="255" y="0"/>
                    <a:pt x="255" y="0"/>
                    <a:pt x="255" y="0"/>
                  </a:cubicBezTo>
                  <a:cubicBezTo>
                    <a:pt x="249" y="145"/>
                    <a:pt x="249" y="145"/>
                    <a:pt x="249" y="145"/>
                  </a:cubicBezTo>
                  <a:cubicBezTo>
                    <a:pt x="155" y="319"/>
                    <a:pt x="155" y="319"/>
                    <a:pt x="155" y="319"/>
                  </a:cubicBezTo>
                  <a:cubicBezTo>
                    <a:pt x="0" y="516"/>
                    <a:pt x="0" y="516"/>
                    <a:pt x="0" y="516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7" name="Freeform 46"/>
            <p:cNvSpPr>
              <a:spLocks/>
            </p:cNvSpPr>
            <p:nvPr/>
          </p:nvSpPr>
          <p:spPr bwMode="auto">
            <a:xfrm>
              <a:off x="2648052" y="4723866"/>
              <a:ext cx="363868" cy="404073"/>
            </a:xfrm>
            <a:custGeom>
              <a:avLst/>
              <a:gdLst>
                <a:gd name="T0" fmla="*/ 132 w 331"/>
                <a:gd name="T1" fmla="*/ 412 h 413"/>
                <a:gd name="T2" fmla="*/ 142 w 331"/>
                <a:gd name="T3" fmla="*/ 413 h 413"/>
                <a:gd name="T4" fmla="*/ 165 w 331"/>
                <a:gd name="T5" fmla="*/ 377 h 413"/>
                <a:gd name="T6" fmla="*/ 165 w 331"/>
                <a:gd name="T7" fmla="*/ 358 h 413"/>
                <a:gd name="T8" fmla="*/ 186 w 331"/>
                <a:gd name="T9" fmla="*/ 345 h 413"/>
                <a:gd name="T10" fmla="*/ 215 w 331"/>
                <a:gd name="T11" fmla="*/ 349 h 413"/>
                <a:gd name="T12" fmla="*/ 222 w 331"/>
                <a:gd name="T13" fmla="*/ 215 h 413"/>
                <a:gd name="T14" fmla="*/ 231 w 331"/>
                <a:gd name="T15" fmla="*/ 178 h 413"/>
                <a:gd name="T16" fmla="*/ 240 w 331"/>
                <a:gd name="T17" fmla="*/ 157 h 413"/>
                <a:gd name="T18" fmla="*/ 296 w 331"/>
                <a:gd name="T19" fmla="*/ 107 h 413"/>
                <a:gd name="T20" fmla="*/ 331 w 331"/>
                <a:gd name="T21" fmla="*/ 49 h 413"/>
                <a:gd name="T22" fmla="*/ 278 w 331"/>
                <a:gd name="T23" fmla="*/ 22 h 413"/>
                <a:gd name="T24" fmla="*/ 187 w 331"/>
                <a:gd name="T25" fmla="*/ 0 h 413"/>
                <a:gd name="T26" fmla="*/ 174 w 331"/>
                <a:gd name="T27" fmla="*/ 58 h 413"/>
                <a:gd name="T28" fmla="*/ 142 w 331"/>
                <a:gd name="T29" fmla="*/ 52 h 413"/>
                <a:gd name="T30" fmla="*/ 141 w 331"/>
                <a:gd name="T31" fmla="*/ 59 h 413"/>
                <a:gd name="T32" fmla="*/ 85 w 331"/>
                <a:gd name="T33" fmla="*/ 48 h 413"/>
                <a:gd name="T34" fmla="*/ 86 w 331"/>
                <a:gd name="T35" fmla="*/ 30 h 413"/>
                <a:gd name="T36" fmla="*/ 63 w 331"/>
                <a:gd name="T37" fmla="*/ 33 h 413"/>
                <a:gd name="T38" fmla="*/ 36 w 331"/>
                <a:gd name="T39" fmla="*/ 51 h 413"/>
                <a:gd name="T40" fmla="*/ 21 w 331"/>
                <a:gd name="T41" fmla="*/ 113 h 413"/>
                <a:gd name="T42" fmla="*/ 39 w 331"/>
                <a:gd name="T43" fmla="*/ 118 h 413"/>
                <a:gd name="T44" fmla="*/ 33 w 331"/>
                <a:gd name="T45" fmla="*/ 132 h 413"/>
                <a:gd name="T46" fmla="*/ 22 w 331"/>
                <a:gd name="T47" fmla="*/ 138 h 413"/>
                <a:gd name="T48" fmla="*/ 14 w 331"/>
                <a:gd name="T49" fmla="*/ 211 h 413"/>
                <a:gd name="T50" fmla="*/ 22 w 331"/>
                <a:gd name="T51" fmla="*/ 229 h 413"/>
                <a:gd name="T52" fmla="*/ 0 w 331"/>
                <a:gd name="T53" fmla="*/ 286 h 413"/>
                <a:gd name="T54" fmla="*/ 100 w 331"/>
                <a:gd name="T55" fmla="*/ 324 h 413"/>
                <a:gd name="T56" fmla="*/ 133 w 331"/>
                <a:gd name="T57" fmla="*/ 396 h 413"/>
                <a:gd name="T58" fmla="*/ 132 w 331"/>
                <a:gd name="T59" fmla="*/ 412 h 413"/>
                <a:gd name="T60" fmla="*/ 132 w 331"/>
                <a:gd name="T61" fmla="*/ 412 h 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331" h="413">
                  <a:moveTo>
                    <a:pt x="132" y="412"/>
                  </a:moveTo>
                  <a:lnTo>
                    <a:pt x="142" y="413"/>
                  </a:lnTo>
                  <a:lnTo>
                    <a:pt x="165" y="377"/>
                  </a:lnTo>
                  <a:lnTo>
                    <a:pt x="165" y="358"/>
                  </a:lnTo>
                  <a:lnTo>
                    <a:pt x="186" y="345"/>
                  </a:lnTo>
                  <a:lnTo>
                    <a:pt x="215" y="349"/>
                  </a:lnTo>
                  <a:lnTo>
                    <a:pt x="222" y="215"/>
                  </a:lnTo>
                  <a:lnTo>
                    <a:pt x="231" y="178"/>
                  </a:lnTo>
                  <a:lnTo>
                    <a:pt x="240" y="157"/>
                  </a:lnTo>
                  <a:lnTo>
                    <a:pt x="296" y="107"/>
                  </a:lnTo>
                  <a:lnTo>
                    <a:pt x="331" y="49"/>
                  </a:lnTo>
                  <a:lnTo>
                    <a:pt x="278" y="22"/>
                  </a:lnTo>
                  <a:lnTo>
                    <a:pt x="187" y="0"/>
                  </a:lnTo>
                  <a:lnTo>
                    <a:pt x="174" y="58"/>
                  </a:lnTo>
                  <a:lnTo>
                    <a:pt x="142" y="52"/>
                  </a:lnTo>
                  <a:lnTo>
                    <a:pt x="141" y="59"/>
                  </a:lnTo>
                  <a:lnTo>
                    <a:pt x="85" y="48"/>
                  </a:lnTo>
                  <a:lnTo>
                    <a:pt x="86" y="30"/>
                  </a:lnTo>
                  <a:lnTo>
                    <a:pt x="63" y="33"/>
                  </a:lnTo>
                  <a:lnTo>
                    <a:pt x="36" y="51"/>
                  </a:lnTo>
                  <a:lnTo>
                    <a:pt x="21" y="113"/>
                  </a:lnTo>
                  <a:lnTo>
                    <a:pt x="39" y="118"/>
                  </a:lnTo>
                  <a:lnTo>
                    <a:pt x="33" y="132"/>
                  </a:lnTo>
                  <a:lnTo>
                    <a:pt x="22" y="138"/>
                  </a:lnTo>
                  <a:lnTo>
                    <a:pt x="14" y="211"/>
                  </a:lnTo>
                  <a:lnTo>
                    <a:pt x="22" y="229"/>
                  </a:lnTo>
                  <a:lnTo>
                    <a:pt x="0" y="286"/>
                  </a:lnTo>
                  <a:lnTo>
                    <a:pt x="100" y="324"/>
                  </a:lnTo>
                  <a:lnTo>
                    <a:pt x="133" y="396"/>
                  </a:lnTo>
                  <a:lnTo>
                    <a:pt x="132" y="412"/>
                  </a:lnTo>
                  <a:lnTo>
                    <a:pt x="132" y="41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8" name="Freeform 47"/>
            <p:cNvSpPr>
              <a:spLocks/>
            </p:cNvSpPr>
            <p:nvPr/>
          </p:nvSpPr>
          <p:spPr bwMode="auto">
            <a:xfrm>
              <a:off x="1769716" y="4009645"/>
              <a:ext cx="469399" cy="458862"/>
            </a:xfrm>
            <a:custGeom>
              <a:avLst/>
              <a:gdLst>
                <a:gd name="T0" fmla="*/ 427 w 427"/>
                <a:gd name="T1" fmla="*/ 219 h 469"/>
                <a:gd name="T2" fmla="*/ 426 w 427"/>
                <a:gd name="T3" fmla="*/ 194 h 469"/>
                <a:gd name="T4" fmla="*/ 413 w 427"/>
                <a:gd name="T5" fmla="*/ 190 h 469"/>
                <a:gd name="T6" fmla="*/ 402 w 427"/>
                <a:gd name="T7" fmla="*/ 171 h 469"/>
                <a:gd name="T8" fmla="*/ 382 w 427"/>
                <a:gd name="T9" fmla="*/ 142 h 469"/>
                <a:gd name="T10" fmla="*/ 352 w 427"/>
                <a:gd name="T11" fmla="*/ 134 h 469"/>
                <a:gd name="T12" fmla="*/ 336 w 427"/>
                <a:gd name="T13" fmla="*/ 139 h 469"/>
                <a:gd name="T14" fmla="*/ 318 w 427"/>
                <a:gd name="T15" fmla="*/ 141 h 469"/>
                <a:gd name="T16" fmla="*/ 306 w 427"/>
                <a:gd name="T17" fmla="*/ 134 h 469"/>
                <a:gd name="T18" fmla="*/ 293 w 427"/>
                <a:gd name="T19" fmla="*/ 98 h 469"/>
                <a:gd name="T20" fmla="*/ 278 w 427"/>
                <a:gd name="T21" fmla="*/ 68 h 469"/>
                <a:gd name="T22" fmla="*/ 258 w 427"/>
                <a:gd name="T23" fmla="*/ 52 h 469"/>
                <a:gd name="T24" fmla="*/ 246 w 427"/>
                <a:gd name="T25" fmla="*/ 53 h 469"/>
                <a:gd name="T26" fmla="*/ 249 w 427"/>
                <a:gd name="T27" fmla="*/ 26 h 469"/>
                <a:gd name="T28" fmla="*/ 259 w 427"/>
                <a:gd name="T29" fmla="*/ 16 h 469"/>
                <a:gd name="T30" fmla="*/ 241 w 427"/>
                <a:gd name="T31" fmla="*/ 0 h 469"/>
                <a:gd name="T32" fmla="*/ 155 w 427"/>
                <a:gd name="T33" fmla="*/ 104 h 469"/>
                <a:gd name="T34" fmla="*/ 61 w 427"/>
                <a:gd name="T35" fmla="*/ 165 h 469"/>
                <a:gd name="T36" fmla="*/ 40 w 427"/>
                <a:gd name="T37" fmla="*/ 202 h 469"/>
                <a:gd name="T38" fmla="*/ 0 w 427"/>
                <a:gd name="T39" fmla="*/ 219 h 469"/>
                <a:gd name="T40" fmla="*/ 24 w 427"/>
                <a:gd name="T41" fmla="*/ 254 h 469"/>
                <a:gd name="T42" fmla="*/ 52 w 427"/>
                <a:gd name="T43" fmla="*/ 299 h 469"/>
                <a:gd name="T44" fmla="*/ 138 w 427"/>
                <a:gd name="T45" fmla="*/ 436 h 469"/>
                <a:gd name="T46" fmla="*/ 135 w 427"/>
                <a:gd name="T47" fmla="*/ 463 h 469"/>
                <a:gd name="T48" fmla="*/ 138 w 427"/>
                <a:gd name="T49" fmla="*/ 469 h 469"/>
                <a:gd name="T50" fmla="*/ 328 w 427"/>
                <a:gd name="T51" fmla="*/ 303 h 469"/>
                <a:gd name="T52" fmla="*/ 427 w 427"/>
                <a:gd name="T53" fmla="*/ 219 h 469"/>
                <a:gd name="T54" fmla="*/ 427 w 427"/>
                <a:gd name="T55" fmla="*/ 219 h 4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427" h="469">
                  <a:moveTo>
                    <a:pt x="427" y="219"/>
                  </a:moveTo>
                  <a:lnTo>
                    <a:pt x="426" y="194"/>
                  </a:lnTo>
                  <a:lnTo>
                    <a:pt x="413" y="190"/>
                  </a:lnTo>
                  <a:lnTo>
                    <a:pt x="402" y="171"/>
                  </a:lnTo>
                  <a:lnTo>
                    <a:pt x="382" y="142"/>
                  </a:lnTo>
                  <a:lnTo>
                    <a:pt x="352" y="134"/>
                  </a:lnTo>
                  <a:lnTo>
                    <a:pt x="336" y="139"/>
                  </a:lnTo>
                  <a:lnTo>
                    <a:pt x="318" y="141"/>
                  </a:lnTo>
                  <a:lnTo>
                    <a:pt x="306" y="134"/>
                  </a:lnTo>
                  <a:lnTo>
                    <a:pt x="293" y="98"/>
                  </a:lnTo>
                  <a:lnTo>
                    <a:pt x="278" y="68"/>
                  </a:lnTo>
                  <a:lnTo>
                    <a:pt x="258" y="52"/>
                  </a:lnTo>
                  <a:lnTo>
                    <a:pt x="246" y="53"/>
                  </a:lnTo>
                  <a:lnTo>
                    <a:pt x="249" y="26"/>
                  </a:lnTo>
                  <a:lnTo>
                    <a:pt x="259" y="16"/>
                  </a:lnTo>
                  <a:lnTo>
                    <a:pt x="241" y="0"/>
                  </a:lnTo>
                  <a:lnTo>
                    <a:pt x="155" y="104"/>
                  </a:lnTo>
                  <a:lnTo>
                    <a:pt x="61" y="165"/>
                  </a:lnTo>
                  <a:lnTo>
                    <a:pt x="40" y="202"/>
                  </a:lnTo>
                  <a:lnTo>
                    <a:pt x="0" y="219"/>
                  </a:lnTo>
                  <a:lnTo>
                    <a:pt x="24" y="254"/>
                  </a:lnTo>
                  <a:lnTo>
                    <a:pt x="52" y="299"/>
                  </a:lnTo>
                  <a:lnTo>
                    <a:pt x="138" y="436"/>
                  </a:lnTo>
                  <a:lnTo>
                    <a:pt x="135" y="463"/>
                  </a:lnTo>
                  <a:lnTo>
                    <a:pt x="138" y="469"/>
                  </a:lnTo>
                  <a:lnTo>
                    <a:pt x="328" y="303"/>
                  </a:lnTo>
                  <a:lnTo>
                    <a:pt x="427" y="219"/>
                  </a:lnTo>
                  <a:lnTo>
                    <a:pt x="427" y="219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19" name="Freeform 48"/>
            <p:cNvSpPr>
              <a:spLocks/>
            </p:cNvSpPr>
            <p:nvPr/>
          </p:nvSpPr>
          <p:spPr bwMode="auto">
            <a:xfrm>
              <a:off x="2035746" y="3965618"/>
              <a:ext cx="311101" cy="260252"/>
            </a:xfrm>
            <a:custGeom>
              <a:avLst/>
              <a:gdLst>
                <a:gd name="T0" fmla="*/ 283 w 283"/>
                <a:gd name="T1" fmla="*/ 147 h 266"/>
                <a:gd name="T2" fmla="*/ 225 w 283"/>
                <a:gd name="T3" fmla="*/ 44 h 266"/>
                <a:gd name="T4" fmla="*/ 199 w 283"/>
                <a:gd name="T5" fmla="*/ 55 h 266"/>
                <a:gd name="T6" fmla="*/ 181 w 283"/>
                <a:gd name="T7" fmla="*/ 41 h 266"/>
                <a:gd name="T8" fmla="*/ 175 w 283"/>
                <a:gd name="T9" fmla="*/ 16 h 266"/>
                <a:gd name="T10" fmla="*/ 156 w 283"/>
                <a:gd name="T11" fmla="*/ 10 h 266"/>
                <a:gd name="T12" fmla="*/ 128 w 283"/>
                <a:gd name="T13" fmla="*/ 10 h 266"/>
                <a:gd name="T14" fmla="*/ 124 w 283"/>
                <a:gd name="T15" fmla="*/ 20 h 266"/>
                <a:gd name="T16" fmla="*/ 102 w 283"/>
                <a:gd name="T17" fmla="*/ 13 h 266"/>
                <a:gd name="T18" fmla="*/ 90 w 283"/>
                <a:gd name="T19" fmla="*/ 0 h 266"/>
                <a:gd name="T20" fmla="*/ 80 w 283"/>
                <a:gd name="T21" fmla="*/ 12 h 266"/>
                <a:gd name="T22" fmla="*/ 98 w 283"/>
                <a:gd name="T23" fmla="*/ 46 h 266"/>
                <a:gd name="T24" fmla="*/ 71 w 283"/>
                <a:gd name="T25" fmla="*/ 83 h 266"/>
                <a:gd name="T26" fmla="*/ 50 w 283"/>
                <a:gd name="T27" fmla="*/ 83 h 266"/>
                <a:gd name="T28" fmla="*/ 40 w 283"/>
                <a:gd name="T29" fmla="*/ 52 h 266"/>
                <a:gd name="T30" fmla="*/ 16 w 283"/>
                <a:gd name="T31" fmla="*/ 31 h 266"/>
                <a:gd name="T32" fmla="*/ 0 w 283"/>
                <a:gd name="T33" fmla="*/ 45 h 266"/>
                <a:gd name="T34" fmla="*/ 17 w 283"/>
                <a:gd name="T35" fmla="*/ 62 h 266"/>
                <a:gd name="T36" fmla="*/ 7 w 283"/>
                <a:gd name="T37" fmla="*/ 72 h 266"/>
                <a:gd name="T38" fmla="*/ 5 w 283"/>
                <a:gd name="T39" fmla="*/ 97 h 266"/>
                <a:gd name="T40" fmla="*/ 16 w 283"/>
                <a:gd name="T41" fmla="*/ 99 h 266"/>
                <a:gd name="T42" fmla="*/ 36 w 283"/>
                <a:gd name="T43" fmla="*/ 118 h 266"/>
                <a:gd name="T44" fmla="*/ 54 w 283"/>
                <a:gd name="T45" fmla="*/ 150 h 266"/>
                <a:gd name="T46" fmla="*/ 64 w 283"/>
                <a:gd name="T47" fmla="*/ 179 h 266"/>
                <a:gd name="T48" fmla="*/ 74 w 283"/>
                <a:gd name="T49" fmla="*/ 186 h 266"/>
                <a:gd name="T50" fmla="*/ 95 w 283"/>
                <a:gd name="T51" fmla="*/ 184 h 266"/>
                <a:gd name="T52" fmla="*/ 111 w 283"/>
                <a:gd name="T53" fmla="*/ 181 h 266"/>
                <a:gd name="T54" fmla="*/ 138 w 283"/>
                <a:gd name="T55" fmla="*/ 187 h 266"/>
                <a:gd name="T56" fmla="*/ 156 w 283"/>
                <a:gd name="T57" fmla="*/ 212 h 266"/>
                <a:gd name="T58" fmla="*/ 170 w 283"/>
                <a:gd name="T59" fmla="*/ 236 h 266"/>
                <a:gd name="T60" fmla="*/ 182 w 283"/>
                <a:gd name="T61" fmla="*/ 239 h 266"/>
                <a:gd name="T62" fmla="*/ 182 w 283"/>
                <a:gd name="T63" fmla="*/ 266 h 266"/>
                <a:gd name="T64" fmla="*/ 209 w 283"/>
                <a:gd name="T65" fmla="*/ 239 h 266"/>
                <a:gd name="T66" fmla="*/ 283 w 283"/>
                <a:gd name="T67" fmla="*/ 147 h 2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83" h="266">
                  <a:moveTo>
                    <a:pt x="283" y="147"/>
                  </a:moveTo>
                  <a:lnTo>
                    <a:pt x="225" y="44"/>
                  </a:lnTo>
                  <a:lnTo>
                    <a:pt x="199" y="55"/>
                  </a:lnTo>
                  <a:lnTo>
                    <a:pt x="181" y="41"/>
                  </a:lnTo>
                  <a:lnTo>
                    <a:pt x="175" y="16"/>
                  </a:lnTo>
                  <a:lnTo>
                    <a:pt x="156" y="10"/>
                  </a:lnTo>
                  <a:lnTo>
                    <a:pt x="128" y="10"/>
                  </a:lnTo>
                  <a:lnTo>
                    <a:pt x="124" y="20"/>
                  </a:lnTo>
                  <a:lnTo>
                    <a:pt x="102" y="13"/>
                  </a:lnTo>
                  <a:lnTo>
                    <a:pt x="90" y="0"/>
                  </a:lnTo>
                  <a:lnTo>
                    <a:pt x="80" y="12"/>
                  </a:lnTo>
                  <a:lnTo>
                    <a:pt x="98" y="46"/>
                  </a:lnTo>
                  <a:lnTo>
                    <a:pt x="71" y="83"/>
                  </a:lnTo>
                  <a:lnTo>
                    <a:pt x="50" y="83"/>
                  </a:lnTo>
                  <a:lnTo>
                    <a:pt x="40" y="52"/>
                  </a:lnTo>
                  <a:lnTo>
                    <a:pt x="16" y="31"/>
                  </a:lnTo>
                  <a:lnTo>
                    <a:pt x="0" y="45"/>
                  </a:lnTo>
                  <a:lnTo>
                    <a:pt x="17" y="62"/>
                  </a:lnTo>
                  <a:lnTo>
                    <a:pt x="7" y="72"/>
                  </a:lnTo>
                  <a:lnTo>
                    <a:pt x="5" y="97"/>
                  </a:lnTo>
                  <a:lnTo>
                    <a:pt x="16" y="99"/>
                  </a:lnTo>
                  <a:lnTo>
                    <a:pt x="36" y="118"/>
                  </a:lnTo>
                  <a:lnTo>
                    <a:pt x="54" y="150"/>
                  </a:lnTo>
                  <a:lnTo>
                    <a:pt x="64" y="179"/>
                  </a:lnTo>
                  <a:lnTo>
                    <a:pt x="74" y="186"/>
                  </a:lnTo>
                  <a:lnTo>
                    <a:pt x="95" y="184"/>
                  </a:lnTo>
                  <a:lnTo>
                    <a:pt x="111" y="181"/>
                  </a:lnTo>
                  <a:lnTo>
                    <a:pt x="138" y="187"/>
                  </a:lnTo>
                  <a:lnTo>
                    <a:pt x="156" y="212"/>
                  </a:lnTo>
                  <a:lnTo>
                    <a:pt x="170" y="236"/>
                  </a:lnTo>
                  <a:lnTo>
                    <a:pt x="182" y="239"/>
                  </a:lnTo>
                  <a:lnTo>
                    <a:pt x="182" y="266"/>
                  </a:lnTo>
                  <a:lnTo>
                    <a:pt x="209" y="239"/>
                  </a:lnTo>
                  <a:lnTo>
                    <a:pt x="283" y="147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0" name="Freeform 49"/>
            <p:cNvSpPr>
              <a:spLocks/>
            </p:cNvSpPr>
            <p:nvPr/>
          </p:nvSpPr>
          <p:spPr bwMode="auto">
            <a:xfrm>
              <a:off x="2094008" y="4103569"/>
              <a:ext cx="438619" cy="302321"/>
            </a:xfrm>
            <a:custGeom>
              <a:avLst/>
              <a:gdLst>
                <a:gd name="T0" fmla="*/ 690 w 1198"/>
                <a:gd name="T1" fmla="*/ 9 h 926"/>
                <a:gd name="T2" fmla="*/ 791 w 1198"/>
                <a:gd name="T3" fmla="*/ 93 h 926"/>
                <a:gd name="T4" fmla="*/ 819 w 1198"/>
                <a:gd name="T5" fmla="*/ 160 h 926"/>
                <a:gd name="T6" fmla="*/ 880 w 1198"/>
                <a:gd name="T7" fmla="*/ 186 h 926"/>
                <a:gd name="T8" fmla="*/ 974 w 1198"/>
                <a:gd name="T9" fmla="*/ 162 h 926"/>
                <a:gd name="T10" fmla="*/ 1016 w 1198"/>
                <a:gd name="T11" fmla="*/ 0 h 926"/>
                <a:gd name="T12" fmla="*/ 1071 w 1198"/>
                <a:gd name="T13" fmla="*/ 44 h 926"/>
                <a:gd name="T14" fmla="*/ 1198 w 1198"/>
                <a:gd name="T15" fmla="*/ 119 h 926"/>
                <a:gd name="T16" fmla="*/ 941 w 1198"/>
                <a:gd name="T17" fmla="*/ 531 h 926"/>
                <a:gd name="T18" fmla="*/ 704 w 1198"/>
                <a:gd name="T19" fmla="*/ 484 h 926"/>
                <a:gd name="T20" fmla="*/ 675 w 1198"/>
                <a:gd name="T21" fmla="*/ 540 h 926"/>
                <a:gd name="T22" fmla="*/ 638 w 1198"/>
                <a:gd name="T23" fmla="*/ 508 h 926"/>
                <a:gd name="T24" fmla="*/ 617 w 1198"/>
                <a:gd name="T25" fmla="*/ 543 h 926"/>
                <a:gd name="T26" fmla="*/ 643 w 1198"/>
                <a:gd name="T27" fmla="*/ 569 h 926"/>
                <a:gd name="T28" fmla="*/ 508 w 1198"/>
                <a:gd name="T29" fmla="*/ 760 h 926"/>
                <a:gd name="T30" fmla="*/ 433 w 1198"/>
                <a:gd name="T31" fmla="*/ 694 h 926"/>
                <a:gd name="T32" fmla="*/ 271 w 1198"/>
                <a:gd name="T33" fmla="*/ 926 h 926"/>
                <a:gd name="T34" fmla="*/ 82 w 1198"/>
                <a:gd name="T35" fmla="*/ 802 h 926"/>
                <a:gd name="T36" fmla="*/ 0 w 1198"/>
                <a:gd name="T37" fmla="*/ 705 h 926"/>
                <a:gd name="T38" fmla="*/ 422 w 1198"/>
                <a:gd name="T39" fmla="*/ 335 h 926"/>
                <a:gd name="T40" fmla="*/ 690 w 1198"/>
                <a:gd name="T41" fmla="*/ 9 h 9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198" h="926">
                  <a:moveTo>
                    <a:pt x="690" y="9"/>
                  </a:moveTo>
                  <a:cubicBezTo>
                    <a:pt x="791" y="93"/>
                    <a:pt x="791" y="93"/>
                    <a:pt x="791" y="93"/>
                  </a:cubicBezTo>
                  <a:cubicBezTo>
                    <a:pt x="791" y="93"/>
                    <a:pt x="804" y="145"/>
                    <a:pt x="819" y="160"/>
                  </a:cubicBezTo>
                  <a:cubicBezTo>
                    <a:pt x="834" y="175"/>
                    <a:pt x="856" y="185"/>
                    <a:pt x="880" y="186"/>
                  </a:cubicBezTo>
                  <a:cubicBezTo>
                    <a:pt x="904" y="188"/>
                    <a:pt x="946" y="190"/>
                    <a:pt x="974" y="162"/>
                  </a:cubicBezTo>
                  <a:cubicBezTo>
                    <a:pt x="1002" y="134"/>
                    <a:pt x="1016" y="0"/>
                    <a:pt x="1016" y="0"/>
                  </a:cubicBezTo>
                  <a:cubicBezTo>
                    <a:pt x="1071" y="44"/>
                    <a:pt x="1071" y="44"/>
                    <a:pt x="1071" y="44"/>
                  </a:cubicBezTo>
                  <a:cubicBezTo>
                    <a:pt x="1198" y="119"/>
                    <a:pt x="1198" y="119"/>
                    <a:pt x="1198" y="119"/>
                  </a:cubicBezTo>
                  <a:cubicBezTo>
                    <a:pt x="941" y="531"/>
                    <a:pt x="941" y="531"/>
                    <a:pt x="941" y="531"/>
                  </a:cubicBezTo>
                  <a:cubicBezTo>
                    <a:pt x="704" y="484"/>
                    <a:pt x="704" y="484"/>
                    <a:pt x="704" y="484"/>
                  </a:cubicBezTo>
                  <a:cubicBezTo>
                    <a:pt x="675" y="540"/>
                    <a:pt x="675" y="540"/>
                    <a:pt x="675" y="540"/>
                  </a:cubicBezTo>
                  <a:cubicBezTo>
                    <a:pt x="638" y="508"/>
                    <a:pt x="638" y="508"/>
                    <a:pt x="638" y="508"/>
                  </a:cubicBezTo>
                  <a:cubicBezTo>
                    <a:pt x="617" y="543"/>
                    <a:pt x="617" y="543"/>
                    <a:pt x="617" y="543"/>
                  </a:cubicBezTo>
                  <a:cubicBezTo>
                    <a:pt x="643" y="569"/>
                    <a:pt x="643" y="569"/>
                    <a:pt x="643" y="569"/>
                  </a:cubicBezTo>
                  <a:cubicBezTo>
                    <a:pt x="508" y="760"/>
                    <a:pt x="508" y="760"/>
                    <a:pt x="508" y="760"/>
                  </a:cubicBezTo>
                  <a:cubicBezTo>
                    <a:pt x="433" y="694"/>
                    <a:pt x="433" y="694"/>
                    <a:pt x="433" y="694"/>
                  </a:cubicBezTo>
                  <a:cubicBezTo>
                    <a:pt x="271" y="926"/>
                    <a:pt x="271" y="926"/>
                    <a:pt x="271" y="926"/>
                  </a:cubicBezTo>
                  <a:cubicBezTo>
                    <a:pt x="82" y="802"/>
                    <a:pt x="82" y="802"/>
                    <a:pt x="82" y="802"/>
                  </a:cubicBezTo>
                  <a:cubicBezTo>
                    <a:pt x="0" y="705"/>
                    <a:pt x="0" y="705"/>
                    <a:pt x="0" y="705"/>
                  </a:cubicBezTo>
                  <a:cubicBezTo>
                    <a:pt x="422" y="335"/>
                    <a:pt x="422" y="335"/>
                    <a:pt x="422" y="335"/>
                  </a:cubicBezTo>
                  <a:cubicBezTo>
                    <a:pt x="690" y="9"/>
                    <a:pt x="690" y="9"/>
                    <a:pt x="690" y="9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1" name="Freeform 50"/>
            <p:cNvSpPr>
              <a:spLocks/>
            </p:cNvSpPr>
            <p:nvPr/>
          </p:nvSpPr>
          <p:spPr bwMode="auto">
            <a:xfrm>
              <a:off x="2880003" y="4714080"/>
              <a:ext cx="312199" cy="382549"/>
            </a:xfrm>
            <a:custGeom>
              <a:avLst/>
              <a:gdLst>
                <a:gd name="T0" fmla="*/ 284 w 284"/>
                <a:gd name="T1" fmla="*/ 389 h 391"/>
                <a:gd name="T2" fmla="*/ 231 w 284"/>
                <a:gd name="T3" fmla="*/ 385 h 391"/>
                <a:gd name="T4" fmla="*/ 226 w 284"/>
                <a:gd name="T5" fmla="*/ 391 h 391"/>
                <a:gd name="T6" fmla="*/ 206 w 284"/>
                <a:gd name="T7" fmla="*/ 384 h 391"/>
                <a:gd name="T8" fmla="*/ 0 w 284"/>
                <a:gd name="T9" fmla="*/ 361 h 391"/>
                <a:gd name="T10" fmla="*/ 10 w 284"/>
                <a:gd name="T11" fmla="*/ 226 h 391"/>
                <a:gd name="T12" fmla="*/ 16 w 284"/>
                <a:gd name="T13" fmla="*/ 200 h 391"/>
                <a:gd name="T14" fmla="*/ 27 w 284"/>
                <a:gd name="T15" fmla="*/ 171 h 391"/>
                <a:gd name="T16" fmla="*/ 42 w 284"/>
                <a:gd name="T17" fmla="*/ 152 h 391"/>
                <a:gd name="T18" fmla="*/ 86 w 284"/>
                <a:gd name="T19" fmla="*/ 116 h 391"/>
                <a:gd name="T20" fmla="*/ 92 w 284"/>
                <a:gd name="T21" fmla="*/ 105 h 391"/>
                <a:gd name="T22" fmla="*/ 130 w 284"/>
                <a:gd name="T23" fmla="*/ 42 h 391"/>
                <a:gd name="T24" fmla="*/ 143 w 284"/>
                <a:gd name="T25" fmla="*/ 20 h 391"/>
                <a:gd name="T26" fmla="*/ 158 w 284"/>
                <a:gd name="T27" fmla="*/ 0 h 391"/>
                <a:gd name="T28" fmla="*/ 176 w 284"/>
                <a:gd name="T29" fmla="*/ 19 h 391"/>
                <a:gd name="T30" fmla="*/ 196 w 284"/>
                <a:gd name="T31" fmla="*/ 80 h 391"/>
                <a:gd name="T32" fmla="*/ 261 w 284"/>
                <a:gd name="T33" fmla="*/ 277 h 391"/>
                <a:gd name="T34" fmla="*/ 266 w 284"/>
                <a:gd name="T35" fmla="*/ 330 h 391"/>
                <a:gd name="T36" fmla="*/ 284 w 284"/>
                <a:gd name="T37" fmla="*/ 389 h 391"/>
                <a:gd name="T38" fmla="*/ 284 w 284"/>
                <a:gd name="T39" fmla="*/ 389 h 391"/>
                <a:gd name="T40" fmla="*/ 284 w 284"/>
                <a:gd name="T41" fmla="*/ 389 h 39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84" h="391">
                  <a:moveTo>
                    <a:pt x="284" y="389"/>
                  </a:moveTo>
                  <a:lnTo>
                    <a:pt x="231" y="385"/>
                  </a:lnTo>
                  <a:lnTo>
                    <a:pt x="226" y="391"/>
                  </a:lnTo>
                  <a:lnTo>
                    <a:pt x="206" y="384"/>
                  </a:lnTo>
                  <a:lnTo>
                    <a:pt x="0" y="361"/>
                  </a:lnTo>
                  <a:lnTo>
                    <a:pt x="10" y="226"/>
                  </a:lnTo>
                  <a:lnTo>
                    <a:pt x="16" y="200"/>
                  </a:lnTo>
                  <a:lnTo>
                    <a:pt x="27" y="171"/>
                  </a:lnTo>
                  <a:lnTo>
                    <a:pt x="42" y="152"/>
                  </a:lnTo>
                  <a:lnTo>
                    <a:pt x="86" y="116"/>
                  </a:lnTo>
                  <a:lnTo>
                    <a:pt x="92" y="105"/>
                  </a:lnTo>
                  <a:lnTo>
                    <a:pt x="130" y="42"/>
                  </a:lnTo>
                  <a:lnTo>
                    <a:pt x="143" y="20"/>
                  </a:lnTo>
                  <a:lnTo>
                    <a:pt x="158" y="0"/>
                  </a:lnTo>
                  <a:lnTo>
                    <a:pt x="176" y="19"/>
                  </a:lnTo>
                  <a:lnTo>
                    <a:pt x="196" y="80"/>
                  </a:lnTo>
                  <a:lnTo>
                    <a:pt x="261" y="277"/>
                  </a:lnTo>
                  <a:lnTo>
                    <a:pt x="266" y="330"/>
                  </a:lnTo>
                  <a:lnTo>
                    <a:pt x="284" y="389"/>
                  </a:lnTo>
                  <a:lnTo>
                    <a:pt x="284" y="389"/>
                  </a:lnTo>
                  <a:lnTo>
                    <a:pt x="284" y="389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2" name="Freeform 51"/>
            <p:cNvSpPr>
              <a:spLocks/>
            </p:cNvSpPr>
            <p:nvPr/>
          </p:nvSpPr>
          <p:spPr bwMode="auto">
            <a:xfrm>
              <a:off x="1922519" y="4332511"/>
              <a:ext cx="403441" cy="396245"/>
            </a:xfrm>
            <a:custGeom>
              <a:avLst/>
              <a:gdLst>
                <a:gd name="T0" fmla="*/ 186 w 367"/>
                <a:gd name="T1" fmla="*/ 405 h 405"/>
                <a:gd name="T2" fmla="*/ 182 w 367"/>
                <a:gd name="T3" fmla="*/ 403 h 405"/>
                <a:gd name="T4" fmla="*/ 180 w 367"/>
                <a:gd name="T5" fmla="*/ 374 h 405"/>
                <a:gd name="T6" fmla="*/ 21 w 367"/>
                <a:gd name="T7" fmla="*/ 138 h 405"/>
                <a:gd name="T8" fmla="*/ 1 w 367"/>
                <a:gd name="T9" fmla="*/ 140 h 405"/>
                <a:gd name="T10" fmla="*/ 0 w 367"/>
                <a:gd name="T11" fmla="*/ 140 h 405"/>
                <a:gd name="T12" fmla="*/ 157 w 367"/>
                <a:gd name="T13" fmla="*/ 0 h 405"/>
                <a:gd name="T14" fmla="*/ 181 w 367"/>
                <a:gd name="T15" fmla="*/ 31 h 405"/>
                <a:gd name="T16" fmla="*/ 246 w 367"/>
                <a:gd name="T17" fmla="*/ 76 h 405"/>
                <a:gd name="T18" fmla="*/ 348 w 367"/>
                <a:gd name="T19" fmla="*/ 149 h 405"/>
                <a:gd name="T20" fmla="*/ 367 w 367"/>
                <a:gd name="T21" fmla="*/ 151 h 405"/>
                <a:gd name="T22" fmla="*/ 341 w 367"/>
                <a:gd name="T23" fmla="*/ 208 h 405"/>
                <a:gd name="T24" fmla="*/ 267 w 367"/>
                <a:gd name="T25" fmla="*/ 326 h 405"/>
                <a:gd name="T26" fmla="*/ 186 w 367"/>
                <a:gd name="T27" fmla="*/ 405 h 405"/>
                <a:gd name="T28" fmla="*/ 186 w 367"/>
                <a:gd name="T29" fmla="*/ 405 h 4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67" h="405">
                  <a:moveTo>
                    <a:pt x="186" y="405"/>
                  </a:moveTo>
                  <a:lnTo>
                    <a:pt x="182" y="403"/>
                  </a:lnTo>
                  <a:lnTo>
                    <a:pt x="180" y="374"/>
                  </a:lnTo>
                  <a:lnTo>
                    <a:pt x="21" y="138"/>
                  </a:lnTo>
                  <a:lnTo>
                    <a:pt x="1" y="140"/>
                  </a:lnTo>
                  <a:lnTo>
                    <a:pt x="0" y="140"/>
                  </a:lnTo>
                  <a:lnTo>
                    <a:pt x="157" y="0"/>
                  </a:lnTo>
                  <a:lnTo>
                    <a:pt x="181" y="31"/>
                  </a:lnTo>
                  <a:lnTo>
                    <a:pt x="246" y="76"/>
                  </a:lnTo>
                  <a:lnTo>
                    <a:pt x="348" y="149"/>
                  </a:lnTo>
                  <a:lnTo>
                    <a:pt x="367" y="151"/>
                  </a:lnTo>
                  <a:lnTo>
                    <a:pt x="341" y="208"/>
                  </a:lnTo>
                  <a:lnTo>
                    <a:pt x="267" y="326"/>
                  </a:lnTo>
                  <a:lnTo>
                    <a:pt x="186" y="405"/>
                  </a:lnTo>
                  <a:lnTo>
                    <a:pt x="186" y="405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3" name="Freeform 52"/>
            <p:cNvSpPr>
              <a:spLocks/>
            </p:cNvSpPr>
            <p:nvPr/>
          </p:nvSpPr>
          <p:spPr bwMode="auto">
            <a:xfrm>
              <a:off x="2266598" y="3952900"/>
              <a:ext cx="275923" cy="215245"/>
            </a:xfrm>
            <a:custGeom>
              <a:avLst/>
              <a:gdLst>
                <a:gd name="T0" fmla="*/ 0 w 753"/>
                <a:gd name="T1" fmla="*/ 304 h 660"/>
                <a:gd name="T2" fmla="*/ 217 w 753"/>
                <a:gd name="T3" fmla="*/ 472 h 660"/>
                <a:gd name="T4" fmla="*/ 319 w 753"/>
                <a:gd name="T5" fmla="*/ 565 h 660"/>
                <a:gd name="T6" fmla="*/ 362 w 753"/>
                <a:gd name="T7" fmla="*/ 638 h 660"/>
                <a:gd name="T8" fmla="*/ 493 w 753"/>
                <a:gd name="T9" fmla="*/ 633 h 660"/>
                <a:gd name="T10" fmla="*/ 548 w 753"/>
                <a:gd name="T11" fmla="*/ 473 h 660"/>
                <a:gd name="T12" fmla="*/ 593 w 753"/>
                <a:gd name="T13" fmla="*/ 506 h 660"/>
                <a:gd name="T14" fmla="*/ 753 w 753"/>
                <a:gd name="T15" fmla="*/ 287 h 660"/>
                <a:gd name="T16" fmla="*/ 658 w 753"/>
                <a:gd name="T17" fmla="*/ 193 h 660"/>
                <a:gd name="T18" fmla="*/ 597 w 753"/>
                <a:gd name="T19" fmla="*/ 271 h 660"/>
                <a:gd name="T20" fmla="*/ 465 w 753"/>
                <a:gd name="T21" fmla="*/ 170 h 660"/>
                <a:gd name="T22" fmla="*/ 305 w 753"/>
                <a:gd name="T23" fmla="*/ 0 h 660"/>
                <a:gd name="T24" fmla="*/ 0 w 753"/>
                <a:gd name="T25" fmla="*/ 304 h 66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53" h="660">
                  <a:moveTo>
                    <a:pt x="0" y="304"/>
                  </a:moveTo>
                  <a:cubicBezTo>
                    <a:pt x="217" y="472"/>
                    <a:pt x="217" y="472"/>
                    <a:pt x="217" y="472"/>
                  </a:cubicBezTo>
                  <a:cubicBezTo>
                    <a:pt x="217" y="472"/>
                    <a:pt x="297" y="540"/>
                    <a:pt x="319" y="565"/>
                  </a:cubicBezTo>
                  <a:cubicBezTo>
                    <a:pt x="340" y="591"/>
                    <a:pt x="334" y="623"/>
                    <a:pt x="362" y="638"/>
                  </a:cubicBezTo>
                  <a:cubicBezTo>
                    <a:pt x="390" y="654"/>
                    <a:pt x="456" y="660"/>
                    <a:pt x="493" y="633"/>
                  </a:cubicBezTo>
                  <a:cubicBezTo>
                    <a:pt x="529" y="606"/>
                    <a:pt x="548" y="473"/>
                    <a:pt x="548" y="473"/>
                  </a:cubicBezTo>
                  <a:cubicBezTo>
                    <a:pt x="593" y="506"/>
                    <a:pt x="593" y="506"/>
                    <a:pt x="593" y="506"/>
                  </a:cubicBezTo>
                  <a:cubicBezTo>
                    <a:pt x="753" y="287"/>
                    <a:pt x="753" y="287"/>
                    <a:pt x="753" y="287"/>
                  </a:cubicBezTo>
                  <a:cubicBezTo>
                    <a:pt x="658" y="193"/>
                    <a:pt x="658" y="193"/>
                    <a:pt x="658" y="193"/>
                  </a:cubicBezTo>
                  <a:cubicBezTo>
                    <a:pt x="597" y="271"/>
                    <a:pt x="597" y="271"/>
                    <a:pt x="597" y="271"/>
                  </a:cubicBezTo>
                  <a:cubicBezTo>
                    <a:pt x="465" y="170"/>
                    <a:pt x="465" y="170"/>
                    <a:pt x="465" y="170"/>
                  </a:cubicBezTo>
                  <a:cubicBezTo>
                    <a:pt x="305" y="0"/>
                    <a:pt x="305" y="0"/>
                    <a:pt x="305" y="0"/>
                  </a:cubicBezTo>
                  <a:cubicBezTo>
                    <a:pt x="0" y="304"/>
                    <a:pt x="0" y="304"/>
                    <a:pt x="0" y="304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4" name="Freeform 53"/>
            <p:cNvSpPr>
              <a:spLocks/>
            </p:cNvSpPr>
            <p:nvPr/>
          </p:nvSpPr>
          <p:spPr bwMode="auto">
            <a:xfrm>
              <a:off x="2666740" y="4379475"/>
              <a:ext cx="319894" cy="235792"/>
            </a:xfrm>
            <a:custGeom>
              <a:avLst/>
              <a:gdLst>
                <a:gd name="T0" fmla="*/ 151 w 873"/>
                <a:gd name="T1" fmla="*/ 389 h 723"/>
                <a:gd name="T2" fmla="*/ 88 w 873"/>
                <a:gd name="T3" fmla="*/ 577 h 723"/>
                <a:gd name="T4" fmla="*/ 121 w 873"/>
                <a:gd name="T5" fmla="*/ 603 h 723"/>
                <a:gd name="T6" fmla="*/ 174 w 873"/>
                <a:gd name="T7" fmla="*/ 635 h 723"/>
                <a:gd name="T8" fmla="*/ 233 w 873"/>
                <a:gd name="T9" fmla="*/ 602 h 723"/>
                <a:gd name="T10" fmla="*/ 608 w 873"/>
                <a:gd name="T11" fmla="*/ 723 h 723"/>
                <a:gd name="T12" fmla="*/ 628 w 873"/>
                <a:gd name="T13" fmla="*/ 668 h 723"/>
                <a:gd name="T14" fmla="*/ 789 w 873"/>
                <a:gd name="T15" fmla="*/ 722 h 723"/>
                <a:gd name="T16" fmla="*/ 786 w 873"/>
                <a:gd name="T17" fmla="*/ 671 h 723"/>
                <a:gd name="T18" fmla="*/ 873 w 873"/>
                <a:gd name="T19" fmla="*/ 668 h 723"/>
                <a:gd name="T20" fmla="*/ 819 w 873"/>
                <a:gd name="T21" fmla="*/ 363 h 723"/>
                <a:gd name="T22" fmla="*/ 779 w 873"/>
                <a:gd name="T23" fmla="*/ 151 h 723"/>
                <a:gd name="T24" fmla="*/ 763 w 873"/>
                <a:gd name="T25" fmla="*/ 90 h 723"/>
                <a:gd name="T26" fmla="*/ 688 w 873"/>
                <a:gd name="T27" fmla="*/ 109 h 723"/>
                <a:gd name="T28" fmla="*/ 695 w 873"/>
                <a:gd name="T29" fmla="*/ 158 h 723"/>
                <a:gd name="T30" fmla="*/ 455 w 873"/>
                <a:gd name="T31" fmla="*/ 137 h 723"/>
                <a:gd name="T32" fmla="*/ 208 w 873"/>
                <a:gd name="T33" fmla="*/ 111 h 723"/>
                <a:gd name="T34" fmla="*/ 48 w 873"/>
                <a:gd name="T35" fmla="*/ 0 h 723"/>
                <a:gd name="T36" fmla="*/ 24 w 873"/>
                <a:gd name="T37" fmla="*/ 57 h 723"/>
                <a:gd name="T38" fmla="*/ 80 w 873"/>
                <a:gd name="T39" fmla="*/ 74 h 723"/>
                <a:gd name="T40" fmla="*/ 76 w 873"/>
                <a:gd name="T41" fmla="*/ 217 h 723"/>
                <a:gd name="T42" fmla="*/ 1 w 873"/>
                <a:gd name="T43" fmla="*/ 304 h 723"/>
                <a:gd name="T44" fmla="*/ 0 w 873"/>
                <a:gd name="T45" fmla="*/ 348 h 723"/>
                <a:gd name="T46" fmla="*/ 106 w 873"/>
                <a:gd name="T47" fmla="*/ 398 h 723"/>
                <a:gd name="T48" fmla="*/ 151 w 873"/>
                <a:gd name="T49" fmla="*/ 389 h 7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73" h="723">
                  <a:moveTo>
                    <a:pt x="151" y="389"/>
                  </a:moveTo>
                  <a:cubicBezTo>
                    <a:pt x="88" y="577"/>
                    <a:pt x="88" y="577"/>
                    <a:pt x="88" y="577"/>
                  </a:cubicBezTo>
                  <a:cubicBezTo>
                    <a:pt x="121" y="603"/>
                    <a:pt x="121" y="603"/>
                    <a:pt x="121" y="603"/>
                  </a:cubicBezTo>
                  <a:cubicBezTo>
                    <a:pt x="174" y="635"/>
                    <a:pt x="174" y="635"/>
                    <a:pt x="174" y="635"/>
                  </a:cubicBezTo>
                  <a:cubicBezTo>
                    <a:pt x="233" y="602"/>
                    <a:pt x="233" y="602"/>
                    <a:pt x="233" y="602"/>
                  </a:cubicBezTo>
                  <a:cubicBezTo>
                    <a:pt x="608" y="723"/>
                    <a:pt x="608" y="723"/>
                    <a:pt x="608" y="723"/>
                  </a:cubicBezTo>
                  <a:cubicBezTo>
                    <a:pt x="628" y="668"/>
                    <a:pt x="628" y="668"/>
                    <a:pt x="628" y="668"/>
                  </a:cubicBezTo>
                  <a:cubicBezTo>
                    <a:pt x="789" y="722"/>
                    <a:pt x="789" y="722"/>
                    <a:pt x="789" y="722"/>
                  </a:cubicBezTo>
                  <a:cubicBezTo>
                    <a:pt x="786" y="671"/>
                    <a:pt x="786" y="671"/>
                    <a:pt x="786" y="671"/>
                  </a:cubicBezTo>
                  <a:cubicBezTo>
                    <a:pt x="873" y="668"/>
                    <a:pt x="873" y="668"/>
                    <a:pt x="873" y="668"/>
                  </a:cubicBezTo>
                  <a:cubicBezTo>
                    <a:pt x="819" y="363"/>
                    <a:pt x="819" y="363"/>
                    <a:pt x="819" y="363"/>
                  </a:cubicBezTo>
                  <a:cubicBezTo>
                    <a:pt x="779" y="151"/>
                    <a:pt x="779" y="151"/>
                    <a:pt x="779" y="151"/>
                  </a:cubicBezTo>
                  <a:cubicBezTo>
                    <a:pt x="763" y="90"/>
                    <a:pt x="763" y="90"/>
                    <a:pt x="763" y="90"/>
                  </a:cubicBezTo>
                  <a:cubicBezTo>
                    <a:pt x="688" y="109"/>
                    <a:pt x="688" y="109"/>
                    <a:pt x="688" y="109"/>
                  </a:cubicBezTo>
                  <a:cubicBezTo>
                    <a:pt x="695" y="158"/>
                    <a:pt x="695" y="158"/>
                    <a:pt x="695" y="158"/>
                  </a:cubicBezTo>
                  <a:cubicBezTo>
                    <a:pt x="455" y="137"/>
                    <a:pt x="455" y="137"/>
                    <a:pt x="455" y="137"/>
                  </a:cubicBezTo>
                  <a:cubicBezTo>
                    <a:pt x="208" y="111"/>
                    <a:pt x="208" y="111"/>
                    <a:pt x="208" y="111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24" y="57"/>
                    <a:pt x="24" y="57"/>
                    <a:pt x="24" y="57"/>
                  </a:cubicBezTo>
                  <a:cubicBezTo>
                    <a:pt x="24" y="57"/>
                    <a:pt x="76" y="64"/>
                    <a:pt x="80" y="74"/>
                  </a:cubicBezTo>
                  <a:cubicBezTo>
                    <a:pt x="83" y="85"/>
                    <a:pt x="76" y="217"/>
                    <a:pt x="76" y="217"/>
                  </a:cubicBezTo>
                  <a:cubicBezTo>
                    <a:pt x="1" y="304"/>
                    <a:pt x="1" y="304"/>
                    <a:pt x="1" y="304"/>
                  </a:cubicBezTo>
                  <a:cubicBezTo>
                    <a:pt x="0" y="348"/>
                    <a:pt x="0" y="348"/>
                    <a:pt x="0" y="348"/>
                  </a:cubicBezTo>
                  <a:cubicBezTo>
                    <a:pt x="106" y="398"/>
                    <a:pt x="106" y="398"/>
                    <a:pt x="106" y="398"/>
                  </a:cubicBezTo>
                  <a:cubicBezTo>
                    <a:pt x="151" y="389"/>
                    <a:pt x="151" y="389"/>
                    <a:pt x="151" y="38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5" name="Freeform 54"/>
            <p:cNvSpPr>
              <a:spLocks/>
            </p:cNvSpPr>
            <p:nvPr/>
          </p:nvSpPr>
          <p:spPr bwMode="auto">
            <a:xfrm>
              <a:off x="2587591" y="4175970"/>
              <a:ext cx="293513" cy="246554"/>
            </a:xfrm>
            <a:custGeom>
              <a:avLst/>
              <a:gdLst>
                <a:gd name="T0" fmla="*/ 261 w 800"/>
                <a:gd name="T1" fmla="*/ 621 h 755"/>
                <a:gd name="T2" fmla="*/ 426 w 800"/>
                <a:gd name="T3" fmla="*/ 736 h 755"/>
                <a:gd name="T4" fmla="*/ 678 w 800"/>
                <a:gd name="T5" fmla="*/ 755 h 755"/>
                <a:gd name="T6" fmla="*/ 668 w 800"/>
                <a:gd name="T7" fmla="*/ 313 h 755"/>
                <a:gd name="T8" fmla="*/ 800 w 800"/>
                <a:gd name="T9" fmla="*/ 113 h 755"/>
                <a:gd name="T10" fmla="*/ 742 w 800"/>
                <a:gd name="T11" fmla="*/ 104 h 755"/>
                <a:gd name="T12" fmla="*/ 644 w 800"/>
                <a:gd name="T13" fmla="*/ 86 h 755"/>
                <a:gd name="T14" fmla="*/ 605 w 800"/>
                <a:gd name="T15" fmla="*/ 59 h 755"/>
                <a:gd name="T16" fmla="*/ 539 w 800"/>
                <a:gd name="T17" fmla="*/ 0 h 755"/>
                <a:gd name="T18" fmla="*/ 508 w 800"/>
                <a:gd name="T19" fmla="*/ 35 h 755"/>
                <a:gd name="T20" fmla="*/ 285 w 800"/>
                <a:gd name="T21" fmla="*/ 23 h 755"/>
                <a:gd name="T22" fmla="*/ 118 w 800"/>
                <a:gd name="T23" fmla="*/ 273 h 755"/>
                <a:gd name="T24" fmla="*/ 0 w 800"/>
                <a:gd name="T25" fmla="*/ 496 h 755"/>
                <a:gd name="T26" fmla="*/ 63 w 800"/>
                <a:gd name="T27" fmla="*/ 560 h 755"/>
                <a:gd name="T28" fmla="*/ 110 w 800"/>
                <a:gd name="T29" fmla="*/ 546 h 755"/>
                <a:gd name="T30" fmla="*/ 261 w 800"/>
                <a:gd name="T31" fmla="*/ 621 h 7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00" h="755">
                  <a:moveTo>
                    <a:pt x="261" y="621"/>
                  </a:moveTo>
                  <a:cubicBezTo>
                    <a:pt x="426" y="736"/>
                    <a:pt x="426" y="736"/>
                    <a:pt x="426" y="736"/>
                  </a:cubicBezTo>
                  <a:cubicBezTo>
                    <a:pt x="678" y="755"/>
                    <a:pt x="678" y="755"/>
                    <a:pt x="678" y="755"/>
                  </a:cubicBezTo>
                  <a:cubicBezTo>
                    <a:pt x="668" y="313"/>
                    <a:pt x="668" y="313"/>
                    <a:pt x="668" y="313"/>
                  </a:cubicBezTo>
                  <a:cubicBezTo>
                    <a:pt x="800" y="113"/>
                    <a:pt x="800" y="113"/>
                    <a:pt x="800" y="113"/>
                  </a:cubicBezTo>
                  <a:cubicBezTo>
                    <a:pt x="742" y="104"/>
                    <a:pt x="742" y="104"/>
                    <a:pt x="742" y="104"/>
                  </a:cubicBezTo>
                  <a:cubicBezTo>
                    <a:pt x="644" y="86"/>
                    <a:pt x="644" y="86"/>
                    <a:pt x="644" y="86"/>
                  </a:cubicBezTo>
                  <a:cubicBezTo>
                    <a:pt x="605" y="59"/>
                    <a:pt x="605" y="59"/>
                    <a:pt x="605" y="59"/>
                  </a:cubicBezTo>
                  <a:cubicBezTo>
                    <a:pt x="539" y="0"/>
                    <a:pt x="539" y="0"/>
                    <a:pt x="539" y="0"/>
                  </a:cubicBezTo>
                  <a:cubicBezTo>
                    <a:pt x="508" y="35"/>
                    <a:pt x="508" y="35"/>
                    <a:pt x="508" y="35"/>
                  </a:cubicBezTo>
                  <a:cubicBezTo>
                    <a:pt x="285" y="23"/>
                    <a:pt x="285" y="23"/>
                    <a:pt x="285" y="23"/>
                  </a:cubicBezTo>
                  <a:cubicBezTo>
                    <a:pt x="118" y="273"/>
                    <a:pt x="118" y="273"/>
                    <a:pt x="118" y="273"/>
                  </a:cubicBezTo>
                  <a:cubicBezTo>
                    <a:pt x="0" y="496"/>
                    <a:pt x="0" y="496"/>
                    <a:pt x="0" y="496"/>
                  </a:cubicBezTo>
                  <a:cubicBezTo>
                    <a:pt x="63" y="560"/>
                    <a:pt x="63" y="560"/>
                    <a:pt x="63" y="560"/>
                  </a:cubicBezTo>
                  <a:cubicBezTo>
                    <a:pt x="63" y="560"/>
                    <a:pt x="87" y="545"/>
                    <a:pt x="110" y="546"/>
                  </a:cubicBezTo>
                  <a:cubicBezTo>
                    <a:pt x="132" y="548"/>
                    <a:pt x="263" y="623"/>
                    <a:pt x="261" y="621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6" name="Freeform 55"/>
            <p:cNvSpPr>
              <a:spLocks/>
            </p:cNvSpPr>
            <p:nvPr/>
          </p:nvSpPr>
          <p:spPr bwMode="auto">
            <a:xfrm>
              <a:off x="3574757" y="4331534"/>
              <a:ext cx="410038" cy="330693"/>
            </a:xfrm>
            <a:custGeom>
              <a:avLst/>
              <a:gdLst>
                <a:gd name="T0" fmla="*/ 56 w 1119"/>
                <a:gd name="T1" fmla="*/ 552 h 1015"/>
                <a:gd name="T2" fmla="*/ 98 w 1119"/>
                <a:gd name="T3" fmla="*/ 528 h 1015"/>
                <a:gd name="T4" fmla="*/ 117 w 1119"/>
                <a:gd name="T5" fmla="*/ 559 h 1015"/>
                <a:gd name="T6" fmla="*/ 162 w 1119"/>
                <a:gd name="T7" fmla="*/ 556 h 1015"/>
                <a:gd name="T8" fmla="*/ 181 w 1119"/>
                <a:gd name="T9" fmla="*/ 533 h 1015"/>
                <a:gd name="T10" fmla="*/ 313 w 1119"/>
                <a:gd name="T11" fmla="*/ 545 h 1015"/>
                <a:gd name="T12" fmla="*/ 376 w 1119"/>
                <a:gd name="T13" fmla="*/ 533 h 1015"/>
                <a:gd name="T14" fmla="*/ 430 w 1119"/>
                <a:gd name="T15" fmla="*/ 557 h 1015"/>
                <a:gd name="T16" fmla="*/ 484 w 1119"/>
                <a:gd name="T17" fmla="*/ 688 h 1015"/>
                <a:gd name="T18" fmla="*/ 613 w 1119"/>
                <a:gd name="T19" fmla="*/ 818 h 1015"/>
                <a:gd name="T20" fmla="*/ 1000 w 1119"/>
                <a:gd name="T21" fmla="*/ 1015 h 1015"/>
                <a:gd name="T22" fmla="*/ 1016 w 1119"/>
                <a:gd name="T23" fmla="*/ 984 h 1015"/>
                <a:gd name="T24" fmla="*/ 987 w 1119"/>
                <a:gd name="T25" fmla="*/ 937 h 1015"/>
                <a:gd name="T26" fmla="*/ 1119 w 1119"/>
                <a:gd name="T27" fmla="*/ 801 h 1015"/>
                <a:gd name="T28" fmla="*/ 1037 w 1119"/>
                <a:gd name="T29" fmla="*/ 724 h 1015"/>
                <a:gd name="T30" fmla="*/ 957 w 1119"/>
                <a:gd name="T31" fmla="*/ 354 h 1015"/>
                <a:gd name="T32" fmla="*/ 971 w 1119"/>
                <a:gd name="T33" fmla="*/ 217 h 1015"/>
                <a:gd name="T34" fmla="*/ 990 w 1119"/>
                <a:gd name="T35" fmla="*/ 117 h 1015"/>
                <a:gd name="T36" fmla="*/ 976 w 1119"/>
                <a:gd name="T37" fmla="*/ 41 h 1015"/>
                <a:gd name="T38" fmla="*/ 936 w 1119"/>
                <a:gd name="T39" fmla="*/ 10 h 1015"/>
                <a:gd name="T40" fmla="*/ 889 w 1119"/>
                <a:gd name="T41" fmla="*/ 11 h 1015"/>
                <a:gd name="T42" fmla="*/ 647 w 1119"/>
                <a:gd name="T43" fmla="*/ 123 h 1015"/>
                <a:gd name="T44" fmla="*/ 319 w 1119"/>
                <a:gd name="T45" fmla="*/ 290 h 1015"/>
                <a:gd name="T46" fmla="*/ 19 w 1119"/>
                <a:gd name="T47" fmla="*/ 269 h 1015"/>
                <a:gd name="T48" fmla="*/ 32 w 1119"/>
                <a:gd name="T49" fmla="*/ 404 h 1015"/>
                <a:gd name="T50" fmla="*/ 0 w 1119"/>
                <a:gd name="T51" fmla="*/ 439 h 1015"/>
                <a:gd name="T52" fmla="*/ 58 w 1119"/>
                <a:gd name="T53" fmla="*/ 511 h 1015"/>
                <a:gd name="T54" fmla="*/ 56 w 1119"/>
                <a:gd name="T55" fmla="*/ 552 h 10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119" h="1015">
                  <a:moveTo>
                    <a:pt x="56" y="552"/>
                  </a:moveTo>
                  <a:cubicBezTo>
                    <a:pt x="56" y="552"/>
                    <a:pt x="85" y="525"/>
                    <a:pt x="98" y="528"/>
                  </a:cubicBezTo>
                  <a:cubicBezTo>
                    <a:pt x="110" y="531"/>
                    <a:pt x="106" y="554"/>
                    <a:pt x="117" y="559"/>
                  </a:cubicBezTo>
                  <a:cubicBezTo>
                    <a:pt x="128" y="565"/>
                    <a:pt x="152" y="561"/>
                    <a:pt x="162" y="556"/>
                  </a:cubicBezTo>
                  <a:cubicBezTo>
                    <a:pt x="172" y="551"/>
                    <a:pt x="159" y="542"/>
                    <a:pt x="181" y="533"/>
                  </a:cubicBezTo>
                  <a:cubicBezTo>
                    <a:pt x="204" y="524"/>
                    <a:pt x="284" y="547"/>
                    <a:pt x="313" y="545"/>
                  </a:cubicBezTo>
                  <a:cubicBezTo>
                    <a:pt x="343" y="544"/>
                    <a:pt x="358" y="531"/>
                    <a:pt x="376" y="533"/>
                  </a:cubicBezTo>
                  <a:cubicBezTo>
                    <a:pt x="394" y="535"/>
                    <a:pt x="430" y="557"/>
                    <a:pt x="430" y="557"/>
                  </a:cubicBezTo>
                  <a:cubicBezTo>
                    <a:pt x="484" y="688"/>
                    <a:pt x="484" y="688"/>
                    <a:pt x="484" y="688"/>
                  </a:cubicBezTo>
                  <a:cubicBezTo>
                    <a:pt x="484" y="688"/>
                    <a:pt x="590" y="808"/>
                    <a:pt x="613" y="818"/>
                  </a:cubicBezTo>
                  <a:cubicBezTo>
                    <a:pt x="635" y="829"/>
                    <a:pt x="1000" y="1015"/>
                    <a:pt x="1000" y="1015"/>
                  </a:cubicBezTo>
                  <a:cubicBezTo>
                    <a:pt x="1016" y="984"/>
                    <a:pt x="1016" y="984"/>
                    <a:pt x="1016" y="984"/>
                  </a:cubicBezTo>
                  <a:cubicBezTo>
                    <a:pt x="987" y="937"/>
                    <a:pt x="987" y="937"/>
                    <a:pt x="987" y="937"/>
                  </a:cubicBezTo>
                  <a:cubicBezTo>
                    <a:pt x="1119" y="801"/>
                    <a:pt x="1119" y="801"/>
                    <a:pt x="1119" y="801"/>
                  </a:cubicBezTo>
                  <a:cubicBezTo>
                    <a:pt x="1119" y="801"/>
                    <a:pt x="1073" y="789"/>
                    <a:pt x="1037" y="724"/>
                  </a:cubicBezTo>
                  <a:cubicBezTo>
                    <a:pt x="1001" y="660"/>
                    <a:pt x="961" y="431"/>
                    <a:pt x="957" y="354"/>
                  </a:cubicBezTo>
                  <a:cubicBezTo>
                    <a:pt x="953" y="277"/>
                    <a:pt x="971" y="217"/>
                    <a:pt x="971" y="217"/>
                  </a:cubicBezTo>
                  <a:cubicBezTo>
                    <a:pt x="971" y="217"/>
                    <a:pt x="990" y="144"/>
                    <a:pt x="990" y="117"/>
                  </a:cubicBezTo>
                  <a:cubicBezTo>
                    <a:pt x="990" y="91"/>
                    <a:pt x="986" y="57"/>
                    <a:pt x="976" y="41"/>
                  </a:cubicBezTo>
                  <a:cubicBezTo>
                    <a:pt x="966" y="24"/>
                    <a:pt x="950" y="14"/>
                    <a:pt x="936" y="10"/>
                  </a:cubicBezTo>
                  <a:cubicBezTo>
                    <a:pt x="922" y="5"/>
                    <a:pt x="935" y="0"/>
                    <a:pt x="889" y="11"/>
                  </a:cubicBezTo>
                  <a:cubicBezTo>
                    <a:pt x="843" y="22"/>
                    <a:pt x="647" y="123"/>
                    <a:pt x="647" y="123"/>
                  </a:cubicBezTo>
                  <a:cubicBezTo>
                    <a:pt x="319" y="290"/>
                    <a:pt x="319" y="290"/>
                    <a:pt x="319" y="290"/>
                  </a:cubicBezTo>
                  <a:cubicBezTo>
                    <a:pt x="19" y="269"/>
                    <a:pt x="19" y="269"/>
                    <a:pt x="19" y="269"/>
                  </a:cubicBezTo>
                  <a:cubicBezTo>
                    <a:pt x="32" y="404"/>
                    <a:pt x="32" y="404"/>
                    <a:pt x="32" y="404"/>
                  </a:cubicBezTo>
                  <a:cubicBezTo>
                    <a:pt x="0" y="439"/>
                    <a:pt x="0" y="439"/>
                    <a:pt x="0" y="439"/>
                  </a:cubicBezTo>
                  <a:cubicBezTo>
                    <a:pt x="58" y="511"/>
                    <a:pt x="58" y="511"/>
                    <a:pt x="58" y="511"/>
                  </a:cubicBezTo>
                  <a:cubicBezTo>
                    <a:pt x="56" y="552"/>
                    <a:pt x="56" y="552"/>
                    <a:pt x="56" y="55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>
              <a:solidFill>
                <a:schemeClr val="bg1"/>
              </a:solidFill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7" name="Freeform 56"/>
            <p:cNvSpPr>
              <a:spLocks/>
            </p:cNvSpPr>
            <p:nvPr/>
          </p:nvSpPr>
          <p:spPr bwMode="auto">
            <a:xfrm>
              <a:off x="3364792" y="4630918"/>
              <a:ext cx="571632" cy="298407"/>
            </a:xfrm>
            <a:custGeom>
              <a:avLst/>
              <a:gdLst>
                <a:gd name="T0" fmla="*/ 571 w 1560"/>
                <a:gd name="T1" fmla="*/ 873 h 915"/>
                <a:gd name="T2" fmla="*/ 663 w 1560"/>
                <a:gd name="T3" fmla="*/ 915 h 915"/>
                <a:gd name="T4" fmla="*/ 687 w 1560"/>
                <a:gd name="T5" fmla="*/ 800 h 915"/>
                <a:gd name="T6" fmla="*/ 941 w 1560"/>
                <a:gd name="T7" fmla="*/ 607 h 915"/>
                <a:gd name="T8" fmla="*/ 1049 w 1560"/>
                <a:gd name="T9" fmla="*/ 527 h 915"/>
                <a:gd name="T10" fmla="*/ 1470 w 1560"/>
                <a:gd name="T11" fmla="*/ 108 h 915"/>
                <a:gd name="T12" fmla="*/ 1552 w 1560"/>
                <a:gd name="T13" fmla="*/ 113 h 915"/>
                <a:gd name="T14" fmla="*/ 1560 w 1560"/>
                <a:gd name="T15" fmla="*/ 92 h 915"/>
                <a:gd name="T16" fmla="*/ 1384 w 1560"/>
                <a:gd name="T17" fmla="*/ 0 h 915"/>
                <a:gd name="T18" fmla="*/ 1340 w 1560"/>
                <a:gd name="T19" fmla="*/ 55 h 915"/>
                <a:gd name="T20" fmla="*/ 1279 w 1560"/>
                <a:gd name="T21" fmla="*/ 77 h 915"/>
                <a:gd name="T22" fmla="*/ 1195 w 1560"/>
                <a:gd name="T23" fmla="*/ 138 h 915"/>
                <a:gd name="T24" fmla="*/ 1157 w 1560"/>
                <a:gd name="T25" fmla="*/ 145 h 915"/>
                <a:gd name="T26" fmla="*/ 1073 w 1560"/>
                <a:gd name="T27" fmla="*/ 189 h 915"/>
                <a:gd name="T28" fmla="*/ 665 w 1560"/>
                <a:gd name="T29" fmla="*/ 197 h 915"/>
                <a:gd name="T30" fmla="*/ 637 w 1560"/>
                <a:gd name="T31" fmla="*/ 160 h 915"/>
                <a:gd name="T32" fmla="*/ 191 w 1560"/>
                <a:gd name="T33" fmla="*/ 291 h 915"/>
                <a:gd name="T34" fmla="*/ 0 w 1560"/>
                <a:gd name="T35" fmla="*/ 402 h 915"/>
                <a:gd name="T36" fmla="*/ 53 w 1560"/>
                <a:gd name="T37" fmla="*/ 435 h 915"/>
                <a:gd name="T38" fmla="*/ 80 w 1560"/>
                <a:gd name="T39" fmla="*/ 477 h 915"/>
                <a:gd name="T40" fmla="*/ 120 w 1560"/>
                <a:gd name="T41" fmla="*/ 477 h 915"/>
                <a:gd name="T42" fmla="*/ 155 w 1560"/>
                <a:gd name="T43" fmla="*/ 532 h 915"/>
                <a:gd name="T44" fmla="*/ 155 w 1560"/>
                <a:gd name="T45" fmla="*/ 562 h 915"/>
                <a:gd name="T46" fmla="*/ 214 w 1560"/>
                <a:gd name="T47" fmla="*/ 602 h 915"/>
                <a:gd name="T48" fmla="*/ 292 w 1560"/>
                <a:gd name="T49" fmla="*/ 608 h 915"/>
                <a:gd name="T50" fmla="*/ 300 w 1560"/>
                <a:gd name="T51" fmla="*/ 645 h 915"/>
                <a:gd name="T52" fmla="*/ 390 w 1560"/>
                <a:gd name="T53" fmla="*/ 663 h 915"/>
                <a:gd name="T54" fmla="*/ 416 w 1560"/>
                <a:gd name="T55" fmla="*/ 691 h 915"/>
                <a:gd name="T56" fmla="*/ 468 w 1560"/>
                <a:gd name="T57" fmla="*/ 715 h 915"/>
                <a:gd name="T58" fmla="*/ 487 w 1560"/>
                <a:gd name="T59" fmla="*/ 757 h 915"/>
                <a:gd name="T60" fmla="*/ 571 w 1560"/>
                <a:gd name="T61" fmla="*/ 873 h 9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560" h="915">
                  <a:moveTo>
                    <a:pt x="571" y="873"/>
                  </a:moveTo>
                  <a:cubicBezTo>
                    <a:pt x="663" y="915"/>
                    <a:pt x="663" y="915"/>
                    <a:pt x="663" y="915"/>
                  </a:cubicBezTo>
                  <a:cubicBezTo>
                    <a:pt x="687" y="800"/>
                    <a:pt x="687" y="800"/>
                    <a:pt x="687" y="800"/>
                  </a:cubicBezTo>
                  <a:cubicBezTo>
                    <a:pt x="941" y="607"/>
                    <a:pt x="941" y="607"/>
                    <a:pt x="941" y="607"/>
                  </a:cubicBezTo>
                  <a:cubicBezTo>
                    <a:pt x="1049" y="527"/>
                    <a:pt x="1049" y="527"/>
                    <a:pt x="1049" y="527"/>
                  </a:cubicBezTo>
                  <a:cubicBezTo>
                    <a:pt x="1470" y="108"/>
                    <a:pt x="1470" y="108"/>
                    <a:pt x="1470" y="108"/>
                  </a:cubicBezTo>
                  <a:cubicBezTo>
                    <a:pt x="1552" y="113"/>
                    <a:pt x="1552" y="113"/>
                    <a:pt x="1552" y="113"/>
                  </a:cubicBezTo>
                  <a:cubicBezTo>
                    <a:pt x="1560" y="92"/>
                    <a:pt x="1560" y="92"/>
                    <a:pt x="1560" y="92"/>
                  </a:cubicBezTo>
                  <a:cubicBezTo>
                    <a:pt x="1384" y="0"/>
                    <a:pt x="1384" y="0"/>
                    <a:pt x="1384" y="0"/>
                  </a:cubicBezTo>
                  <a:cubicBezTo>
                    <a:pt x="1384" y="0"/>
                    <a:pt x="1365" y="41"/>
                    <a:pt x="1340" y="55"/>
                  </a:cubicBezTo>
                  <a:cubicBezTo>
                    <a:pt x="1316" y="69"/>
                    <a:pt x="1301" y="67"/>
                    <a:pt x="1279" y="77"/>
                  </a:cubicBezTo>
                  <a:cubicBezTo>
                    <a:pt x="1256" y="86"/>
                    <a:pt x="1212" y="134"/>
                    <a:pt x="1195" y="138"/>
                  </a:cubicBezTo>
                  <a:cubicBezTo>
                    <a:pt x="1178" y="141"/>
                    <a:pt x="1176" y="139"/>
                    <a:pt x="1157" y="145"/>
                  </a:cubicBezTo>
                  <a:cubicBezTo>
                    <a:pt x="1138" y="151"/>
                    <a:pt x="1131" y="182"/>
                    <a:pt x="1073" y="189"/>
                  </a:cubicBezTo>
                  <a:cubicBezTo>
                    <a:pt x="1016" y="196"/>
                    <a:pt x="687" y="227"/>
                    <a:pt x="665" y="197"/>
                  </a:cubicBezTo>
                  <a:cubicBezTo>
                    <a:pt x="637" y="160"/>
                    <a:pt x="637" y="160"/>
                    <a:pt x="637" y="160"/>
                  </a:cubicBezTo>
                  <a:cubicBezTo>
                    <a:pt x="191" y="291"/>
                    <a:pt x="191" y="291"/>
                    <a:pt x="191" y="291"/>
                  </a:cubicBezTo>
                  <a:cubicBezTo>
                    <a:pt x="191" y="291"/>
                    <a:pt x="41" y="370"/>
                    <a:pt x="0" y="402"/>
                  </a:cubicBezTo>
                  <a:cubicBezTo>
                    <a:pt x="13" y="429"/>
                    <a:pt x="46" y="442"/>
                    <a:pt x="53" y="435"/>
                  </a:cubicBezTo>
                  <a:cubicBezTo>
                    <a:pt x="67" y="419"/>
                    <a:pt x="80" y="477"/>
                    <a:pt x="80" y="477"/>
                  </a:cubicBezTo>
                  <a:cubicBezTo>
                    <a:pt x="120" y="477"/>
                    <a:pt x="120" y="477"/>
                    <a:pt x="120" y="477"/>
                  </a:cubicBezTo>
                  <a:cubicBezTo>
                    <a:pt x="155" y="532"/>
                    <a:pt x="155" y="532"/>
                    <a:pt x="155" y="532"/>
                  </a:cubicBezTo>
                  <a:cubicBezTo>
                    <a:pt x="155" y="532"/>
                    <a:pt x="148" y="552"/>
                    <a:pt x="155" y="562"/>
                  </a:cubicBezTo>
                  <a:cubicBezTo>
                    <a:pt x="162" y="573"/>
                    <a:pt x="191" y="596"/>
                    <a:pt x="214" y="602"/>
                  </a:cubicBezTo>
                  <a:cubicBezTo>
                    <a:pt x="237" y="608"/>
                    <a:pt x="292" y="608"/>
                    <a:pt x="292" y="608"/>
                  </a:cubicBezTo>
                  <a:cubicBezTo>
                    <a:pt x="300" y="645"/>
                    <a:pt x="300" y="645"/>
                    <a:pt x="300" y="645"/>
                  </a:cubicBezTo>
                  <a:cubicBezTo>
                    <a:pt x="390" y="663"/>
                    <a:pt x="390" y="663"/>
                    <a:pt x="390" y="663"/>
                  </a:cubicBezTo>
                  <a:cubicBezTo>
                    <a:pt x="416" y="691"/>
                    <a:pt x="416" y="691"/>
                    <a:pt x="416" y="691"/>
                  </a:cubicBezTo>
                  <a:cubicBezTo>
                    <a:pt x="468" y="715"/>
                    <a:pt x="468" y="715"/>
                    <a:pt x="468" y="715"/>
                  </a:cubicBezTo>
                  <a:cubicBezTo>
                    <a:pt x="487" y="757"/>
                    <a:pt x="487" y="757"/>
                    <a:pt x="487" y="757"/>
                  </a:cubicBezTo>
                  <a:cubicBezTo>
                    <a:pt x="571" y="873"/>
                    <a:pt x="571" y="873"/>
                    <a:pt x="571" y="87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8" name="Freeform 57"/>
            <p:cNvSpPr>
              <a:spLocks noEditPoints="1"/>
            </p:cNvSpPr>
            <p:nvPr/>
          </p:nvSpPr>
          <p:spPr bwMode="auto">
            <a:xfrm>
              <a:off x="2938268" y="4251305"/>
              <a:ext cx="656278" cy="293514"/>
            </a:xfrm>
            <a:custGeom>
              <a:avLst/>
              <a:gdLst>
                <a:gd name="T0" fmla="*/ 36 w 1791"/>
                <a:gd name="T1" fmla="*/ 547 h 898"/>
                <a:gd name="T2" fmla="*/ 24 w 1791"/>
                <a:gd name="T3" fmla="*/ 484 h 898"/>
                <a:gd name="T4" fmla="*/ 0 w 1791"/>
                <a:gd name="T5" fmla="*/ 279 h 898"/>
                <a:gd name="T6" fmla="*/ 0 w 1791"/>
                <a:gd name="T7" fmla="*/ 49 h 898"/>
                <a:gd name="T8" fmla="*/ 64 w 1791"/>
                <a:gd name="T9" fmla="*/ 30 h 898"/>
                <a:gd name="T10" fmla="*/ 122 w 1791"/>
                <a:gd name="T11" fmla="*/ 48 h 898"/>
                <a:gd name="T12" fmla="*/ 166 w 1791"/>
                <a:gd name="T13" fmla="*/ 68 h 898"/>
                <a:gd name="T14" fmla="*/ 221 w 1791"/>
                <a:gd name="T15" fmla="*/ 120 h 898"/>
                <a:gd name="T16" fmla="*/ 323 w 1791"/>
                <a:gd name="T17" fmla="*/ 0 h 898"/>
                <a:gd name="T18" fmla="*/ 647 w 1791"/>
                <a:gd name="T19" fmla="*/ 257 h 898"/>
                <a:gd name="T20" fmla="*/ 698 w 1791"/>
                <a:gd name="T21" fmla="*/ 153 h 898"/>
                <a:gd name="T22" fmla="*/ 806 w 1791"/>
                <a:gd name="T23" fmla="*/ 139 h 898"/>
                <a:gd name="T24" fmla="*/ 1166 w 1791"/>
                <a:gd name="T25" fmla="*/ 427 h 898"/>
                <a:gd name="T26" fmla="*/ 1418 w 1791"/>
                <a:gd name="T27" fmla="*/ 532 h 898"/>
                <a:gd name="T28" fmla="*/ 1497 w 1791"/>
                <a:gd name="T29" fmla="*/ 549 h 898"/>
                <a:gd name="T30" fmla="*/ 1703 w 1791"/>
                <a:gd name="T31" fmla="*/ 515 h 898"/>
                <a:gd name="T32" fmla="*/ 1762 w 1791"/>
                <a:gd name="T33" fmla="*/ 515 h 898"/>
                <a:gd name="T34" fmla="*/ 1766 w 1791"/>
                <a:gd name="T35" fmla="*/ 653 h 898"/>
                <a:gd name="T36" fmla="*/ 1745 w 1791"/>
                <a:gd name="T37" fmla="*/ 685 h 898"/>
                <a:gd name="T38" fmla="*/ 1791 w 1791"/>
                <a:gd name="T39" fmla="*/ 754 h 898"/>
                <a:gd name="T40" fmla="*/ 1789 w 1791"/>
                <a:gd name="T41" fmla="*/ 802 h 898"/>
                <a:gd name="T42" fmla="*/ 1607 w 1791"/>
                <a:gd name="T43" fmla="*/ 794 h 898"/>
                <a:gd name="T44" fmla="*/ 1515 w 1791"/>
                <a:gd name="T45" fmla="*/ 784 h 898"/>
                <a:gd name="T46" fmla="*/ 1387 w 1791"/>
                <a:gd name="T47" fmla="*/ 836 h 898"/>
                <a:gd name="T48" fmla="*/ 1244 w 1791"/>
                <a:gd name="T49" fmla="*/ 839 h 898"/>
                <a:gd name="T50" fmla="*/ 1185 w 1791"/>
                <a:gd name="T51" fmla="*/ 896 h 898"/>
                <a:gd name="T52" fmla="*/ 1117 w 1791"/>
                <a:gd name="T53" fmla="*/ 852 h 898"/>
                <a:gd name="T54" fmla="*/ 1141 w 1791"/>
                <a:gd name="T55" fmla="*/ 718 h 898"/>
                <a:gd name="T56" fmla="*/ 1100 w 1791"/>
                <a:gd name="T57" fmla="*/ 686 h 898"/>
                <a:gd name="T58" fmla="*/ 1099 w 1791"/>
                <a:gd name="T59" fmla="*/ 649 h 898"/>
                <a:gd name="T60" fmla="*/ 548 w 1791"/>
                <a:gd name="T61" fmla="*/ 595 h 898"/>
                <a:gd name="T62" fmla="*/ 538 w 1791"/>
                <a:gd name="T63" fmla="*/ 619 h 898"/>
                <a:gd name="T64" fmla="*/ 327 w 1791"/>
                <a:gd name="T65" fmla="*/ 586 h 898"/>
                <a:gd name="T66" fmla="*/ 321 w 1791"/>
                <a:gd name="T67" fmla="*/ 532 h 898"/>
                <a:gd name="T68" fmla="*/ 242 w 1791"/>
                <a:gd name="T69" fmla="*/ 544 h 898"/>
                <a:gd name="T70" fmla="*/ 173 w 1791"/>
                <a:gd name="T71" fmla="*/ 556 h 898"/>
                <a:gd name="T72" fmla="*/ 36 w 1791"/>
                <a:gd name="T73" fmla="*/ 547 h 898"/>
                <a:gd name="T74" fmla="*/ 23 w 1791"/>
                <a:gd name="T75" fmla="*/ 485 h 898"/>
                <a:gd name="T76" fmla="*/ 24 w 1791"/>
                <a:gd name="T77" fmla="*/ 484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1" h="898">
                  <a:moveTo>
                    <a:pt x="36" y="547"/>
                  </a:moveTo>
                  <a:cubicBezTo>
                    <a:pt x="24" y="484"/>
                    <a:pt x="24" y="484"/>
                    <a:pt x="24" y="484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66" y="68"/>
                    <a:pt x="166" y="68"/>
                    <a:pt x="166" y="68"/>
                  </a:cubicBezTo>
                  <a:cubicBezTo>
                    <a:pt x="221" y="120"/>
                    <a:pt x="221" y="120"/>
                    <a:pt x="221" y="12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647" y="257"/>
                    <a:pt x="647" y="257"/>
                    <a:pt x="647" y="257"/>
                  </a:cubicBezTo>
                  <a:cubicBezTo>
                    <a:pt x="698" y="153"/>
                    <a:pt x="698" y="153"/>
                    <a:pt x="698" y="153"/>
                  </a:cubicBezTo>
                  <a:cubicBezTo>
                    <a:pt x="806" y="139"/>
                    <a:pt x="806" y="139"/>
                    <a:pt x="806" y="139"/>
                  </a:cubicBezTo>
                  <a:cubicBezTo>
                    <a:pt x="906" y="228"/>
                    <a:pt x="1046" y="331"/>
                    <a:pt x="1166" y="427"/>
                  </a:cubicBezTo>
                  <a:cubicBezTo>
                    <a:pt x="1418" y="532"/>
                    <a:pt x="1418" y="532"/>
                    <a:pt x="1418" y="532"/>
                  </a:cubicBezTo>
                  <a:cubicBezTo>
                    <a:pt x="1418" y="532"/>
                    <a:pt x="1453" y="545"/>
                    <a:pt x="1497" y="549"/>
                  </a:cubicBezTo>
                  <a:cubicBezTo>
                    <a:pt x="1541" y="552"/>
                    <a:pt x="1703" y="515"/>
                    <a:pt x="1703" y="515"/>
                  </a:cubicBezTo>
                  <a:cubicBezTo>
                    <a:pt x="1762" y="515"/>
                    <a:pt x="1762" y="515"/>
                    <a:pt x="1762" y="515"/>
                  </a:cubicBezTo>
                  <a:cubicBezTo>
                    <a:pt x="1766" y="653"/>
                    <a:pt x="1766" y="653"/>
                    <a:pt x="1766" y="653"/>
                  </a:cubicBezTo>
                  <a:cubicBezTo>
                    <a:pt x="1745" y="685"/>
                    <a:pt x="1745" y="685"/>
                    <a:pt x="1745" y="685"/>
                  </a:cubicBezTo>
                  <a:cubicBezTo>
                    <a:pt x="1791" y="754"/>
                    <a:pt x="1791" y="754"/>
                    <a:pt x="1791" y="754"/>
                  </a:cubicBezTo>
                  <a:cubicBezTo>
                    <a:pt x="1789" y="802"/>
                    <a:pt x="1789" y="802"/>
                    <a:pt x="1789" y="802"/>
                  </a:cubicBezTo>
                  <a:cubicBezTo>
                    <a:pt x="1607" y="794"/>
                    <a:pt x="1607" y="794"/>
                    <a:pt x="1607" y="794"/>
                  </a:cubicBezTo>
                  <a:cubicBezTo>
                    <a:pt x="1607" y="794"/>
                    <a:pt x="1548" y="773"/>
                    <a:pt x="1515" y="784"/>
                  </a:cubicBezTo>
                  <a:cubicBezTo>
                    <a:pt x="1483" y="794"/>
                    <a:pt x="1387" y="836"/>
                    <a:pt x="1387" y="836"/>
                  </a:cubicBezTo>
                  <a:cubicBezTo>
                    <a:pt x="1387" y="836"/>
                    <a:pt x="1275" y="825"/>
                    <a:pt x="1244" y="839"/>
                  </a:cubicBezTo>
                  <a:cubicBezTo>
                    <a:pt x="1214" y="853"/>
                    <a:pt x="1209" y="893"/>
                    <a:pt x="1185" y="896"/>
                  </a:cubicBezTo>
                  <a:cubicBezTo>
                    <a:pt x="1160" y="898"/>
                    <a:pt x="1125" y="893"/>
                    <a:pt x="1117" y="852"/>
                  </a:cubicBezTo>
                  <a:cubicBezTo>
                    <a:pt x="1108" y="811"/>
                    <a:pt x="1141" y="718"/>
                    <a:pt x="1141" y="718"/>
                  </a:cubicBezTo>
                  <a:cubicBezTo>
                    <a:pt x="1100" y="686"/>
                    <a:pt x="1100" y="686"/>
                    <a:pt x="1100" y="686"/>
                  </a:cubicBezTo>
                  <a:cubicBezTo>
                    <a:pt x="1099" y="649"/>
                    <a:pt x="1099" y="649"/>
                    <a:pt x="1099" y="649"/>
                  </a:cubicBezTo>
                  <a:cubicBezTo>
                    <a:pt x="548" y="595"/>
                    <a:pt x="548" y="595"/>
                    <a:pt x="548" y="595"/>
                  </a:cubicBezTo>
                  <a:cubicBezTo>
                    <a:pt x="538" y="619"/>
                    <a:pt x="538" y="619"/>
                    <a:pt x="538" y="619"/>
                  </a:cubicBezTo>
                  <a:cubicBezTo>
                    <a:pt x="327" y="586"/>
                    <a:pt x="327" y="586"/>
                    <a:pt x="327" y="586"/>
                  </a:cubicBezTo>
                  <a:cubicBezTo>
                    <a:pt x="321" y="532"/>
                    <a:pt x="321" y="532"/>
                    <a:pt x="321" y="532"/>
                  </a:cubicBezTo>
                  <a:cubicBezTo>
                    <a:pt x="242" y="544"/>
                    <a:pt x="242" y="544"/>
                    <a:pt x="242" y="544"/>
                  </a:cubicBezTo>
                  <a:cubicBezTo>
                    <a:pt x="173" y="556"/>
                    <a:pt x="173" y="556"/>
                    <a:pt x="173" y="556"/>
                  </a:cubicBezTo>
                  <a:cubicBezTo>
                    <a:pt x="36" y="547"/>
                    <a:pt x="36" y="547"/>
                    <a:pt x="36" y="547"/>
                  </a:cubicBezTo>
                  <a:close/>
                  <a:moveTo>
                    <a:pt x="23" y="485"/>
                  </a:moveTo>
                  <a:cubicBezTo>
                    <a:pt x="24" y="484"/>
                    <a:pt x="24" y="484"/>
                    <a:pt x="24" y="484"/>
                  </a:cubicBezTo>
                </a:path>
              </a:pathLst>
            </a:custGeom>
            <a:solidFill>
              <a:schemeClr val="accent1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29" name="Freeform 58"/>
            <p:cNvSpPr>
              <a:spLocks noEditPoints="1"/>
            </p:cNvSpPr>
            <p:nvPr/>
          </p:nvSpPr>
          <p:spPr bwMode="auto">
            <a:xfrm>
              <a:off x="2938268" y="4251305"/>
              <a:ext cx="656278" cy="293514"/>
            </a:xfrm>
            <a:custGeom>
              <a:avLst/>
              <a:gdLst>
                <a:gd name="T0" fmla="*/ 36 w 1791"/>
                <a:gd name="T1" fmla="*/ 547 h 898"/>
                <a:gd name="T2" fmla="*/ 24 w 1791"/>
                <a:gd name="T3" fmla="*/ 484 h 898"/>
                <a:gd name="T4" fmla="*/ 0 w 1791"/>
                <a:gd name="T5" fmla="*/ 279 h 898"/>
                <a:gd name="T6" fmla="*/ 0 w 1791"/>
                <a:gd name="T7" fmla="*/ 49 h 898"/>
                <a:gd name="T8" fmla="*/ 64 w 1791"/>
                <a:gd name="T9" fmla="*/ 30 h 898"/>
                <a:gd name="T10" fmla="*/ 122 w 1791"/>
                <a:gd name="T11" fmla="*/ 48 h 898"/>
                <a:gd name="T12" fmla="*/ 166 w 1791"/>
                <a:gd name="T13" fmla="*/ 68 h 898"/>
                <a:gd name="T14" fmla="*/ 221 w 1791"/>
                <a:gd name="T15" fmla="*/ 120 h 898"/>
                <a:gd name="T16" fmla="*/ 323 w 1791"/>
                <a:gd name="T17" fmla="*/ 0 h 898"/>
                <a:gd name="T18" fmla="*/ 647 w 1791"/>
                <a:gd name="T19" fmla="*/ 257 h 898"/>
                <a:gd name="T20" fmla="*/ 698 w 1791"/>
                <a:gd name="T21" fmla="*/ 153 h 898"/>
                <a:gd name="T22" fmla="*/ 806 w 1791"/>
                <a:gd name="T23" fmla="*/ 139 h 898"/>
                <a:gd name="T24" fmla="*/ 1166 w 1791"/>
                <a:gd name="T25" fmla="*/ 427 h 898"/>
                <a:gd name="T26" fmla="*/ 1418 w 1791"/>
                <a:gd name="T27" fmla="*/ 532 h 898"/>
                <a:gd name="T28" fmla="*/ 1497 w 1791"/>
                <a:gd name="T29" fmla="*/ 549 h 898"/>
                <a:gd name="T30" fmla="*/ 1703 w 1791"/>
                <a:gd name="T31" fmla="*/ 515 h 898"/>
                <a:gd name="T32" fmla="*/ 1762 w 1791"/>
                <a:gd name="T33" fmla="*/ 515 h 898"/>
                <a:gd name="T34" fmla="*/ 1766 w 1791"/>
                <a:gd name="T35" fmla="*/ 653 h 898"/>
                <a:gd name="T36" fmla="*/ 1745 w 1791"/>
                <a:gd name="T37" fmla="*/ 685 h 898"/>
                <a:gd name="T38" fmla="*/ 1791 w 1791"/>
                <a:gd name="T39" fmla="*/ 754 h 898"/>
                <a:gd name="T40" fmla="*/ 1789 w 1791"/>
                <a:gd name="T41" fmla="*/ 802 h 898"/>
                <a:gd name="T42" fmla="*/ 1607 w 1791"/>
                <a:gd name="T43" fmla="*/ 794 h 898"/>
                <a:gd name="T44" fmla="*/ 1515 w 1791"/>
                <a:gd name="T45" fmla="*/ 784 h 898"/>
                <a:gd name="T46" fmla="*/ 1387 w 1791"/>
                <a:gd name="T47" fmla="*/ 836 h 898"/>
                <a:gd name="T48" fmla="*/ 1244 w 1791"/>
                <a:gd name="T49" fmla="*/ 839 h 898"/>
                <a:gd name="T50" fmla="*/ 1185 w 1791"/>
                <a:gd name="T51" fmla="*/ 896 h 898"/>
                <a:gd name="T52" fmla="*/ 1117 w 1791"/>
                <a:gd name="T53" fmla="*/ 852 h 898"/>
                <a:gd name="T54" fmla="*/ 1141 w 1791"/>
                <a:gd name="T55" fmla="*/ 718 h 898"/>
                <a:gd name="T56" fmla="*/ 1100 w 1791"/>
                <a:gd name="T57" fmla="*/ 686 h 898"/>
                <a:gd name="T58" fmla="*/ 1099 w 1791"/>
                <a:gd name="T59" fmla="*/ 649 h 898"/>
                <a:gd name="T60" fmla="*/ 548 w 1791"/>
                <a:gd name="T61" fmla="*/ 595 h 898"/>
                <a:gd name="T62" fmla="*/ 538 w 1791"/>
                <a:gd name="T63" fmla="*/ 619 h 898"/>
                <a:gd name="T64" fmla="*/ 327 w 1791"/>
                <a:gd name="T65" fmla="*/ 586 h 898"/>
                <a:gd name="T66" fmla="*/ 321 w 1791"/>
                <a:gd name="T67" fmla="*/ 532 h 898"/>
                <a:gd name="T68" fmla="*/ 242 w 1791"/>
                <a:gd name="T69" fmla="*/ 544 h 898"/>
                <a:gd name="T70" fmla="*/ 173 w 1791"/>
                <a:gd name="T71" fmla="*/ 556 h 898"/>
                <a:gd name="T72" fmla="*/ 36 w 1791"/>
                <a:gd name="T73" fmla="*/ 547 h 898"/>
                <a:gd name="T74" fmla="*/ 23 w 1791"/>
                <a:gd name="T75" fmla="*/ 485 h 898"/>
                <a:gd name="T76" fmla="*/ 24 w 1791"/>
                <a:gd name="T77" fmla="*/ 484 h 8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791" h="898">
                  <a:moveTo>
                    <a:pt x="36" y="547"/>
                  </a:moveTo>
                  <a:cubicBezTo>
                    <a:pt x="24" y="484"/>
                    <a:pt x="24" y="484"/>
                    <a:pt x="24" y="484"/>
                  </a:cubicBezTo>
                  <a:cubicBezTo>
                    <a:pt x="0" y="279"/>
                    <a:pt x="0" y="279"/>
                    <a:pt x="0" y="279"/>
                  </a:cubicBezTo>
                  <a:cubicBezTo>
                    <a:pt x="0" y="49"/>
                    <a:pt x="0" y="49"/>
                    <a:pt x="0" y="49"/>
                  </a:cubicBezTo>
                  <a:cubicBezTo>
                    <a:pt x="64" y="30"/>
                    <a:pt x="64" y="30"/>
                    <a:pt x="64" y="30"/>
                  </a:cubicBezTo>
                  <a:cubicBezTo>
                    <a:pt x="122" y="48"/>
                    <a:pt x="122" y="48"/>
                    <a:pt x="122" y="48"/>
                  </a:cubicBezTo>
                  <a:cubicBezTo>
                    <a:pt x="166" y="68"/>
                    <a:pt x="166" y="68"/>
                    <a:pt x="166" y="68"/>
                  </a:cubicBezTo>
                  <a:cubicBezTo>
                    <a:pt x="221" y="120"/>
                    <a:pt x="221" y="120"/>
                    <a:pt x="221" y="120"/>
                  </a:cubicBezTo>
                  <a:cubicBezTo>
                    <a:pt x="323" y="0"/>
                    <a:pt x="323" y="0"/>
                    <a:pt x="323" y="0"/>
                  </a:cubicBezTo>
                  <a:cubicBezTo>
                    <a:pt x="647" y="257"/>
                    <a:pt x="647" y="257"/>
                    <a:pt x="647" y="257"/>
                  </a:cubicBezTo>
                  <a:cubicBezTo>
                    <a:pt x="698" y="153"/>
                    <a:pt x="698" y="153"/>
                    <a:pt x="698" y="153"/>
                  </a:cubicBezTo>
                  <a:cubicBezTo>
                    <a:pt x="806" y="139"/>
                    <a:pt x="806" y="139"/>
                    <a:pt x="806" y="139"/>
                  </a:cubicBezTo>
                  <a:cubicBezTo>
                    <a:pt x="906" y="228"/>
                    <a:pt x="1046" y="331"/>
                    <a:pt x="1166" y="427"/>
                  </a:cubicBezTo>
                  <a:cubicBezTo>
                    <a:pt x="1418" y="532"/>
                    <a:pt x="1418" y="532"/>
                    <a:pt x="1418" y="532"/>
                  </a:cubicBezTo>
                  <a:cubicBezTo>
                    <a:pt x="1418" y="532"/>
                    <a:pt x="1453" y="545"/>
                    <a:pt x="1497" y="549"/>
                  </a:cubicBezTo>
                  <a:cubicBezTo>
                    <a:pt x="1541" y="552"/>
                    <a:pt x="1703" y="515"/>
                    <a:pt x="1703" y="515"/>
                  </a:cubicBezTo>
                  <a:cubicBezTo>
                    <a:pt x="1762" y="515"/>
                    <a:pt x="1762" y="515"/>
                    <a:pt x="1762" y="515"/>
                  </a:cubicBezTo>
                  <a:cubicBezTo>
                    <a:pt x="1766" y="653"/>
                    <a:pt x="1766" y="653"/>
                    <a:pt x="1766" y="653"/>
                  </a:cubicBezTo>
                  <a:cubicBezTo>
                    <a:pt x="1745" y="685"/>
                    <a:pt x="1745" y="685"/>
                    <a:pt x="1745" y="685"/>
                  </a:cubicBezTo>
                  <a:cubicBezTo>
                    <a:pt x="1791" y="754"/>
                    <a:pt x="1791" y="754"/>
                    <a:pt x="1791" y="754"/>
                  </a:cubicBezTo>
                  <a:cubicBezTo>
                    <a:pt x="1789" y="802"/>
                    <a:pt x="1789" y="802"/>
                    <a:pt x="1789" y="802"/>
                  </a:cubicBezTo>
                  <a:cubicBezTo>
                    <a:pt x="1607" y="794"/>
                    <a:pt x="1607" y="794"/>
                    <a:pt x="1607" y="794"/>
                  </a:cubicBezTo>
                  <a:cubicBezTo>
                    <a:pt x="1607" y="794"/>
                    <a:pt x="1548" y="773"/>
                    <a:pt x="1515" y="784"/>
                  </a:cubicBezTo>
                  <a:cubicBezTo>
                    <a:pt x="1483" y="794"/>
                    <a:pt x="1387" y="836"/>
                    <a:pt x="1387" y="836"/>
                  </a:cubicBezTo>
                  <a:cubicBezTo>
                    <a:pt x="1387" y="836"/>
                    <a:pt x="1275" y="825"/>
                    <a:pt x="1244" y="839"/>
                  </a:cubicBezTo>
                  <a:cubicBezTo>
                    <a:pt x="1214" y="853"/>
                    <a:pt x="1209" y="893"/>
                    <a:pt x="1185" y="896"/>
                  </a:cubicBezTo>
                  <a:cubicBezTo>
                    <a:pt x="1160" y="898"/>
                    <a:pt x="1125" y="893"/>
                    <a:pt x="1117" y="852"/>
                  </a:cubicBezTo>
                  <a:cubicBezTo>
                    <a:pt x="1108" y="811"/>
                    <a:pt x="1141" y="718"/>
                    <a:pt x="1141" y="718"/>
                  </a:cubicBezTo>
                  <a:cubicBezTo>
                    <a:pt x="1100" y="686"/>
                    <a:pt x="1100" y="686"/>
                    <a:pt x="1100" y="686"/>
                  </a:cubicBezTo>
                  <a:cubicBezTo>
                    <a:pt x="1099" y="649"/>
                    <a:pt x="1099" y="649"/>
                    <a:pt x="1099" y="649"/>
                  </a:cubicBezTo>
                  <a:cubicBezTo>
                    <a:pt x="548" y="595"/>
                    <a:pt x="548" y="595"/>
                    <a:pt x="548" y="595"/>
                  </a:cubicBezTo>
                  <a:cubicBezTo>
                    <a:pt x="538" y="619"/>
                    <a:pt x="538" y="619"/>
                    <a:pt x="538" y="619"/>
                  </a:cubicBezTo>
                  <a:cubicBezTo>
                    <a:pt x="327" y="586"/>
                    <a:pt x="327" y="586"/>
                    <a:pt x="327" y="586"/>
                  </a:cubicBezTo>
                  <a:cubicBezTo>
                    <a:pt x="321" y="532"/>
                    <a:pt x="321" y="532"/>
                    <a:pt x="321" y="532"/>
                  </a:cubicBezTo>
                  <a:cubicBezTo>
                    <a:pt x="242" y="544"/>
                    <a:pt x="242" y="544"/>
                    <a:pt x="242" y="544"/>
                  </a:cubicBezTo>
                  <a:cubicBezTo>
                    <a:pt x="173" y="556"/>
                    <a:pt x="173" y="556"/>
                    <a:pt x="173" y="556"/>
                  </a:cubicBezTo>
                  <a:cubicBezTo>
                    <a:pt x="36" y="547"/>
                    <a:pt x="36" y="547"/>
                    <a:pt x="36" y="547"/>
                  </a:cubicBezTo>
                  <a:close/>
                  <a:moveTo>
                    <a:pt x="23" y="485"/>
                  </a:moveTo>
                  <a:cubicBezTo>
                    <a:pt x="24" y="484"/>
                    <a:pt x="24" y="484"/>
                    <a:pt x="24" y="484"/>
                  </a:cubicBezTo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0" name="Freeform 59"/>
            <p:cNvSpPr>
              <a:spLocks/>
            </p:cNvSpPr>
            <p:nvPr/>
          </p:nvSpPr>
          <p:spPr bwMode="auto">
            <a:xfrm>
              <a:off x="2808550" y="3940180"/>
              <a:ext cx="151701" cy="493105"/>
            </a:xfrm>
            <a:custGeom>
              <a:avLst/>
              <a:gdLst>
                <a:gd name="T0" fmla="*/ 96 w 415"/>
                <a:gd name="T1" fmla="*/ 512 h 1512"/>
                <a:gd name="T2" fmla="*/ 168 w 415"/>
                <a:gd name="T3" fmla="*/ 428 h 1512"/>
                <a:gd name="T4" fmla="*/ 200 w 415"/>
                <a:gd name="T5" fmla="*/ 357 h 1512"/>
                <a:gd name="T6" fmla="*/ 214 w 415"/>
                <a:gd name="T7" fmla="*/ 303 h 1512"/>
                <a:gd name="T8" fmla="*/ 197 w 415"/>
                <a:gd name="T9" fmla="*/ 211 h 1512"/>
                <a:gd name="T10" fmla="*/ 116 w 415"/>
                <a:gd name="T11" fmla="*/ 228 h 1512"/>
                <a:gd name="T12" fmla="*/ 53 w 415"/>
                <a:gd name="T13" fmla="*/ 196 h 1512"/>
                <a:gd name="T14" fmla="*/ 56 w 415"/>
                <a:gd name="T15" fmla="*/ 61 h 1512"/>
                <a:gd name="T16" fmla="*/ 0 w 415"/>
                <a:gd name="T17" fmla="*/ 0 h 1512"/>
                <a:gd name="T18" fmla="*/ 128 w 415"/>
                <a:gd name="T19" fmla="*/ 76 h 1512"/>
                <a:gd name="T20" fmla="*/ 229 w 415"/>
                <a:gd name="T21" fmla="*/ 71 h 1512"/>
                <a:gd name="T22" fmla="*/ 341 w 415"/>
                <a:gd name="T23" fmla="*/ 30 h 1512"/>
                <a:gd name="T24" fmla="*/ 415 w 415"/>
                <a:gd name="T25" fmla="*/ 567 h 1512"/>
                <a:gd name="T26" fmla="*/ 359 w 415"/>
                <a:gd name="T27" fmla="*/ 743 h 1512"/>
                <a:gd name="T28" fmla="*/ 356 w 415"/>
                <a:gd name="T29" fmla="*/ 1011 h 1512"/>
                <a:gd name="T30" fmla="*/ 354 w 415"/>
                <a:gd name="T31" fmla="*/ 1069 h 1512"/>
                <a:gd name="T32" fmla="*/ 362 w 415"/>
                <a:gd name="T33" fmla="*/ 1307 h 1512"/>
                <a:gd name="T34" fmla="*/ 378 w 415"/>
                <a:gd name="T35" fmla="*/ 1440 h 1512"/>
                <a:gd name="T36" fmla="*/ 313 w 415"/>
                <a:gd name="T37" fmla="*/ 1461 h 1512"/>
                <a:gd name="T38" fmla="*/ 302 w 415"/>
                <a:gd name="T39" fmla="*/ 1512 h 1512"/>
                <a:gd name="T40" fmla="*/ 70 w 415"/>
                <a:gd name="T41" fmla="*/ 1486 h 1512"/>
                <a:gd name="T42" fmla="*/ 63 w 415"/>
                <a:gd name="T43" fmla="*/ 1040 h 1512"/>
                <a:gd name="T44" fmla="*/ 199 w 415"/>
                <a:gd name="T45" fmla="*/ 836 h 1512"/>
                <a:gd name="T46" fmla="*/ 75 w 415"/>
                <a:gd name="T47" fmla="*/ 815 h 1512"/>
                <a:gd name="T48" fmla="*/ 103 w 415"/>
                <a:gd name="T49" fmla="*/ 774 h 1512"/>
                <a:gd name="T50" fmla="*/ 158 w 415"/>
                <a:gd name="T51" fmla="*/ 773 h 1512"/>
                <a:gd name="T52" fmla="*/ 130 w 415"/>
                <a:gd name="T53" fmla="*/ 727 h 1512"/>
                <a:gd name="T54" fmla="*/ 85 w 415"/>
                <a:gd name="T55" fmla="*/ 683 h 1512"/>
                <a:gd name="T56" fmla="*/ 66 w 415"/>
                <a:gd name="T57" fmla="*/ 594 h 1512"/>
                <a:gd name="T58" fmla="*/ 61 w 415"/>
                <a:gd name="T59" fmla="*/ 539 h 1512"/>
                <a:gd name="T60" fmla="*/ 96 w 415"/>
                <a:gd name="T61" fmla="*/ 512 h 15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415" h="1512">
                  <a:moveTo>
                    <a:pt x="96" y="512"/>
                  </a:moveTo>
                  <a:cubicBezTo>
                    <a:pt x="119" y="484"/>
                    <a:pt x="148" y="458"/>
                    <a:pt x="168" y="428"/>
                  </a:cubicBezTo>
                  <a:cubicBezTo>
                    <a:pt x="164" y="399"/>
                    <a:pt x="187" y="380"/>
                    <a:pt x="200" y="357"/>
                  </a:cubicBezTo>
                  <a:cubicBezTo>
                    <a:pt x="213" y="341"/>
                    <a:pt x="224" y="324"/>
                    <a:pt x="214" y="303"/>
                  </a:cubicBezTo>
                  <a:cubicBezTo>
                    <a:pt x="208" y="272"/>
                    <a:pt x="203" y="242"/>
                    <a:pt x="197" y="211"/>
                  </a:cubicBezTo>
                  <a:cubicBezTo>
                    <a:pt x="170" y="216"/>
                    <a:pt x="143" y="226"/>
                    <a:pt x="116" y="228"/>
                  </a:cubicBezTo>
                  <a:cubicBezTo>
                    <a:pt x="95" y="217"/>
                    <a:pt x="74" y="207"/>
                    <a:pt x="53" y="196"/>
                  </a:cubicBezTo>
                  <a:cubicBezTo>
                    <a:pt x="54" y="151"/>
                    <a:pt x="55" y="106"/>
                    <a:pt x="56" y="61"/>
                  </a:cubicBezTo>
                  <a:cubicBezTo>
                    <a:pt x="37" y="41"/>
                    <a:pt x="19" y="21"/>
                    <a:pt x="0" y="0"/>
                  </a:cubicBezTo>
                  <a:cubicBezTo>
                    <a:pt x="43" y="25"/>
                    <a:pt x="84" y="54"/>
                    <a:pt x="128" y="76"/>
                  </a:cubicBezTo>
                  <a:cubicBezTo>
                    <a:pt x="161" y="73"/>
                    <a:pt x="197" y="81"/>
                    <a:pt x="229" y="71"/>
                  </a:cubicBezTo>
                  <a:cubicBezTo>
                    <a:pt x="266" y="58"/>
                    <a:pt x="304" y="44"/>
                    <a:pt x="341" y="30"/>
                  </a:cubicBezTo>
                  <a:cubicBezTo>
                    <a:pt x="366" y="209"/>
                    <a:pt x="391" y="388"/>
                    <a:pt x="415" y="567"/>
                  </a:cubicBezTo>
                  <a:cubicBezTo>
                    <a:pt x="397" y="625"/>
                    <a:pt x="376" y="684"/>
                    <a:pt x="359" y="743"/>
                  </a:cubicBezTo>
                  <a:cubicBezTo>
                    <a:pt x="358" y="832"/>
                    <a:pt x="357" y="922"/>
                    <a:pt x="356" y="1011"/>
                  </a:cubicBezTo>
                  <a:cubicBezTo>
                    <a:pt x="350" y="1026"/>
                    <a:pt x="355" y="1051"/>
                    <a:pt x="354" y="1069"/>
                  </a:cubicBezTo>
                  <a:cubicBezTo>
                    <a:pt x="355" y="1148"/>
                    <a:pt x="349" y="1228"/>
                    <a:pt x="362" y="1307"/>
                  </a:cubicBezTo>
                  <a:cubicBezTo>
                    <a:pt x="367" y="1351"/>
                    <a:pt x="373" y="1397"/>
                    <a:pt x="378" y="1440"/>
                  </a:cubicBezTo>
                  <a:cubicBezTo>
                    <a:pt x="361" y="1445"/>
                    <a:pt x="334" y="1454"/>
                    <a:pt x="313" y="1461"/>
                  </a:cubicBezTo>
                  <a:cubicBezTo>
                    <a:pt x="291" y="1465"/>
                    <a:pt x="307" y="1496"/>
                    <a:pt x="302" y="1512"/>
                  </a:cubicBezTo>
                  <a:cubicBezTo>
                    <a:pt x="225" y="1504"/>
                    <a:pt x="148" y="1495"/>
                    <a:pt x="70" y="1486"/>
                  </a:cubicBezTo>
                  <a:cubicBezTo>
                    <a:pt x="68" y="1337"/>
                    <a:pt x="66" y="1188"/>
                    <a:pt x="63" y="1040"/>
                  </a:cubicBezTo>
                  <a:cubicBezTo>
                    <a:pt x="108" y="972"/>
                    <a:pt x="154" y="904"/>
                    <a:pt x="199" y="836"/>
                  </a:cubicBezTo>
                  <a:cubicBezTo>
                    <a:pt x="157" y="829"/>
                    <a:pt x="116" y="822"/>
                    <a:pt x="75" y="815"/>
                  </a:cubicBezTo>
                  <a:cubicBezTo>
                    <a:pt x="93" y="806"/>
                    <a:pt x="101" y="788"/>
                    <a:pt x="103" y="774"/>
                  </a:cubicBezTo>
                  <a:cubicBezTo>
                    <a:pt x="120" y="773"/>
                    <a:pt x="144" y="780"/>
                    <a:pt x="158" y="773"/>
                  </a:cubicBezTo>
                  <a:cubicBezTo>
                    <a:pt x="171" y="752"/>
                    <a:pt x="140" y="742"/>
                    <a:pt x="130" y="727"/>
                  </a:cubicBezTo>
                  <a:cubicBezTo>
                    <a:pt x="116" y="712"/>
                    <a:pt x="95" y="700"/>
                    <a:pt x="85" y="683"/>
                  </a:cubicBezTo>
                  <a:cubicBezTo>
                    <a:pt x="81" y="652"/>
                    <a:pt x="84" y="620"/>
                    <a:pt x="66" y="594"/>
                  </a:cubicBezTo>
                  <a:cubicBezTo>
                    <a:pt x="52" y="577"/>
                    <a:pt x="55" y="558"/>
                    <a:pt x="61" y="539"/>
                  </a:cubicBezTo>
                  <a:cubicBezTo>
                    <a:pt x="60" y="515"/>
                    <a:pt x="78" y="519"/>
                    <a:pt x="96" y="51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1" name="Freeform 60"/>
            <p:cNvSpPr>
              <a:spLocks/>
            </p:cNvSpPr>
            <p:nvPr/>
          </p:nvSpPr>
          <p:spPr bwMode="auto">
            <a:xfrm>
              <a:off x="3138337" y="3852126"/>
              <a:ext cx="360569" cy="475494"/>
            </a:xfrm>
            <a:custGeom>
              <a:avLst/>
              <a:gdLst>
                <a:gd name="T0" fmla="*/ 121 w 984"/>
                <a:gd name="T1" fmla="*/ 850 h 1458"/>
                <a:gd name="T2" fmla="*/ 194 w 984"/>
                <a:gd name="T3" fmla="*/ 0 h 1458"/>
                <a:gd name="T4" fmla="*/ 280 w 984"/>
                <a:gd name="T5" fmla="*/ 23 h 1458"/>
                <a:gd name="T6" fmla="*/ 339 w 984"/>
                <a:gd name="T7" fmla="*/ 79 h 1458"/>
                <a:gd name="T8" fmla="*/ 481 w 984"/>
                <a:gd name="T9" fmla="*/ 95 h 1458"/>
                <a:gd name="T10" fmla="*/ 531 w 984"/>
                <a:gd name="T11" fmla="*/ 106 h 1458"/>
                <a:gd name="T12" fmla="*/ 825 w 984"/>
                <a:gd name="T13" fmla="*/ 233 h 1458"/>
                <a:gd name="T14" fmla="*/ 933 w 984"/>
                <a:gd name="T15" fmla="*/ 364 h 1458"/>
                <a:gd name="T16" fmla="*/ 804 w 984"/>
                <a:gd name="T17" fmla="*/ 697 h 1458"/>
                <a:gd name="T18" fmla="*/ 578 w 984"/>
                <a:gd name="T19" fmla="*/ 816 h 1458"/>
                <a:gd name="T20" fmla="*/ 452 w 984"/>
                <a:gd name="T21" fmla="*/ 885 h 1458"/>
                <a:gd name="T22" fmla="*/ 360 w 984"/>
                <a:gd name="T23" fmla="*/ 936 h 1458"/>
                <a:gd name="T24" fmla="*/ 305 w 984"/>
                <a:gd name="T25" fmla="*/ 1013 h 1458"/>
                <a:gd name="T26" fmla="*/ 262 w 984"/>
                <a:gd name="T27" fmla="*/ 1365 h 1458"/>
                <a:gd name="T28" fmla="*/ 152 w 984"/>
                <a:gd name="T29" fmla="*/ 1381 h 1458"/>
                <a:gd name="T30" fmla="*/ 111 w 984"/>
                <a:gd name="T31" fmla="*/ 1458 h 1458"/>
                <a:gd name="T32" fmla="*/ 16 w 984"/>
                <a:gd name="T33" fmla="*/ 1354 h 1458"/>
                <a:gd name="T34" fmla="*/ 1 w 984"/>
                <a:gd name="T35" fmla="*/ 1210 h 1458"/>
                <a:gd name="T36" fmla="*/ 115 w 984"/>
                <a:gd name="T37" fmla="*/ 944 h 1458"/>
                <a:gd name="T38" fmla="*/ 121 w 984"/>
                <a:gd name="T39" fmla="*/ 850 h 1458"/>
                <a:gd name="T40" fmla="*/ 121 w 984"/>
                <a:gd name="T41" fmla="*/ 850 h 1458"/>
                <a:gd name="T42" fmla="*/ 121 w 984"/>
                <a:gd name="T43" fmla="*/ 850 h 14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84" h="1458">
                  <a:moveTo>
                    <a:pt x="121" y="850"/>
                  </a:moveTo>
                  <a:cubicBezTo>
                    <a:pt x="194" y="0"/>
                    <a:pt x="194" y="0"/>
                    <a:pt x="194" y="0"/>
                  </a:cubicBezTo>
                  <a:cubicBezTo>
                    <a:pt x="280" y="23"/>
                    <a:pt x="280" y="23"/>
                    <a:pt x="280" y="23"/>
                  </a:cubicBezTo>
                  <a:cubicBezTo>
                    <a:pt x="339" y="79"/>
                    <a:pt x="339" y="79"/>
                    <a:pt x="339" y="79"/>
                  </a:cubicBezTo>
                  <a:cubicBezTo>
                    <a:pt x="481" y="95"/>
                    <a:pt x="481" y="95"/>
                    <a:pt x="481" y="95"/>
                  </a:cubicBezTo>
                  <a:cubicBezTo>
                    <a:pt x="531" y="106"/>
                    <a:pt x="531" y="106"/>
                    <a:pt x="531" y="106"/>
                  </a:cubicBezTo>
                  <a:cubicBezTo>
                    <a:pt x="636" y="128"/>
                    <a:pt x="735" y="175"/>
                    <a:pt x="825" y="233"/>
                  </a:cubicBezTo>
                  <a:cubicBezTo>
                    <a:pt x="873" y="263"/>
                    <a:pt x="913" y="311"/>
                    <a:pt x="933" y="364"/>
                  </a:cubicBezTo>
                  <a:cubicBezTo>
                    <a:pt x="984" y="501"/>
                    <a:pt x="931" y="631"/>
                    <a:pt x="804" y="697"/>
                  </a:cubicBezTo>
                  <a:cubicBezTo>
                    <a:pt x="578" y="816"/>
                    <a:pt x="578" y="816"/>
                    <a:pt x="578" y="816"/>
                  </a:cubicBezTo>
                  <a:cubicBezTo>
                    <a:pt x="452" y="885"/>
                    <a:pt x="452" y="885"/>
                    <a:pt x="452" y="885"/>
                  </a:cubicBezTo>
                  <a:cubicBezTo>
                    <a:pt x="452" y="885"/>
                    <a:pt x="393" y="910"/>
                    <a:pt x="360" y="936"/>
                  </a:cubicBezTo>
                  <a:cubicBezTo>
                    <a:pt x="338" y="962"/>
                    <a:pt x="305" y="1013"/>
                    <a:pt x="305" y="1013"/>
                  </a:cubicBezTo>
                  <a:cubicBezTo>
                    <a:pt x="262" y="1365"/>
                    <a:pt x="262" y="1365"/>
                    <a:pt x="262" y="1365"/>
                  </a:cubicBezTo>
                  <a:cubicBezTo>
                    <a:pt x="152" y="1381"/>
                    <a:pt x="152" y="1381"/>
                    <a:pt x="152" y="1381"/>
                  </a:cubicBezTo>
                  <a:cubicBezTo>
                    <a:pt x="111" y="1458"/>
                    <a:pt x="111" y="1458"/>
                    <a:pt x="111" y="1458"/>
                  </a:cubicBezTo>
                  <a:cubicBezTo>
                    <a:pt x="111" y="1458"/>
                    <a:pt x="31" y="1402"/>
                    <a:pt x="16" y="1354"/>
                  </a:cubicBezTo>
                  <a:cubicBezTo>
                    <a:pt x="0" y="1306"/>
                    <a:pt x="1" y="1210"/>
                    <a:pt x="1" y="1210"/>
                  </a:cubicBezTo>
                  <a:cubicBezTo>
                    <a:pt x="115" y="944"/>
                    <a:pt x="115" y="944"/>
                    <a:pt x="115" y="944"/>
                  </a:cubicBezTo>
                  <a:cubicBezTo>
                    <a:pt x="121" y="850"/>
                    <a:pt x="121" y="850"/>
                    <a:pt x="121" y="850"/>
                  </a:cubicBezTo>
                  <a:cubicBezTo>
                    <a:pt x="121" y="850"/>
                    <a:pt x="121" y="850"/>
                    <a:pt x="121" y="850"/>
                  </a:cubicBezTo>
                  <a:cubicBezTo>
                    <a:pt x="121" y="850"/>
                    <a:pt x="121" y="850"/>
                    <a:pt x="121" y="85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2" name="Freeform 61"/>
            <p:cNvSpPr>
              <a:spLocks noEditPoints="1"/>
            </p:cNvSpPr>
            <p:nvPr/>
          </p:nvSpPr>
          <p:spPr bwMode="auto">
            <a:xfrm>
              <a:off x="2663443" y="3940180"/>
              <a:ext cx="225357" cy="267098"/>
            </a:xfrm>
            <a:custGeom>
              <a:avLst/>
              <a:gdLst>
                <a:gd name="T0" fmla="*/ 133 w 205"/>
                <a:gd name="T1" fmla="*/ 0 h 273"/>
                <a:gd name="T2" fmla="*/ 133 w 205"/>
                <a:gd name="T3" fmla="*/ 1 h 273"/>
                <a:gd name="T4" fmla="*/ 136 w 205"/>
                <a:gd name="T5" fmla="*/ 2 h 273"/>
                <a:gd name="T6" fmla="*/ 133 w 205"/>
                <a:gd name="T7" fmla="*/ 0 h 273"/>
                <a:gd name="T8" fmla="*/ 133 w 205"/>
                <a:gd name="T9" fmla="*/ 0 h 273"/>
                <a:gd name="T10" fmla="*/ 133 w 205"/>
                <a:gd name="T11" fmla="*/ 0 h 273"/>
                <a:gd name="T12" fmla="*/ 133 w 205"/>
                <a:gd name="T13" fmla="*/ 1 h 273"/>
                <a:gd name="T14" fmla="*/ 114 w 205"/>
                <a:gd name="T15" fmla="*/ 14 h 273"/>
                <a:gd name="T16" fmla="*/ 47 w 205"/>
                <a:gd name="T17" fmla="*/ 125 h 273"/>
                <a:gd name="T18" fmla="*/ 9 w 205"/>
                <a:gd name="T19" fmla="*/ 147 h 273"/>
                <a:gd name="T20" fmla="*/ 13 w 205"/>
                <a:gd name="T21" fmla="*/ 166 h 273"/>
                <a:gd name="T22" fmla="*/ 0 w 205"/>
                <a:gd name="T23" fmla="*/ 186 h 273"/>
                <a:gd name="T24" fmla="*/ 42 w 205"/>
                <a:gd name="T25" fmla="*/ 211 h 273"/>
                <a:gd name="T26" fmla="*/ 21 w 205"/>
                <a:gd name="T27" fmla="*/ 249 h 273"/>
                <a:gd name="T28" fmla="*/ 67 w 205"/>
                <a:gd name="T29" fmla="*/ 255 h 273"/>
                <a:gd name="T30" fmla="*/ 98 w 205"/>
                <a:gd name="T31" fmla="*/ 256 h 273"/>
                <a:gd name="T32" fmla="*/ 111 w 205"/>
                <a:gd name="T33" fmla="*/ 244 h 273"/>
                <a:gd name="T34" fmla="*/ 145 w 205"/>
                <a:gd name="T35" fmla="*/ 271 h 273"/>
                <a:gd name="T36" fmla="*/ 162 w 205"/>
                <a:gd name="T37" fmla="*/ 273 h 273"/>
                <a:gd name="T38" fmla="*/ 165 w 205"/>
                <a:gd name="T39" fmla="*/ 264 h 273"/>
                <a:gd name="T40" fmla="*/ 165 w 205"/>
                <a:gd name="T41" fmla="*/ 258 h 273"/>
                <a:gd name="T42" fmla="*/ 184 w 205"/>
                <a:gd name="T43" fmla="*/ 259 h 273"/>
                <a:gd name="T44" fmla="*/ 186 w 205"/>
                <a:gd name="T45" fmla="*/ 253 h 273"/>
                <a:gd name="T46" fmla="*/ 160 w 205"/>
                <a:gd name="T47" fmla="*/ 229 h 273"/>
                <a:gd name="T48" fmla="*/ 159 w 205"/>
                <a:gd name="T49" fmla="*/ 208 h 273"/>
                <a:gd name="T50" fmla="*/ 150 w 205"/>
                <a:gd name="T51" fmla="*/ 190 h 273"/>
                <a:gd name="T52" fmla="*/ 154 w 205"/>
                <a:gd name="T53" fmla="*/ 174 h 273"/>
                <a:gd name="T54" fmla="*/ 164 w 205"/>
                <a:gd name="T55" fmla="*/ 171 h 273"/>
                <a:gd name="T56" fmla="*/ 188 w 205"/>
                <a:gd name="T57" fmla="*/ 144 h 273"/>
                <a:gd name="T58" fmla="*/ 189 w 205"/>
                <a:gd name="T59" fmla="*/ 134 h 273"/>
                <a:gd name="T60" fmla="*/ 205 w 205"/>
                <a:gd name="T61" fmla="*/ 109 h 273"/>
                <a:gd name="T62" fmla="*/ 198 w 205"/>
                <a:gd name="T63" fmla="*/ 70 h 273"/>
                <a:gd name="T64" fmla="*/ 172 w 205"/>
                <a:gd name="T65" fmla="*/ 76 h 273"/>
                <a:gd name="T66" fmla="*/ 150 w 205"/>
                <a:gd name="T67" fmla="*/ 65 h 273"/>
                <a:gd name="T68" fmla="*/ 151 w 205"/>
                <a:gd name="T69" fmla="*/ 20 h 273"/>
                <a:gd name="T70" fmla="*/ 133 w 205"/>
                <a:gd name="T71" fmla="*/ 1 h 273"/>
                <a:gd name="T72" fmla="*/ 133 w 205"/>
                <a:gd name="T73" fmla="*/ 1 h 273"/>
                <a:gd name="T74" fmla="*/ 133 w 205"/>
                <a:gd name="T75" fmla="*/ 1 h 2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205" h="273">
                  <a:moveTo>
                    <a:pt x="133" y="0"/>
                  </a:moveTo>
                  <a:lnTo>
                    <a:pt x="133" y="1"/>
                  </a:lnTo>
                  <a:lnTo>
                    <a:pt x="136" y="2"/>
                  </a:lnTo>
                  <a:lnTo>
                    <a:pt x="133" y="0"/>
                  </a:lnTo>
                  <a:lnTo>
                    <a:pt x="133" y="0"/>
                  </a:lnTo>
                  <a:lnTo>
                    <a:pt x="133" y="0"/>
                  </a:lnTo>
                  <a:close/>
                  <a:moveTo>
                    <a:pt x="133" y="1"/>
                  </a:moveTo>
                  <a:lnTo>
                    <a:pt x="114" y="14"/>
                  </a:lnTo>
                  <a:lnTo>
                    <a:pt x="47" y="125"/>
                  </a:lnTo>
                  <a:lnTo>
                    <a:pt x="9" y="147"/>
                  </a:lnTo>
                  <a:lnTo>
                    <a:pt x="13" y="166"/>
                  </a:lnTo>
                  <a:lnTo>
                    <a:pt x="0" y="186"/>
                  </a:lnTo>
                  <a:lnTo>
                    <a:pt x="42" y="211"/>
                  </a:lnTo>
                  <a:lnTo>
                    <a:pt x="21" y="249"/>
                  </a:lnTo>
                  <a:lnTo>
                    <a:pt x="67" y="255"/>
                  </a:lnTo>
                  <a:lnTo>
                    <a:pt x="98" y="256"/>
                  </a:lnTo>
                  <a:lnTo>
                    <a:pt x="111" y="244"/>
                  </a:lnTo>
                  <a:lnTo>
                    <a:pt x="145" y="271"/>
                  </a:lnTo>
                  <a:lnTo>
                    <a:pt x="162" y="273"/>
                  </a:lnTo>
                  <a:lnTo>
                    <a:pt x="165" y="264"/>
                  </a:lnTo>
                  <a:lnTo>
                    <a:pt x="165" y="258"/>
                  </a:lnTo>
                  <a:lnTo>
                    <a:pt x="184" y="259"/>
                  </a:lnTo>
                  <a:lnTo>
                    <a:pt x="186" y="253"/>
                  </a:lnTo>
                  <a:lnTo>
                    <a:pt x="160" y="229"/>
                  </a:lnTo>
                  <a:lnTo>
                    <a:pt x="159" y="208"/>
                  </a:lnTo>
                  <a:lnTo>
                    <a:pt x="150" y="190"/>
                  </a:lnTo>
                  <a:lnTo>
                    <a:pt x="154" y="174"/>
                  </a:lnTo>
                  <a:lnTo>
                    <a:pt x="164" y="171"/>
                  </a:lnTo>
                  <a:lnTo>
                    <a:pt x="188" y="144"/>
                  </a:lnTo>
                  <a:lnTo>
                    <a:pt x="189" y="134"/>
                  </a:lnTo>
                  <a:lnTo>
                    <a:pt x="205" y="109"/>
                  </a:lnTo>
                  <a:lnTo>
                    <a:pt x="198" y="70"/>
                  </a:lnTo>
                  <a:lnTo>
                    <a:pt x="172" y="76"/>
                  </a:lnTo>
                  <a:lnTo>
                    <a:pt x="150" y="65"/>
                  </a:lnTo>
                  <a:lnTo>
                    <a:pt x="151" y="20"/>
                  </a:lnTo>
                  <a:lnTo>
                    <a:pt x="133" y="1"/>
                  </a:lnTo>
                  <a:lnTo>
                    <a:pt x="133" y="1"/>
                  </a:lnTo>
                  <a:lnTo>
                    <a:pt x="133" y="1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3" name="Freeform 62"/>
            <p:cNvSpPr>
              <a:spLocks/>
            </p:cNvSpPr>
            <p:nvPr/>
          </p:nvSpPr>
          <p:spPr bwMode="auto">
            <a:xfrm>
              <a:off x="1131027" y="4174992"/>
              <a:ext cx="360569" cy="415813"/>
            </a:xfrm>
            <a:custGeom>
              <a:avLst/>
              <a:gdLst>
                <a:gd name="T0" fmla="*/ 247 w 986"/>
                <a:gd name="T1" fmla="*/ 1003 h 1274"/>
                <a:gd name="T2" fmla="*/ 349 w 986"/>
                <a:gd name="T3" fmla="*/ 963 h 1274"/>
                <a:gd name="T4" fmla="*/ 390 w 986"/>
                <a:gd name="T5" fmla="*/ 923 h 1274"/>
                <a:gd name="T6" fmla="*/ 516 w 986"/>
                <a:gd name="T7" fmla="*/ 962 h 1274"/>
                <a:gd name="T8" fmla="*/ 544 w 986"/>
                <a:gd name="T9" fmla="*/ 1018 h 1274"/>
                <a:gd name="T10" fmla="*/ 544 w 986"/>
                <a:gd name="T11" fmla="*/ 1078 h 1274"/>
                <a:gd name="T12" fmla="*/ 577 w 986"/>
                <a:gd name="T13" fmla="*/ 1120 h 1274"/>
                <a:gd name="T14" fmla="*/ 636 w 986"/>
                <a:gd name="T15" fmla="*/ 1091 h 1274"/>
                <a:gd name="T16" fmla="*/ 694 w 986"/>
                <a:gd name="T17" fmla="*/ 1218 h 1274"/>
                <a:gd name="T18" fmla="*/ 729 w 986"/>
                <a:gd name="T19" fmla="*/ 1239 h 1274"/>
                <a:gd name="T20" fmla="*/ 779 w 986"/>
                <a:gd name="T21" fmla="*/ 1259 h 1274"/>
                <a:gd name="T22" fmla="*/ 986 w 986"/>
                <a:gd name="T23" fmla="*/ 1027 h 1274"/>
                <a:gd name="T24" fmla="*/ 939 w 986"/>
                <a:gd name="T25" fmla="*/ 1032 h 1274"/>
                <a:gd name="T26" fmla="*/ 861 w 986"/>
                <a:gd name="T27" fmla="*/ 1009 h 1274"/>
                <a:gd name="T28" fmla="*/ 840 w 986"/>
                <a:gd name="T29" fmla="*/ 942 h 1274"/>
                <a:gd name="T30" fmla="*/ 789 w 986"/>
                <a:gd name="T31" fmla="*/ 873 h 1274"/>
                <a:gd name="T32" fmla="*/ 771 w 986"/>
                <a:gd name="T33" fmla="*/ 799 h 1274"/>
                <a:gd name="T34" fmla="*/ 801 w 986"/>
                <a:gd name="T35" fmla="*/ 743 h 1274"/>
                <a:gd name="T36" fmla="*/ 765 w 986"/>
                <a:gd name="T37" fmla="*/ 661 h 1274"/>
                <a:gd name="T38" fmla="*/ 792 w 986"/>
                <a:gd name="T39" fmla="*/ 575 h 1274"/>
                <a:gd name="T40" fmla="*/ 819 w 986"/>
                <a:gd name="T41" fmla="*/ 525 h 1274"/>
                <a:gd name="T42" fmla="*/ 800 w 986"/>
                <a:gd name="T43" fmla="*/ 483 h 1274"/>
                <a:gd name="T44" fmla="*/ 720 w 986"/>
                <a:gd name="T45" fmla="*/ 482 h 1274"/>
                <a:gd name="T46" fmla="*/ 679 w 986"/>
                <a:gd name="T47" fmla="*/ 444 h 1274"/>
                <a:gd name="T48" fmla="*/ 678 w 986"/>
                <a:gd name="T49" fmla="*/ 397 h 1274"/>
                <a:gd name="T50" fmla="*/ 694 w 986"/>
                <a:gd name="T51" fmla="*/ 259 h 1274"/>
                <a:gd name="T52" fmla="*/ 706 w 986"/>
                <a:gd name="T53" fmla="*/ 231 h 1274"/>
                <a:gd name="T54" fmla="*/ 704 w 986"/>
                <a:gd name="T55" fmla="*/ 167 h 1274"/>
                <a:gd name="T56" fmla="*/ 704 w 986"/>
                <a:gd name="T57" fmla="*/ 25 h 1274"/>
                <a:gd name="T58" fmla="*/ 655 w 986"/>
                <a:gd name="T59" fmla="*/ 6 h 1274"/>
                <a:gd name="T60" fmla="*/ 578 w 986"/>
                <a:gd name="T61" fmla="*/ 13 h 1274"/>
                <a:gd name="T62" fmla="*/ 422 w 986"/>
                <a:gd name="T63" fmla="*/ 209 h 1274"/>
                <a:gd name="T64" fmla="*/ 370 w 986"/>
                <a:gd name="T65" fmla="*/ 177 h 1274"/>
                <a:gd name="T66" fmla="*/ 443 w 986"/>
                <a:gd name="T67" fmla="*/ 107 h 1274"/>
                <a:gd name="T68" fmla="*/ 396 w 986"/>
                <a:gd name="T69" fmla="*/ 64 h 1274"/>
                <a:gd name="T70" fmla="*/ 338 w 986"/>
                <a:gd name="T71" fmla="*/ 51 h 1274"/>
                <a:gd name="T72" fmla="*/ 339 w 986"/>
                <a:gd name="T73" fmla="*/ 106 h 1274"/>
                <a:gd name="T74" fmla="*/ 337 w 986"/>
                <a:gd name="T75" fmla="*/ 156 h 1274"/>
                <a:gd name="T76" fmla="*/ 270 w 986"/>
                <a:gd name="T77" fmla="*/ 156 h 1274"/>
                <a:gd name="T78" fmla="*/ 282 w 986"/>
                <a:gd name="T79" fmla="*/ 195 h 1274"/>
                <a:gd name="T80" fmla="*/ 338 w 986"/>
                <a:gd name="T81" fmla="*/ 224 h 1274"/>
                <a:gd name="T82" fmla="*/ 291 w 986"/>
                <a:gd name="T83" fmla="*/ 302 h 1274"/>
                <a:gd name="T84" fmla="*/ 296 w 986"/>
                <a:gd name="T85" fmla="*/ 342 h 1274"/>
                <a:gd name="T86" fmla="*/ 242 w 986"/>
                <a:gd name="T87" fmla="*/ 334 h 1274"/>
                <a:gd name="T88" fmla="*/ 231 w 986"/>
                <a:gd name="T89" fmla="*/ 361 h 1274"/>
                <a:gd name="T90" fmla="*/ 217 w 986"/>
                <a:gd name="T91" fmla="*/ 406 h 1274"/>
                <a:gd name="T92" fmla="*/ 155 w 986"/>
                <a:gd name="T93" fmla="*/ 428 h 1274"/>
                <a:gd name="T94" fmla="*/ 72 w 986"/>
                <a:gd name="T95" fmla="*/ 569 h 1274"/>
                <a:gd name="T96" fmla="*/ 56 w 986"/>
                <a:gd name="T97" fmla="*/ 740 h 1274"/>
                <a:gd name="T98" fmla="*/ 14 w 986"/>
                <a:gd name="T99" fmla="*/ 765 h 1274"/>
                <a:gd name="T100" fmla="*/ 30 w 986"/>
                <a:gd name="T101" fmla="*/ 801 h 1274"/>
                <a:gd name="T102" fmla="*/ 72 w 986"/>
                <a:gd name="T103" fmla="*/ 837 h 1274"/>
                <a:gd name="T104" fmla="*/ 124 w 986"/>
                <a:gd name="T105" fmla="*/ 939 h 1274"/>
                <a:gd name="T106" fmla="*/ 181 w 986"/>
                <a:gd name="T107" fmla="*/ 957 h 1274"/>
                <a:gd name="T108" fmla="*/ 231 w 986"/>
                <a:gd name="T109" fmla="*/ 998 h 1274"/>
                <a:gd name="T110" fmla="*/ 247 w 986"/>
                <a:gd name="T111" fmla="*/ 1003 h 12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</a:cxnLst>
              <a:rect l="0" t="0" r="r" b="b"/>
              <a:pathLst>
                <a:path w="986" h="1274">
                  <a:moveTo>
                    <a:pt x="247" y="1003"/>
                  </a:moveTo>
                  <a:cubicBezTo>
                    <a:pt x="281" y="989"/>
                    <a:pt x="316" y="979"/>
                    <a:pt x="349" y="963"/>
                  </a:cubicBezTo>
                  <a:cubicBezTo>
                    <a:pt x="363" y="951"/>
                    <a:pt x="375" y="929"/>
                    <a:pt x="390" y="923"/>
                  </a:cubicBezTo>
                  <a:cubicBezTo>
                    <a:pt x="432" y="936"/>
                    <a:pt x="474" y="949"/>
                    <a:pt x="516" y="962"/>
                  </a:cubicBezTo>
                  <a:cubicBezTo>
                    <a:pt x="524" y="981"/>
                    <a:pt x="540" y="999"/>
                    <a:pt x="544" y="1018"/>
                  </a:cubicBezTo>
                  <a:cubicBezTo>
                    <a:pt x="541" y="1039"/>
                    <a:pt x="525" y="1061"/>
                    <a:pt x="544" y="1078"/>
                  </a:cubicBezTo>
                  <a:cubicBezTo>
                    <a:pt x="556" y="1089"/>
                    <a:pt x="561" y="1123"/>
                    <a:pt x="577" y="1120"/>
                  </a:cubicBezTo>
                  <a:cubicBezTo>
                    <a:pt x="597" y="1110"/>
                    <a:pt x="616" y="1101"/>
                    <a:pt x="636" y="1091"/>
                  </a:cubicBezTo>
                  <a:cubicBezTo>
                    <a:pt x="656" y="1133"/>
                    <a:pt x="670" y="1178"/>
                    <a:pt x="694" y="1218"/>
                  </a:cubicBezTo>
                  <a:cubicBezTo>
                    <a:pt x="707" y="1233"/>
                    <a:pt x="720" y="1262"/>
                    <a:pt x="729" y="1239"/>
                  </a:cubicBezTo>
                  <a:cubicBezTo>
                    <a:pt x="745" y="1243"/>
                    <a:pt x="766" y="1274"/>
                    <a:pt x="779" y="1259"/>
                  </a:cubicBezTo>
                  <a:cubicBezTo>
                    <a:pt x="848" y="1181"/>
                    <a:pt x="917" y="1104"/>
                    <a:pt x="986" y="1027"/>
                  </a:cubicBezTo>
                  <a:cubicBezTo>
                    <a:pt x="969" y="1008"/>
                    <a:pt x="953" y="1014"/>
                    <a:pt x="939" y="1032"/>
                  </a:cubicBezTo>
                  <a:cubicBezTo>
                    <a:pt x="912" y="1026"/>
                    <a:pt x="879" y="1033"/>
                    <a:pt x="861" y="1009"/>
                  </a:cubicBezTo>
                  <a:cubicBezTo>
                    <a:pt x="845" y="991"/>
                    <a:pt x="842" y="965"/>
                    <a:pt x="840" y="942"/>
                  </a:cubicBezTo>
                  <a:cubicBezTo>
                    <a:pt x="821" y="920"/>
                    <a:pt x="792" y="904"/>
                    <a:pt x="789" y="873"/>
                  </a:cubicBezTo>
                  <a:cubicBezTo>
                    <a:pt x="784" y="848"/>
                    <a:pt x="772" y="823"/>
                    <a:pt x="771" y="799"/>
                  </a:cubicBezTo>
                  <a:cubicBezTo>
                    <a:pt x="780" y="780"/>
                    <a:pt x="797" y="762"/>
                    <a:pt x="801" y="743"/>
                  </a:cubicBezTo>
                  <a:cubicBezTo>
                    <a:pt x="789" y="716"/>
                    <a:pt x="772" y="689"/>
                    <a:pt x="765" y="661"/>
                  </a:cubicBezTo>
                  <a:cubicBezTo>
                    <a:pt x="775" y="633"/>
                    <a:pt x="778" y="601"/>
                    <a:pt x="792" y="575"/>
                  </a:cubicBezTo>
                  <a:cubicBezTo>
                    <a:pt x="804" y="560"/>
                    <a:pt x="826" y="548"/>
                    <a:pt x="819" y="525"/>
                  </a:cubicBezTo>
                  <a:cubicBezTo>
                    <a:pt x="817" y="507"/>
                    <a:pt x="829" y="474"/>
                    <a:pt x="800" y="483"/>
                  </a:cubicBezTo>
                  <a:cubicBezTo>
                    <a:pt x="774" y="482"/>
                    <a:pt x="746" y="486"/>
                    <a:pt x="720" y="482"/>
                  </a:cubicBezTo>
                  <a:cubicBezTo>
                    <a:pt x="708" y="468"/>
                    <a:pt x="678" y="465"/>
                    <a:pt x="679" y="444"/>
                  </a:cubicBezTo>
                  <a:cubicBezTo>
                    <a:pt x="693" y="425"/>
                    <a:pt x="673" y="419"/>
                    <a:pt x="678" y="397"/>
                  </a:cubicBezTo>
                  <a:cubicBezTo>
                    <a:pt x="683" y="351"/>
                    <a:pt x="689" y="305"/>
                    <a:pt x="694" y="259"/>
                  </a:cubicBezTo>
                  <a:cubicBezTo>
                    <a:pt x="712" y="249"/>
                    <a:pt x="740" y="239"/>
                    <a:pt x="706" y="231"/>
                  </a:cubicBezTo>
                  <a:cubicBezTo>
                    <a:pt x="699" y="213"/>
                    <a:pt x="705" y="188"/>
                    <a:pt x="704" y="167"/>
                  </a:cubicBezTo>
                  <a:cubicBezTo>
                    <a:pt x="703" y="120"/>
                    <a:pt x="707" y="72"/>
                    <a:pt x="704" y="25"/>
                  </a:cubicBezTo>
                  <a:cubicBezTo>
                    <a:pt x="698" y="0"/>
                    <a:pt x="676" y="4"/>
                    <a:pt x="655" y="6"/>
                  </a:cubicBezTo>
                  <a:cubicBezTo>
                    <a:pt x="630" y="9"/>
                    <a:pt x="601" y="6"/>
                    <a:pt x="578" y="13"/>
                  </a:cubicBezTo>
                  <a:cubicBezTo>
                    <a:pt x="526" y="78"/>
                    <a:pt x="474" y="144"/>
                    <a:pt x="422" y="209"/>
                  </a:cubicBezTo>
                  <a:cubicBezTo>
                    <a:pt x="405" y="198"/>
                    <a:pt x="387" y="188"/>
                    <a:pt x="370" y="177"/>
                  </a:cubicBezTo>
                  <a:cubicBezTo>
                    <a:pt x="394" y="154"/>
                    <a:pt x="418" y="130"/>
                    <a:pt x="443" y="107"/>
                  </a:cubicBezTo>
                  <a:cubicBezTo>
                    <a:pt x="432" y="88"/>
                    <a:pt x="418" y="71"/>
                    <a:pt x="396" y="64"/>
                  </a:cubicBezTo>
                  <a:cubicBezTo>
                    <a:pt x="378" y="54"/>
                    <a:pt x="359" y="44"/>
                    <a:pt x="338" y="51"/>
                  </a:cubicBezTo>
                  <a:cubicBezTo>
                    <a:pt x="325" y="59"/>
                    <a:pt x="341" y="89"/>
                    <a:pt x="339" y="106"/>
                  </a:cubicBezTo>
                  <a:cubicBezTo>
                    <a:pt x="337" y="121"/>
                    <a:pt x="357" y="157"/>
                    <a:pt x="337" y="156"/>
                  </a:cubicBezTo>
                  <a:cubicBezTo>
                    <a:pt x="315" y="156"/>
                    <a:pt x="293" y="156"/>
                    <a:pt x="270" y="156"/>
                  </a:cubicBezTo>
                  <a:cubicBezTo>
                    <a:pt x="248" y="175"/>
                    <a:pt x="257" y="187"/>
                    <a:pt x="282" y="195"/>
                  </a:cubicBezTo>
                  <a:cubicBezTo>
                    <a:pt x="301" y="204"/>
                    <a:pt x="319" y="214"/>
                    <a:pt x="338" y="224"/>
                  </a:cubicBezTo>
                  <a:cubicBezTo>
                    <a:pt x="322" y="250"/>
                    <a:pt x="307" y="276"/>
                    <a:pt x="291" y="302"/>
                  </a:cubicBezTo>
                  <a:cubicBezTo>
                    <a:pt x="299" y="318"/>
                    <a:pt x="329" y="338"/>
                    <a:pt x="296" y="342"/>
                  </a:cubicBezTo>
                  <a:cubicBezTo>
                    <a:pt x="277" y="358"/>
                    <a:pt x="260" y="345"/>
                    <a:pt x="242" y="334"/>
                  </a:cubicBezTo>
                  <a:cubicBezTo>
                    <a:pt x="215" y="309"/>
                    <a:pt x="228" y="343"/>
                    <a:pt x="231" y="361"/>
                  </a:cubicBezTo>
                  <a:cubicBezTo>
                    <a:pt x="235" y="381"/>
                    <a:pt x="247" y="406"/>
                    <a:pt x="217" y="406"/>
                  </a:cubicBezTo>
                  <a:cubicBezTo>
                    <a:pt x="197" y="414"/>
                    <a:pt x="173" y="417"/>
                    <a:pt x="155" y="428"/>
                  </a:cubicBezTo>
                  <a:cubicBezTo>
                    <a:pt x="128" y="475"/>
                    <a:pt x="97" y="521"/>
                    <a:pt x="72" y="569"/>
                  </a:cubicBezTo>
                  <a:cubicBezTo>
                    <a:pt x="66" y="626"/>
                    <a:pt x="64" y="684"/>
                    <a:pt x="56" y="740"/>
                  </a:cubicBezTo>
                  <a:cubicBezTo>
                    <a:pt x="48" y="761"/>
                    <a:pt x="38" y="777"/>
                    <a:pt x="14" y="765"/>
                  </a:cubicBezTo>
                  <a:cubicBezTo>
                    <a:pt x="0" y="768"/>
                    <a:pt x="5" y="808"/>
                    <a:pt x="30" y="801"/>
                  </a:cubicBezTo>
                  <a:cubicBezTo>
                    <a:pt x="54" y="801"/>
                    <a:pt x="65" y="816"/>
                    <a:pt x="72" y="837"/>
                  </a:cubicBezTo>
                  <a:cubicBezTo>
                    <a:pt x="90" y="871"/>
                    <a:pt x="107" y="905"/>
                    <a:pt x="124" y="939"/>
                  </a:cubicBezTo>
                  <a:cubicBezTo>
                    <a:pt x="145" y="943"/>
                    <a:pt x="171" y="934"/>
                    <a:pt x="181" y="957"/>
                  </a:cubicBezTo>
                  <a:cubicBezTo>
                    <a:pt x="196" y="974"/>
                    <a:pt x="206" y="997"/>
                    <a:pt x="231" y="998"/>
                  </a:cubicBezTo>
                  <a:cubicBezTo>
                    <a:pt x="236" y="1000"/>
                    <a:pt x="242" y="1002"/>
                    <a:pt x="247" y="100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4" name="Freeform 63"/>
            <p:cNvSpPr>
              <a:spLocks/>
            </p:cNvSpPr>
            <p:nvPr/>
          </p:nvSpPr>
          <p:spPr bwMode="auto">
            <a:xfrm>
              <a:off x="1371772" y="4047803"/>
              <a:ext cx="426524" cy="509738"/>
            </a:xfrm>
            <a:custGeom>
              <a:avLst/>
              <a:gdLst>
                <a:gd name="T0" fmla="*/ 809 w 1164"/>
                <a:gd name="T1" fmla="*/ 820 h 1565"/>
                <a:gd name="T2" fmla="*/ 834 w 1164"/>
                <a:gd name="T3" fmla="*/ 764 h 1565"/>
                <a:gd name="T4" fmla="*/ 787 w 1164"/>
                <a:gd name="T5" fmla="*/ 734 h 1565"/>
                <a:gd name="T6" fmla="*/ 787 w 1164"/>
                <a:gd name="T7" fmla="*/ 680 h 1565"/>
                <a:gd name="T8" fmla="*/ 806 w 1164"/>
                <a:gd name="T9" fmla="*/ 637 h 1565"/>
                <a:gd name="T10" fmla="*/ 843 w 1164"/>
                <a:gd name="T11" fmla="*/ 605 h 1565"/>
                <a:gd name="T12" fmla="*/ 934 w 1164"/>
                <a:gd name="T13" fmla="*/ 595 h 1565"/>
                <a:gd name="T14" fmla="*/ 984 w 1164"/>
                <a:gd name="T15" fmla="*/ 610 h 1565"/>
                <a:gd name="T16" fmla="*/ 1026 w 1164"/>
                <a:gd name="T17" fmla="*/ 591 h 1565"/>
                <a:gd name="T18" fmla="*/ 1142 w 1164"/>
                <a:gd name="T19" fmla="*/ 633 h 1565"/>
                <a:gd name="T20" fmla="*/ 1107 w 1164"/>
                <a:gd name="T21" fmla="*/ 574 h 1565"/>
                <a:gd name="T22" fmla="*/ 1125 w 1164"/>
                <a:gd name="T23" fmla="*/ 529 h 1565"/>
                <a:gd name="T24" fmla="*/ 1118 w 1164"/>
                <a:gd name="T25" fmla="*/ 532 h 1565"/>
                <a:gd name="T26" fmla="*/ 1071 w 1164"/>
                <a:gd name="T27" fmla="*/ 510 h 1565"/>
                <a:gd name="T28" fmla="*/ 844 w 1164"/>
                <a:gd name="T29" fmla="*/ 0 h 1565"/>
                <a:gd name="T30" fmla="*/ 683 w 1164"/>
                <a:gd name="T31" fmla="*/ 99 h 1565"/>
                <a:gd name="T32" fmla="*/ 683 w 1164"/>
                <a:gd name="T33" fmla="*/ 168 h 1565"/>
                <a:gd name="T34" fmla="*/ 631 w 1164"/>
                <a:gd name="T35" fmla="*/ 211 h 1565"/>
                <a:gd name="T36" fmla="*/ 619 w 1164"/>
                <a:gd name="T37" fmla="*/ 294 h 1565"/>
                <a:gd name="T38" fmla="*/ 703 w 1164"/>
                <a:gd name="T39" fmla="*/ 364 h 1565"/>
                <a:gd name="T40" fmla="*/ 774 w 1164"/>
                <a:gd name="T41" fmla="*/ 408 h 1565"/>
                <a:gd name="T42" fmla="*/ 800 w 1164"/>
                <a:gd name="T43" fmla="*/ 475 h 1565"/>
                <a:gd name="T44" fmla="*/ 595 w 1164"/>
                <a:gd name="T45" fmla="*/ 563 h 1565"/>
                <a:gd name="T46" fmla="*/ 490 w 1164"/>
                <a:gd name="T47" fmla="*/ 580 h 1565"/>
                <a:gd name="T48" fmla="*/ 382 w 1164"/>
                <a:gd name="T49" fmla="*/ 554 h 1565"/>
                <a:gd name="T50" fmla="*/ 333 w 1164"/>
                <a:gd name="T51" fmla="*/ 446 h 1565"/>
                <a:gd name="T52" fmla="*/ 198 w 1164"/>
                <a:gd name="T53" fmla="*/ 446 h 1565"/>
                <a:gd name="T54" fmla="*/ 181 w 1164"/>
                <a:gd name="T55" fmla="*/ 627 h 1565"/>
                <a:gd name="T56" fmla="*/ 115 w 1164"/>
                <a:gd name="T57" fmla="*/ 634 h 1565"/>
                <a:gd name="T58" fmla="*/ 50 w 1164"/>
                <a:gd name="T59" fmla="*/ 643 h 1565"/>
                <a:gd name="T60" fmla="*/ 29 w 1164"/>
                <a:gd name="T61" fmla="*/ 706 h 1565"/>
                <a:gd name="T62" fmla="*/ 17 w 1164"/>
                <a:gd name="T63" fmla="*/ 805 h 1565"/>
                <a:gd name="T64" fmla="*/ 37 w 1164"/>
                <a:gd name="T65" fmla="*/ 857 h 1565"/>
                <a:gd name="T66" fmla="*/ 104 w 1164"/>
                <a:gd name="T67" fmla="*/ 875 h 1565"/>
                <a:gd name="T68" fmla="*/ 160 w 1164"/>
                <a:gd name="T69" fmla="*/ 891 h 1565"/>
                <a:gd name="T70" fmla="*/ 142 w 1164"/>
                <a:gd name="T71" fmla="*/ 957 h 1565"/>
                <a:gd name="T72" fmla="*/ 106 w 1164"/>
                <a:gd name="T73" fmla="*/ 1052 h 1565"/>
                <a:gd name="T74" fmla="*/ 143 w 1164"/>
                <a:gd name="T75" fmla="*/ 1138 h 1565"/>
                <a:gd name="T76" fmla="*/ 113 w 1164"/>
                <a:gd name="T77" fmla="*/ 1201 h 1565"/>
                <a:gd name="T78" fmla="*/ 143 w 1164"/>
                <a:gd name="T79" fmla="*/ 1296 h 1565"/>
                <a:gd name="T80" fmla="*/ 184 w 1164"/>
                <a:gd name="T81" fmla="*/ 1360 h 1565"/>
                <a:gd name="T82" fmla="*/ 238 w 1164"/>
                <a:gd name="T83" fmla="*/ 1419 h 1565"/>
                <a:gd name="T84" fmla="*/ 304 w 1164"/>
                <a:gd name="T85" fmla="*/ 1404 h 1565"/>
                <a:gd name="T86" fmla="*/ 343 w 1164"/>
                <a:gd name="T87" fmla="*/ 1450 h 1565"/>
                <a:gd name="T88" fmla="*/ 333 w 1164"/>
                <a:gd name="T89" fmla="*/ 1550 h 1565"/>
                <a:gd name="T90" fmla="*/ 441 w 1164"/>
                <a:gd name="T91" fmla="*/ 1565 h 1565"/>
                <a:gd name="T92" fmla="*/ 494 w 1164"/>
                <a:gd name="T93" fmla="*/ 1536 h 1565"/>
                <a:gd name="T94" fmla="*/ 514 w 1164"/>
                <a:gd name="T95" fmla="*/ 1487 h 1565"/>
                <a:gd name="T96" fmla="*/ 581 w 1164"/>
                <a:gd name="T97" fmla="*/ 1478 h 1565"/>
                <a:gd name="T98" fmla="*/ 651 w 1164"/>
                <a:gd name="T99" fmla="*/ 1498 h 1565"/>
                <a:gd name="T100" fmla="*/ 708 w 1164"/>
                <a:gd name="T101" fmla="*/ 1494 h 1565"/>
                <a:gd name="T102" fmla="*/ 780 w 1164"/>
                <a:gd name="T103" fmla="*/ 1325 h 1565"/>
                <a:gd name="T104" fmla="*/ 803 w 1164"/>
                <a:gd name="T105" fmla="*/ 1267 h 1565"/>
                <a:gd name="T106" fmla="*/ 830 w 1164"/>
                <a:gd name="T107" fmla="*/ 1220 h 1565"/>
                <a:gd name="T108" fmla="*/ 842 w 1164"/>
                <a:gd name="T109" fmla="*/ 974 h 1565"/>
                <a:gd name="T110" fmla="*/ 797 w 1164"/>
                <a:gd name="T111" fmla="*/ 953 h 1565"/>
                <a:gd name="T112" fmla="*/ 771 w 1164"/>
                <a:gd name="T113" fmla="*/ 873 h 1565"/>
                <a:gd name="T114" fmla="*/ 809 w 1164"/>
                <a:gd name="T115" fmla="*/ 820 h 156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1164" h="1565">
                  <a:moveTo>
                    <a:pt x="809" y="820"/>
                  </a:moveTo>
                  <a:cubicBezTo>
                    <a:pt x="835" y="809"/>
                    <a:pt x="843" y="791"/>
                    <a:pt x="834" y="764"/>
                  </a:cubicBezTo>
                  <a:cubicBezTo>
                    <a:pt x="844" y="728"/>
                    <a:pt x="802" y="747"/>
                    <a:pt x="787" y="734"/>
                  </a:cubicBezTo>
                  <a:cubicBezTo>
                    <a:pt x="788" y="717"/>
                    <a:pt x="755" y="674"/>
                    <a:pt x="787" y="680"/>
                  </a:cubicBezTo>
                  <a:cubicBezTo>
                    <a:pt x="824" y="691"/>
                    <a:pt x="811" y="661"/>
                    <a:pt x="806" y="637"/>
                  </a:cubicBezTo>
                  <a:cubicBezTo>
                    <a:pt x="787" y="604"/>
                    <a:pt x="819" y="607"/>
                    <a:pt x="843" y="605"/>
                  </a:cubicBezTo>
                  <a:cubicBezTo>
                    <a:pt x="874" y="602"/>
                    <a:pt x="904" y="598"/>
                    <a:pt x="934" y="595"/>
                  </a:cubicBezTo>
                  <a:cubicBezTo>
                    <a:pt x="924" y="630"/>
                    <a:pt x="965" y="608"/>
                    <a:pt x="984" y="610"/>
                  </a:cubicBezTo>
                  <a:cubicBezTo>
                    <a:pt x="959" y="577"/>
                    <a:pt x="1007" y="594"/>
                    <a:pt x="1026" y="591"/>
                  </a:cubicBezTo>
                  <a:cubicBezTo>
                    <a:pt x="1068" y="592"/>
                    <a:pt x="1103" y="620"/>
                    <a:pt x="1142" y="633"/>
                  </a:cubicBezTo>
                  <a:cubicBezTo>
                    <a:pt x="1139" y="621"/>
                    <a:pt x="1117" y="593"/>
                    <a:pt x="1107" y="574"/>
                  </a:cubicBezTo>
                  <a:cubicBezTo>
                    <a:pt x="1081" y="550"/>
                    <a:pt x="1095" y="537"/>
                    <a:pt x="1125" y="529"/>
                  </a:cubicBezTo>
                  <a:cubicBezTo>
                    <a:pt x="1164" y="511"/>
                    <a:pt x="1146" y="519"/>
                    <a:pt x="1118" y="532"/>
                  </a:cubicBezTo>
                  <a:cubicBezTo>
                    <a:pt x="1091" y="554"/>
                    <a:pt x="1079" y="538"/>
                    <a:pt x="1071" y="510"/>
                  </a:cubicBezTo>
                  <a:cubicBezTo>
                    <a:pt x="996" y="340"/>
                    <a:pt x="920" y="170"/>
                    <a:pt x="844" y="0"/>
                  </a:cubicBezTo>
                  <a:cubicBezTo>
                    <a:pt x="790" y="33"/>
                    <a:pt x="737" y="66"/>
                    <a:pt x="683" y="99"/>
                  </a:cubicBezTo>
                  <a:cubicBezTo>
                    <a:pt x="682" y="121"/>
                    <a:pt x="690" y="149"/>
                    <a:pt x="683" y="168"/>
                  </a:cubicBezTo>
                  <a:cubicBezTo>
                    <a:pt x="666" y="182"/>
                    <a:pt x="630" y="184"/>
                    <a:pt x="631" y="211"/>
                  </a:cubicBezTo>
                  <a:cubicBezTo>
                    <a:pt x="627" y="239"/>
                    <a:pt x="623" y="266"/>
                    <a:pt x="619" y="294"/>
                  </a:cubicBezTo>
                  <a:cubicBezTo>
                    <a:pt x="650" y="315"/>
                    <a:pt x="686" y="329"/>
                    <a:pt x="703" y="364"/>
                  </a:cubicBezTo>
                  <a:cubicBezTo>
                    <a:pt x="716" y="393"/>
                    <a:pt x="749" y="395"/>
                    <a:pt x="774" y="408"/>
                  </a:cubicBezTo>
                  <a:cubicBezTo>
                    <a:pt x="782" y="431"/>
                    <a:pt x="791" y="453"/>
                    <a:pt x="800" y="475"/>
                  </a:cubicBezTo>
                  <a:cubicBezTo>
                    <a:pt x="732" y="507"/>
                    <a:pt x="668" y="547"/>
                    <a:pt x="595" y="563"/>
                  </a:cubicBezTo>
                  <a:cubicBezTo>
                    <a:pt x="560" y="569"/>
                    <a:pt x="525" y="595"/>
                    <a:pt x="490" y="580"/>
                  </a:cubicBezTo>
                  <a:cubicBezTo>
                    <a:pt x="454" y="571"/>
                    <a:pt x="418" y="563"/>
                    <a:pt x="382" y="554"/>
                  </a:cubicBezTo>
                  <a:cubicBezTo>
                    <a:pt x="366" y="518"/>
                    <a:pt x="349" y="482"/>
                    <a:pt x="333" y="446"/>
                  </a:cubicBezTo>
                  <a:cubicBezTo>
                    <a:pt x="288" y="446"/>
                    <a:pt x="243" y="446"/>
                    <a:pt x="198" y="446"/>
                  </a:cubicBezTo>
                  <a:cubicBezTo>
                    <a:pt x="191" y="506"/>
                    <a:pt x="195" y="568"/>
                    <a:pt x="181" y="627"/>
                  </a:cubicBezTo>
                  <a:cubicBezTo>
                    <a:pt x="172" y="647"/>
                    <a:pt x="135" y="629"/>
                    <a:pt x="115" y="634"/>
                  </a:cubicBezTo>
                  <a:cubicBezTo>
                    <a:pt x="90" y="635"/>
                    <a:pt x="67" y="626"/>
                    <a:pt x="50" y="643"/>
                  </a:cubicBezTo>
                  <a:cubicBezTo>
                    <a:pt x="23" y="650"/>
                    <a:pt x="36" y="685"/>
                    <a:pt x="29" y="706"/>
                  </a:cubicBezTo>
                  <a:cubicBezTo>
                    <a:pt x="25" y="739"/>
                    <a:pt x="21" y="772"/>
                    <a:pt x="17" y="805"/>
                  </a:cubicBezTo>
                  <a:cubicBezTo>
                    <a:pt x="42" y="817"/>
                    <a:pt x="0" y="849"/>
                    <a:pt x="37" y="857"/>
                  </a:cubicBezTo>
                  <a:cubicBezTo>
                    <a:pt x="55" y="876"/>
                    <a:pt x="79" y="878"/>
                    <a:pt x="104" y="875"/>
                  </a:cubicBezTo>
                  <a:cubicBezTo>
                    <a:pt x="122" y="881"/>
                    <a:pt x="167" y="861"/>
                    <a:pt x="160" y="891"/>
                  </a:cubicBezTo>
                  <a:cubicBezTo>
                    <a:pt x="160" y="916"/>
                    <a:pt x="166" y="942"/>
                    <a:pt x="142" y="957"/>
                  </a:cubicBezTo>
                  <a:cubicBezTo>
                    <a:pt x="116" y="981"/>
                    <a:pt x="119" y="1021"/>
                    <a:pt x="106" y="1052"/>
                  </a:cubicBezTo>
                  <a:cubicBezTo>
                    <a:pt x="112" y="1081"/>
                    <a:pt x="132" y="1109"/>
                    <a:pt x="143" y="1138"/>
                  </a:cubicBezTo>
                  <a:cubicBezTo>
                    <a:pt x="135" y="1160"/>
                    <a:pt x="111" y="1179"/>
                    <a:pt x="113" y="1201"/>
                  </a:cubicBezTo>
                  <a:cubicBezTo>
                    <a:pt x="124" y="1232"/>
                    <a:pt x="126" y="1268"/>
                    <a:pt x="143" y="1296"/>
                  </a:cubicBezTo>
                  <a:cubicBezTo>
                    <a:pt x="160" y="1315"/>
                    <a:pt x="188" y="1330"/>
                    <a:pt x="184" y="1360"/>
                  </a:cubicBezTo>
                  <a:cubicBezTo>
                    <a:pt x="189" y="1388"/>
                    <a:pt x="206" y="1419"/>
                    <a:pt x="238" y="1419"/>
                  </a:cubicBezTo>
                  <a:cubicBezTo>
                    <a:pt x="263" y="1424"/>
                    <a:pt x="288" y="1428"/>
                    <a:pt x="304" y="1404"/>
                  </a:cubicBezTo>
                  <a:cubicBezTo>
                    <a:pt x="320" y="1418"/>
                    <a:pt x="353" y="1421"/>
                    <a:pt x="343" y="1450"/>
                  </a:cubicBezTo>
                  <a:cubicBezTo>
                    <a:pt x="339" y="1483"/>
                    <a:pt x="336" y="1517"/>
                    <a:pt x="333" y="1550"/>
                  </a:cubicBezTo>
                  <a:cubicBezTo>
                    <a:pt x="369" y="1555"/>
                    <a:pt x="405" y="1560"/>
                    <a:pt x="441" y="1565"/>
                  </a:cubicBezTo>
                  <a:cubicBezTo>
                    <a:pt x="449" y="1537"/>
                    <a:pt x="466" y="1526"/>
                    <a:pt x="494" y="1536"/>
                  </a:cubicBezTo>
                  <a:cubicBezTo>
                    <a:pt x="528" y="1550"/>
                    <a:pt x="509" y="1506"/>
                    <a:pt x="514" y="1487"/>
                  </a:cubicBezTo>
                  <a:cubicBezTo>
                    <a:pt x="522" y="1471"/>
                    <a:pt x="560" y="1483"/>
                    <a:pt x="581" y="1478"/>
                  </a:cubicBezTo>
                  <a:cubicBezTo>
                    <a:pt x="607" y="1472"/>
                    <a:pt x="629" y="1484"/>
                    <a:pt x="651" y="1498"/>
                  </a:cubicBezTo>
                  <a:cubicBezTo>
                    <a:pt x="668" y="1510"/>
                    <a:pt x="704" y="1525"/>
                    <a:pt x="708" y="1494"/>
                  </a:cubicBezTo>
                  <a:cubicBezTo>
                    <a:pt x="732" y="1438"/>
                    <a:pt x="756" y="1381"/>
                    <a:pt x="780" y="1325"/>
                  </a:cubicBezTo>
                  <a:cubicBezTo>
                    <a:pt x="810" y="1328"/>
                    <a:pt x="796" y="1287"/>
                    <a:pt x="803" y="1267"/>
                  </a:cubicBezTo>
                  <a:cubicBezTo>
                    <a:pt x="793" y="1230"/>
                    <a:pt x="841" y="1256"/>
                    <a:pt x="830" y="1220"/>
                  </a:cubicBezTo>
                  <a:cubicBezTo>
                    <a:pt x="834" y="1138"/>
                    <a:pt x="842" y="1055"/>
                    <a:pt x="842" y="974"/>
                  </a:cubicBezTo>
                  <a:cubicBezTo>
                    <a:pt x="840" y="932"/>
                    <a:pt x="810" y="963"/>
                    <a:pt x="797" y="953"/>
                  </a:cubicBezTo>
                  <a:cubicBezTo>
                    <a:pt x="789" y="926"/>
                    <a:pt x="780" y="899"/>
                    <a:pt x="771" y="873"/>
                  </a:cubicBezTo>
                  <a:cubicBezTo>
                    <a:pt x="783" y="855"/>
                    <a:pt x="796" y="838"/>
                    <a:pt x="809" y="82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5" name="Freeform 64"/>
            <p:cNvSpPr>
              <a:spLocks/>
            </p:cNvSpPr>
            <p:nvPr/>
          </p:nvSpPr>
          <p:spPr bwMode="auto">
            <a:xfrm>
              <a:off x="2409506" y="4941065"/>
              <a:ext cx="434221" cy="356131"/>
            </a:xfrm>
            <a:custGeom>
              <a:avLst/>
              <a:gdLst>
                <a:gd name="T0" fmla="*/ 117 w 395"/>
                <a:gd name="T1" fmla="*/ 261 h 364"/>
                <a:gd name="T2" fmla="*/ 143 w 395"/>
                <a:gd name="T3" fmla="*/ 276 h 364"/>
                <a:gd name="T4" fmla="*/ 141 w 395"/>
                <a:gd name="T5" fmla="*/ 309 h 364"/>
                <a:gd name="T6" fmla="*/ 153 w 395"/>
                <a:gd name="T7" fmla="*/ 314 h 364"/>
                <a:gd name="T8" fmla="*/ 212 w 395"/>
                <a:gd name="T9" fmla="*/ 319 h 364"/>
                <a:gd name="T10" fmla="*/ 229 w 395"/>
                <a:gd name="T11" fmla="*/ 337 h 364"/>
                <a:gd name="T12" fmla="*/ 229 w 395"/>
                <a:gd name="T13" fmla="*/ 359 h 364"/>
                <a:gd name="T14" fmla="*/ 239 w 395"/>
                <a:gd name="T15" fmla="*/ 364 h 364"/>
                <a:gd name="T16" fmla="*/ 303 w 395"/>
                <a:gd name="T17" fmla="*/ 289 h 364"/>
                <a:gd name="T18" fmla="*/ 324 w 395"/>
                <a:gd name="T19" fmla="*/ 263 h 364"/>
                <a:gd name="T20" fmla="*/ 395 w 395"/>
                <a:gd name="T21" fmla="*/ 222 h 364"/>
                <a:gd name="T22" fmla="*/ 383 w 395"/>
                <a:gd name="T23" fmla="*/ 190 h 364"/>
                <a:gd name="T24" fmla="*/ 380 w 395"/>
                <a:gd name="T25" fmla="*/ 160 h 364"/>
                <a:gd name="T26" fmla="*/ 360 w 395"/>
                <a:gd name="T27" fmla="*/ 190 h 364"/>
                <a:gd name="T28" fmla="*/ 348 w 395"/>
                <a:gd name="T29" fmla="*/ 190 h 364"/>
                <a:gd name="T30" fmla="*/ 350 w 395"/>
                <a:gd name="T31" fmla="*/ 174 h 364"/>
                <a:gd name="T32" fmla="*/ 317 w 395"/>
                <a:gd name="T33" fmla="*/ 105 h 364"/>
                <a:gd name="T34" fmla="*/ 219 w 395"/>
                <a:gd name="T35" fmla="*/ 64 h 364"/>
                <a:gd name="T36" fmla="*/ 226 w 395"/>
                <a:gd name="T37" fmla="*/ 45 h 364"/>
                <a:gd name="T38" fmla="*/ 201 w 395"/>
                <a:gd name="T39" fmla="*/ 52 h 364"/>
                <a:gd name="T40" fmla="*/ 97 w 395"/>
                <a:gd name="T41" fmla="*/ 8 h 364"/>
                <a:gd name="T42" fmla="*/ 66 w 395"/>
                <a:gd name="T43" fmla="*/ 0 h 364"/>
                <a:gd name="T44" fmla="*/ 51 w 395"/>
                <a:gd name="T45" fmla="*/ 30 h 364"/>
                <a:gd name="T46" fmla="*/ 69 w 395"/>
                <a:gd name="T47" fmla="*/ 50 h 364"/>
                <a:gd name="T48" fmla="*/ 82 w 395"/>
                <a:gd name="T49" fmla="*/ 76 h 364"/>
                <a:gd name="T50" fmla="*/ 51 w 395"/>
                <a:gd name="T51" fmla="*/ 93 h 364"/>
                <a:gd name="T52" fmla="*/ 13 w 395"/>
                <a:gd name="T53" fmla="*/ 83 h 364"/>
                <a:gd name="T54" fmla="*/ 0 w 395"/>
                <a:gd name="T55" fmla="*/ 106 h 364"/>
                <a:gd name="T56" fmla="*/ 18 w 395"/>
                <a:gd name="T57" fmla="*/ 110 h 364"/>
                <a:gd name="T58" fmla="*/ 9 w 395"/>
                <a:gd name="T59" fmla="*/ 117 h 364"/>
                <a:gd name="T60" fmla="*/ 29 w 395"/>
                <a:gd name="T61" fmla="*/ 117 h 364"/>
                <a:gd name="T62" fmla="*/ 34 w 395"/>
                <a:gd name="T63" fmla="*/ 129 h 364"/>
                <a:gd name="T64" fmla="*/ 16 w 395"/>
                <a:gd name="T65" fmla="*/ 160 h 364"/>
                <a:gd name="T66" fmla="*/ 48 w 395"/>
                <a:gd name="T67" fmla="*/ 175 h 364"/>
                <a:gd name="T68" fmla="*/ 59 w 395"/>
                <a:gd name="T69" fmla="*/ 168 h 364"/>
                <a:gd name="T70" fmla="*/ 72 w 395"/>
                <a:gd name="T71" fmla="*/ 177 h 364"/>
                <a:gd name="T72" fmla="*/ 70 w 395"/>
                <a:gd name="T73" fmla="*/ 191 h 364"/>
                <a:gd name="T74" fmla="*/ 94 w 395"/>
                <a:gd name="T75" fmla="*/ 200 h 364"/>
                <a:gd name="T76" fmla="*/ 86 w 395"/>
                <a:gd name="T77" fmla="*/ 240 h 364"/>
                <a:gd name="T78" fmla="*/ 118 w 395"/>
                <a:gd name="T79" fmla="*/ 253 h 364"/>
                <a:gd name="T80" fmla="*/ 117 w 395"/>
                <a:gd name="T81" fmla="*/ 261 h 364"/>
                <a:gd name="T82" fmla="*/ 117 w 395"/>
                <a:gd name="T83" fmla="*/ 261 h 3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395" h="364">
                  <a:moveTo>
                    <a:pt x="117" y="261"/>
                  </a:moveTo>
                  <a:lnTo>
                    <a:pt x="143" y="276"/>
                  </a:lnTo>
                  <a:lnTo>
                    <a:pt x="141" y="309"/>
                  </a:lnTo>
                  <a:lnTo>
                    <a:pt x="153" y="314"/>
                  </a:lnTo>
                  <a:lnTo>
                    <a:pt x="212" y="319"/>
                  </a:lnTo>
                  <a:lnTo>
                    <a:pt x="229" y="337"/>
                  </a:lnTo>
                  <a:lnTo>
                    <a:pt x="229" y="359"/>
                  </a:lnTo>
                  <a:lnTo>
                    <a:pt x="239" y="364"/>
                  </a:lnTo>
                  <a:lnTo>
                    <a:pt x="303" y="289"/>
                  </a:lnTo>
                  <a:lnTo>
                    <a:pt x="324" y="263"/>
                  </a:lnTo>
                  <a:lnTo>
                    <a:pt x="395" y="222"/>
                  </a:lnTo>
                  <a:lnTo>
                    <a:pt x="383" y="190"/>
                  </a:lnTo>
                  <a:lnTo>
                    <a:pt x="380" y="160"/>
                  </a:lnTo>
                  <a:lnTo>
                    <a:pt x="360" y="190"/>
                  </a:lnTo>
                  <a:lnTo>
                    <a:pt x="348" y="190"/>
                  </a:lnTo>
                  <a:lnTo>
                    <a:pt x="350" y="174"/>
                  </a:lnTo>
                  <a:lnTo>
                    <a:pt x="317" y="105"/>
                  </a:lnTo>
                  <a:lnTo>
                    <a:pt x="219" y="64"/>
                  </a:lnTo>
                  <a:lnTo>
                    <a:pt x="226" y="45"/>
                  </a:lnTo>
                  <a:lnTo>
                    <a:pt x="201" y="52"/>
                  </a:lnTo>
                  <a:lnTo>
                    <a:pt x="97" y="8"/>
                  </a:lnTo>
                  <a:lnTo>
                    <a:pt x="66" y="0"/>
                  </a:lnTo>
                  <a:lnTo>
                    <a:pt x="51" y="30"/>
                  </a:lnTo>
                  <a:lnTo>
                    <a:pt x="69" y="50"/>
                  </a:lnTo>
                  <a:lnTo>
                    <a:pt x="82" y="76"/>
                  </a:lnTo>
                  <a:lnTo>
                    <a:pt x="51" y="93"/>
                  </a:lnTo>
                  <a:lnTo>
                    <a:pt x="13" y="83"/>
                  </a:lnTo>
                  <a:lnTo>
                    <a:pt x="0" y="106"/>
                  </a:lnTo>
                  <a:lnTo>
                    <a:pt x="18" y="110"/>
                  </a:lnTo>
                  <a:lnTo>
                    <a:pt x="9" y="117"/>
                  </a:lnTo>
                  <a:lnTo>
                    <a:pt x="29" y="117"/>
                  </a:lnTo>
                  <a:lnTo>
                    <a:pt x="34" y="129"/>
                  </a:lnTo>
                  <a:lnTo>
                    <a:pt x="16" y="160"/>
                  </a:lnTo>
                  <a:lnTo>
                    <a:pt x="48" y="175"/>
                  </a:lnTo>
                  <a:lnTo>
                    <a:pt x="59" y="168"/>
                  </a:lnTo>
                  <a:lnTo>
                    <a:pt x="72" y="177"/>
                  </a:lnTo>
                  <a:lnTo>
                    <a:pt x="70" y="191"/>
                  </a:lnTo>
                  <a:lnTo>
                    <a:pt x="94" y="200"/>
                  </a:lnTo>
                  <a:lnTo>
                    <a:pt x="86" y="240"/>
                  </a:lnTo>
                  <a:lnTo>
                    <a:pt x="118" y="253"/>
                  </a:lnTo>
                  <a:lnTo>
                    <a:pt x="117" y="261"/>
                  </a:lnTo>
                  <a:lnTo>
                    <a:pt x="117" y="261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6" name="Freeform 65"/>
            <p:cNvSpPr>
              <a:spLocks/>
            </p:cNvSpPr>
            <p:nvPr/>
          </p:nvSpPr>
          <p:spPr bwMode="auto">
            <a:xfrm>
              <a:off x="2931669" y="3938222"/>
              <a:ext cx="264929" cy="397223"/>
            </a:xfrm>
            <a:custGeom>
              <a:avLst/>
              <a:gdLst>
                <a:gd name="T0" fmla="*/ 675 w 724"/>
                <a:gd name="T1" fmla="*/ 1188 h 1218"/>
                <a:gd name="T2" fmla="*/ 597 w 724"/>
                <a:gd name="T3" fmla="*/ 1124 h 1218"/>
                <a:gd name="T4" fmla="*/ 588 w 724"/>
                <a:gd name="T5" fmla="*/ 1105 h 1218"/>
                <a:gd name="T6" fmla="*/ 562 w 724"/>
                <a:gd name="T7" fmla="*/ 945 h 1218"/>
                <a:gd name="T8" fmla="*/ 677 w 724"/>
                <a:gd name="T9" fmla="*/ 681 h 1218"/>
                <a:gd name="T10" fmla="*/ 724 w 724"/>
                <a:gd name="T11" fmla="*/ 166 h 1218"/>
                <a:gd name="T12" fmla="*/ 503 w 724"/>
                <a:gd name="T13" fmla="*/ 200 h 1218"/>
                <a:gd name="T14" fmla="*/ 251 w 724"/>
                <a:gd name="T15" fmla="*/ 220 h 1218"/>
                <a:gd name="T16" fmla="*/ 171 w 724"/>
                <a:gd name="T17" fmla="*/ 167 h 1218"/>
                <a:gd name="T18" fmla="*/ 115 w 724"/>
                <a:gd name="T19" fmla="*/ 0 h 1218"/>
                <a:gd name="T20" fmla="*/ 0 w 724"/>
                <a:gd name="T21" fmla="*/ 39 h 1218"/>
                <a:gd name="T22" fmla="*/ 80 w 724"/>
                <a:gd name="T23" fmla="*/ 569 h 1218"/>
                <a:gd name="T24" fmla="*/ 19 w 724"/>
                <a:gd name="T25" fmla="*/ 735 h 1218"/>
                <a:gd name="T26" fmla="*/ 19 w 724"/>
                <a:gd name="T27" fmla="*/ 1008 h 1218"/>
                <a:gd name="T28" fmla="*/ 55 w 724"/>
                <a:gd name="T29" fmla="*/ 1028 h 1218"/>
                <a:gd name="T30" fmla="*/ 185 w 724"/>
                <a:gd name="T31" fmla="*/ 1025 h 1218"/>
                <a:gd name="T32" fmla="*/ 240 w 724"/>
                <a:gd name="T33" fmla="*/ 1081 h 1218"/>
                <a:gd name="T34" fmla="*/ 339 w 724"/>
                <a:gd name="T35" fmla="*/ 957 h 1218"/>
                <a:gd name="T36" fmla="*/ 663 w 724"/>
                <a:gd name="T37" fmla="*/ 1218 h 1218"/>
                <a:gd name="T38" fmla="*/ 675 w 724"/>
                <a:gd name="T39" fmla="*/ 1188 h 1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24" h="1218">
                  <a:moveTo>
                    <a:pt x="675" y="1188"/>
                  </a:moveTo>
                  <a:cubicBezTo>
                    <a:pt x="597" y="1124"/>
                    <a:pt x="597" y="1124"/>
                    <a:pt x="597" y="1124"/>
                  </a:cubicBezTo>
                  <a:cubicBezTo>
                    <a:pt x="597" y="1124"/>
                    <a:pt x="602" y="1155"/>
                    <a:pt x="588" y="1105"/>
                  </a:cubicBezTo>
                  <a:cubicBezTo>
                    <a:pt x="574" y="1055"/>
                    <a:pt x="562" y="945"/>
                    <a:pt x="562" y="945"/>
                  </a:cubicBezTo>
                  <a:cubicBezTo>
                    <a:pt x="677" y="681"/>
                    <a:pt x="677" y="681"/>
                    <a:pt x="677" y="681"/>
                  </a:cubicBezTo>
                  <a:cubicBezTo>
                    <a:pt x="724" y="166"/>
                    <a:pt x="724" y="166"/>
                    <a:pt x="724" y="166"/>
                  </a:cubicBezTo>
                  <a:cubicBezTo>
                    <a:pt x="724" y="166"/>
                    <a:pt x="620" y="181"/>
                    <a:pt x="503" y="200"/>
                  </a:cubicBezTo>
                  <a:cubicBezTo>
                    <a:pt x="383" y="219"/>
                    <a:pt x="303" y="221"/>
                    <a:pt x="251" y="220"/>
                  </a:cubicBezTo>
                  <a:cubicBezTo>
                    <a:pt x="198" y="219"/>
                    <a:pt x="196" y="200"/>
                    <a:pt x="171" y="167"/>
                  </a:cubicBezTo>
                  <a:cubicBezTo>
                    <a:pt x="146" y="135"/>
                    <a:pt x="115" y="0"/>
                    <a:pt x="115" y="0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80" y="569"/>
                    <a:pt x="80" y="569"/>
                    <a:pt x="80" y="569"/>
                  </a:cubicBezTo>
                  <a:cubicBezTo>
                    <a:pt x="19" y="735"/>
                    <a:pt x="19" y="735"/>
                    <a:pt x="19" y="735"/>
                  </a:cubicBezTo>
                  <a:cubicBezTo>
                    <a:pt x="19" y="1008"/>
                    <a:pt x="19" y="1008"/>
                    <a:pt x="19" y="1008"/>
                  </a:cubicBezTo>
                  <a:cubicBezTo>
                    <a:pt x="55" y="1028"/>
                    <a:pt x="55" y="1028"/>
                    <a:pt x="55" y="1028"/>
                  </a:cubicBezTo>
                  <a:cubicBezTo>
                    <a:pt x="185" y="1025"/>
                    <a:pt x="185" y="1025"/>
                    <a:pt x="185" y="1025"/>
                  </a:cubicBezTo>
                  <a:cubicBezTo>
                    <a:pt x="240" y="1081"/>
                    <a:pt x="240" y="1081"/>
                    <a:pt x="240" y="1081"/>
                  </a:cubicBezTo>
                  <a:cubicBezTo>
                    <a:pt x="339" y="957"/>
                    <a:pt x="339" y="957"/>
                    <a:pt x="339" y="957"/>
                  </a:cubicBezTo>
                  <a:cubicBezTo>
                    <a:pt x="663" y="1218"/>
                    <a:pt x="663" y="1218"/>
                    <a:pt x="663" y="1218"/>
                  </a:cubicBezTo>
                  <a:lnTo>
                    <a:pt x="675" y="1188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7" name="Freeform 66"/>
            <p:cNvSpPr>
              <a:spLocks/>
            </p:cNvSpPr>
            <p:nvPr/>
          </p:nvSpPr>
          <p:spPr bwMode="auto">
            <a:xfrm>
              <a:off x="2191846" y="4263046"/>
              <a:ext cx="397945" cy="311126"/>
            </a:xfrm>
            <a:custGeom>
              <a:avLst/>
              <a:gdLst>
                <a:gd name="T0" fmla="*/ 290 w 1085"/>
                <a:gd name="T1" fmla="*/ 842 h 955"/>
                <a:gd name="T2" fmla="*/ 388 w 1085"/>
                <a:gd name="T3" fmla="*/ 934 h 955"/>
                <a:gd name="T4" fmla="*/ 435 w 1085"/>
                <a:gd name="T5" fmla="*/ 952 h 955"/>
                <a:gd name="T6" fmla="*/ 485 w 1085"/>
                <a:gd name="T7" fmla="*/ 905 h 955"/>
                <a:gd name="T8" fmla="*/ 447 w 1085"/>
                <a:gd name="T9" fmla="*/ 832 h 955"/>
                <a:gd name="T10" fmla="*/ 464 w 1085"/>
                <a:gd name="T11" fmla="*/ 778 h 955"/>
                <a:gd name="T12" fmla="*/ 525 w 1085"/>
                <a:gd name="T13" fmla="*/ 743 h 955"/>
                <a:gd name="T14" fmla="*/ 569 w 1085"/>
                <a:gd name="T15" fmla="*/ 755 h 955"/>
                <a:gd name="T16" fmla="*/ 607 w 1085"/>
                <a:gd name="T17" fmla="*/ 788 h 955"/>
                <a:gd name="T18" fmla="*/ 713 w 1085"/>
                <a:gd name="T19" fmla="*/ 748 h 955"/>
                <a:gd name="T20" fmla="*/ 762 w 1085"/>
                <a:gd name="T21" fmla="*/ 607 h 955"/>
                <a:gd name="T22" fmla="*/ 882 w 1085"/>
                <a:gd name="T23" fmla="*/ 468 h 955"/>
                <a:gd name="T24" fmla="*/ 875 w 1085"/>
                <a:gd name="T25" fmla="*/ 416 h 955"/>
                <a:gd name="T26" fmla="*/ 901 w 1085"/>
                <a:gd name="T27" fmla="*/ 343 h 955"/>
                <a:gd name="T28" fmla="*/ 937 w 1085"/>
                <a:gd name="T29" fmla="*/ 340 h 955"/>
                <a:gd name="T30" fmla="*/ 977 w 1085"/>
                <a:gd name="T31" fmla="*/ 367 h 955"/>
                <a:gd name="T32" fmla="*/ 1017 w 1085"/>
                <a:gd name="T33" fmla="*/ 390 h 955"/>
                <a:gd name="T34" fmla="*/ 1050 w 1085"/>
                <a:gd name="T35" fmla="*/ 369 h 955"/>
                <a:gd name="T36" fmla="*/ 1085 w 1085"/>
                <a:gd name="T37" fmla="*/ 239 h 955"/>
                <a:gd name="T38" fmla="*/ 859 w 1085"/>
                <a:gd name="T39" fmla="*/ 181 h 955"/>
                <a:gd name="T40" fmla="*/ 671 w 1085"/>
                <a:gd name="T41" fmla="*/ 46 h 955"/>
                <a:gd name="T42" fmla="*/ 433 w 1085"/>
                <a:gd name="T43" fmla="*/ 0 h 955"/>
                <a:gd name="T44" fmla="*/ 402 w 1085"/>
                <a:gd name="T45" fmla="*/ 53 h 955"/>
                <a:gd name="T46" fmla="*/ 369 w 1085"/>
                <a:gd name="T47" fmla="*/ 28 h 955"/>
                <a:gd name="T48" fmla="*/ 344 w 1085"/>
                <a:gd name="T49" fmla="*/ 63 h 955"/>
                <a:gd name="T50" fmla="*/ 379 w 1085"/>
                <a:gd name="T51" fmla="*/ 82 h 955"/>
                <a:gd name="T52" fmla="*/ 240 w 1085"/>
                <a:gd name="T53" fmla="*/ 270 h 955"/>
                <a:gd name="T54" fmla="*/ 167 w 1085"/>
                <a:gd name="T55" fmla="*/ 211 h 955"/>
                <a:gd name="T56" fmla="*/ 0 w 1085"/>
                <a:gd name="T57" fmla="*/ 442 h 955"/>
                <a:gd name="T58" fmla="*/ 299 w 1085"/>
                <a:gd name="T59" fmla="*/ 658 h 955"/>
                <a:gd name="T60" fmla="*/ 362 w 1085"/>
                <a:gd name="T61" fmla="*/ 672 h 955"/>
                <a:gd name="T62" fmla="*/ 290 w 1085"/>
                <a:gd name="T63" fmla="*/ 842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1085" h="955">
                  <a:moveTo>
                    <a:pt x="290" y="842"/>
                  </a:moveTo>
                  <a:cubicBezTo>
                    <a:pt x="290" y="842"/>
                    <a:pt x="364" y="920"/>
                    <a:pt x="388" y="934"/>
                  </a:cubicBezTo>
                  <a:cubicBezTo>
                    <a:pt x="411" y="949"/>
                    <a:pt x="417" y="955"/>
                    <a:pt x="435" y="952"/>
                  </a:cubicBezTo>
                  <a:cubicBezTo>
                    <a:pt x="452" y="948"/>
                    <a:pt x="481" y="927"/>
                    <a:pt x="485" y="905"/>
                  </a:cubicBezTo>
                  <a:cubicBezTo>
                    <a:pt x="489" y="883"/>
                    <a:pt x="449" y="853"/>
                    <a:pt x="447" y="832"/>
                  </a:cubicBezTo>
                  <a:cubicBezTo>
                    <a:pt x="445" y="811"/>
                    <a:pt x="452" y="793"/>
                    <a:pt x="464" y="778"/>
                  </a:cubicBezTo>
                  <a:cubicBezTo>
                    <a:pt x="476" y="763"/>
                    <a:pt x="508" y="745"/>
                    <a:pt x="525" y="743"/>
                  </a:cubicBezTo>
                  <a:cubicBezTo>
                    <a:pt x="542" y="741"/>
                    <a:pt x="556" y="748"/>
                    <a:pt x="569" y="755"/>
                  </a:cubicBezTo>
                  <a:cubicBezTo>
                    <a:pt x="581" y="762"/>
                    <a:pt x="583" y="784"/>
                    <a:pt x="607" y="788"/>
                  </a:cubicBezTo>
                  <a:cubicBezTo>
                    <a:pt x="631" y="793"/>
                    <a:pt x="713" y="748"/>
                    <a:pt x="713" y="748"/>
                  </a:cubicBezTo>
                  <a:cubicBezTo>
                    <a:pt x="762" y="607"/>
                    <a:pt x="762" y="607"/>
                    <a:pt x="762" y="607"/>
                  </a:cubicBezTo>
                  <a:cubicBezTo>
                    <a:pt x="882" y="468"/>
                    <a:pt x="882" y="468"/>
                    <a:pt x="882" y="468"/>
                  </a:cubicBezTo>
                  <a:cubicBezTo>
                    <a:pt x="882" y="468"/>
                    <a:pt x="873" y="436"/>
                    <a:pt x="875" y="416"/>
                  </a:cubicBezTo>
                  <a:cubicBezTo>
                    <a:pt x="877" y="397"/>
                    <a:pt x="887" y="354"/>
                    <a:pt x="901" y="343"/>
                  </a:cubicBezTo>
                  <a:cubicBezTo>
                    <a:pt x="914" y="333"/>
                    <a:pt x="925" y="336"/>
                    <a:pt x="937" y="340"/>
                  </a:cubicBezTo>
                  <a:cubicBezTo>
                    <a:pt x="950" y="343"/>
                    <a:pt x="965" y="360"/>
                    <a:pt x="977" y="367"/>
                  </a:cubicBezTo>
                  <a:cubicBezTo>
                    <a:pt x="989" y="375"/>
                    <a:pt x="1017" y="390"/>
                    <a:pt x="1017" y="390"/>
                  </a:cubicBezTo>
                  <a:cubicBezTo>
                    <a:pt x="1050" y="369"/>
                    <a:pt x="1050" y="369"/>
                    <a:pt x="1050" y="369"/>
                  </a:cubicBezTo>
                  <a:cubicBezTo>
                    <a:pt x="1085" y="239"/>
                    <a:pt x="1085" y="239"/>
                    <a:pt x="1085" y="239"/>
                  </a:cubicBezTo>
                  <a:cubicBezTo>
                    <a:pt x="859" y="181"/>
                    <a:pt x="859" y="181"/>
                    <a:pt x="859" y="181"/>
                  </a:cubicBezTo>
                  <a:cubicBezTo>
                    <a:pt x="671" y="46"/>
                    <a:pt x="671" y="46"/>
                    <a:pt x="671" y="46"/>
                  </a:cubicBezTo>
                  <a:cubicBezTo>
                    <a:pt x="433" y="0"/>
                    <a:pt x="433" y="0"/>
                    <a:pt x="433" y="0"/>
                  </a:cubicBezTo>
                  <a:cubicBezTo>
                    <a:pt x="402" y="53"/>
                    <a:pt x="402" y="53"/>
                    <a:pt x="402" y="53"/>
                  </a:cubicBezTo>
                  <a:cubicBezTo>
                    <a:pt x="369" y="28"/>
                    <a:pt x="369" y="28"/>
                    <a:pt x="369" y="28"/>
                  </a:cubicBezTo>
                  <a:cubicBezTo>
                    <a:pt x="344" y="63"/>
                    <a:pt x="344" y="63"/>
                    <a:pt x="344" y="63"/>
                  </a:cubicBezTo>
                  <a:cubicBezTo>
                    <a:pt x="379" y="82"/>
                    <a:pt x="379" y="82"/>
                    <a:pt x="379" y="82"/>
                  </a:cubicBezTo>
                  <a:cubicBezTo>
                    <a:pt x="240" y="270"/>
                    <a:pt x="240" y="270"/>
                    <a:pt x="240" y="270"/>
                  </a:cubicBezTo>
                  <a:cubicBezTo>
                    <a:pt x="167" y="211"/>
                    <a:pt x="167" y="211"/>
                    <a:pt x="167" y="211"/>
                  </a:cubicBezTo>
                  <a:cubicBezTo>
                    <a:pt x="0" y="442"/>
                    <a:pt x="0" y="442"/>
                    <a:pt x="0" y="442"/>
                  </a:cubicBezTo>
                  <a:cubicBezTo>
                    <a:pt x="299" y="658"/>
                    <a:pt x="299" y="658"/>
                    <a:pt x="299" y="658"/>
                  </a:cubicBezTo>
                  <a:cubicBezTo>
                    <a:pt x="362" y="672"/>
                    <a:pt x="362" y="672"/>
                    <a:pt x="362" y="672"/>
                  </a:cubicBezTo>
                  <a:cubicBezTo>
                    <a:pt x="290" y="842"/>
                    <a:pt x="290" y="842"/>
                    <a:pt x="290" y="842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8" name="Freeform 67"/>
            <p:cNvSpPr>
              <a:spLocks/>
            </p:cNvSpPr>
            <p:nvPr/>
          </p:nvSpPr>
          <p:spPr bwMode="auto">
            <a:xfrm>
              <a:off x="2952555" y="4422524"/>
              <a:ext cx="380356" cy="292537"/>
            </a:xfrm>
            <a:custGeom>
              <a:avLst/>
              <a:gdLst>
                <a:gd name="T0" fmla="*/ 0 w 1038"/>
                <a:gd name="T1" fmla="*/ 19 h 896"/>
                <a:gd name="T2" fmla="*/ 132 w 1038"/>
                <a:gd name="T3" fmla="*/ 29 h 896"/>
                <a:gd name="T4" fmla="*/ 285 w 1038"/>
                <a:gd name="T5" fmla="*/ 0 h 896"/>
                <a:gd name="T6" fmla="*/ 292 w 1038"/>
                <a:gd name="T7" fmla="*/ 59 h 896"/>
                <a:gd name="T8" fmla="*/ 503 w 1038"/>
                <a:gd name="T9" fmla="*/ 94 h 896"/>
                <a:gd name="T10" fmla="*/ 513 w 1038"/>
                <a:gd name="T11" fmla="*/ 66 h 896"/>
                <a:gd name="T12" fmla="*/ 1038 w 1038"/>
                <a:gd name="T13" fmla="*/ 120 h 896"/>
                <a:gd name="T14" fmla="*/ 1026 w 1038"/>
                <a:gd name="T15" fmla="*/ 242 h 896"/>
                <a:gd name="T16" fmla="*/ 937 w 1038"/>
                <a:gd name="T17" fmla="*/ 414 h 896"/>
                <a:gd name="T18" fmla="*/ 777 w 1038"/>
                <a:gd name="T19" fmla="*/ 612 h 896"/>
                <a:gd name="T20" fmla="*/ 717 w 1038"/>
                <a:gd name="T21" fmla="*/ 692 h 896"/>
                <a:gd name="T22" fmla="*/ 504 w 1038"/>
                <a:gd name="T23" fmla="*/ 777 h 896"/>
                <a:gd name="T24" fmla="*/ 339 w 1038"/>
                <a:gd name="T25" fmla="*/ 842 h 896"/>
                <a:gd name="T26" fmla="*/ 278 w 1038"/>
                <a:gd name="T27" fmla="*/ 896 h 896"/>
                <a:gd name="T28" fmla="*/ 177 w 1038"/>
                <a:gd name="T29" fmla="*/ 805 h 896"/>
                <a:gd name="T30" fmla="*/ 96 w 1038"/>
                <a:gd name="T31" fmla="*/ 536 h 896"/>
                <a:gd name="T32" fmla="*/ 0 w 1038"/>
                <a:gd name="T33" fmla="*/ 19 h 89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1038" h="896">
                  <a:moveTo>
                    <a:pt x="0" y="19"/>
                  </a:moveTo>
                  <a:cubicBezTo>
                    <a:pt x="132" y="29"/>
                    <a:pt x="132" y="29"/>
                    <a:pt x="132" y="29"/>
                  </a:cubicBezTo>
                  <a:cubicBezTo>
                    <a:pt x="285" y="0"/>
                    <a:pt x="285" y="0"/>
                    <a:pt x="285" y="0"/>
                  </a:cubicBezTo>
                  <a:cubicBezTo>
                    <a:pt x="292" y="59"/>
                    <a:pt x="292" y="59"/>
                    <a:pt x="292" y="59"/>
                  </a:cubicBezTo>
                  <a:cubicBezTo>
                    <a:pt x="503" y="94"/>
                    <a:pt x="503" y="94"/>
                    <a:pt x="503" y="94"/>
                  </a:cubicBezTo>
                  <a:cubicBezTo>
                    <a:pt x="513" y="66"/>
                    <a:pt x="513" y="66"/>
                    <a:pt x="513" y="66"/>
                  </a:cubicBezTo>
                  <a:cubicBezTo>
                    <a:pt x="1038" y="120"/>
                    <a:pt x="1038" y="120"/>
                    <a:pt x="1038" y="120"/>
                  </a:cubicBezTo>
                  <a:cubicBezTo>
                    <a:pt x="1038" y="120"/>
                    <a:pt x="1038" y="209"/>
                    <a:pt x="1026" y="242"/>
                  </a:cubicBezTo>
                  <a:cubicBezTo>
                    <a:pt x="1014" y="275"/>
                    <a:pt x="951" y="402"/>
                    <a:pt x="937" y="414"/>
                  </a:cubicBezTo>
                  <a:cubicBezTo>
                    <a:pt x="924" y="426"/>
                    <a:pt x="777" y="612"/>
                    <a:pt x="777" y="612"/>
                  </a:cubicBezTo>
                  <a:cubicBezTo>
                    <a:pt x="777" y="612"/>
                    <a:pt x="734" y="685"/>
                    <a:pt x="717" y="692"/>
                  </a:cubicBezTo>
                  <a:cubicBezTo>
                    <a:pt x="699" y="699"/>
                    <a:pt x="544" y="769"/>
                    <a:pt x="504" y="777"/>
                  </a:cubicBezTo>
                  <a:cubicBezTo>
                    <a:pt x="464" y="786"/>
                    <a:pt x="363" y="819"/>
                    <a:pt x="339" y="842"/>
                  </a:cubicBezTo>
                  <a:cubicBezTo>
                    <a:pt x="315" y="864"/>
                    <a:pt x="278" y="896"/>
                    <a:pt x="278" y="896"/>
                  </a:cubicBezTo>
                  <a:cubicBezTo>
                    <a:pt x="177" y="805"/>
                    <a:pt x="177" y="805"/>
                    <a:pt x="177" y="805"/>
                  </a:cubicBezTo>
                  <a:cubicBezTo>
                    <a:pt x="96" y="536"/>
                    <a:pt x="96" y="536"/>
                    <a:pt x="96" y="536"/>
                  </a:cubicBezTo>
                  <a:cubicBezTo>
                    <a:pt x="0" y="19"/>
                    <a:pt x="0" y="19"/>
                    <a:pt x="0" y="1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39" name="Freeform 68"/>
            <p:cNvSpPr>
              <a:spLocks/>
            </p:cNvSpPr>
            <p:nvPr/>
          </p:nvSpPr>
          <p:spPr bwMode="auto">
            <a:xfrm>
              <a:off x="3054793" y="4597654"/>
              <a:ext cx="521064" cy="499954"/>
            </a:xfrm>
            <a:custGeom>
              <a:avLst/>
              <a:gdLst>
                <a:gd name="T0" fmla="*/ 760 w 1421"/>
                <a:gd name="T1" fmla="*/ 1435 h 1532"/>
                <a:gd name="T2" fmla="*/ 844 w 1421"/>
                <a:gd name="T3" fmla="*/ 1449 h 1532"/>
                <a:gd name="T4" fmla="*/ 877 w 1421"/>
                <a:gd name="T5" fmla="*/ 1355 h 1532"/>
                <a:gd name="T6" fmla="*/ 1421 w 1421"/>
                <a:gd name="T7" fmla="*/ 981 h 1532"/>
                <a:gd name="T8" fmla="*/ 1332 w 1421"/>
                <a:gd name="T9" fmla="*/ 864 h 1532"/>
                <a:gd name="T10" fmla="*/ 1322 w 1421"/>
                <a:gd name="T11" fmla="*/ 807 h 1532"/>
                <a:gd name="T12" fmla="*/ 1258 w 1421"/>
                <a:gd name="T13" fmla="*/ 786 h 1532"/>
                <a:gd name="T14" fmla="*/ 1235 w 1421"/>
                <a:gd name="T15" fmla="*/ 755 h 1532"/>
                <a:gd name="T16" fmla="*/ 1162 w 1421"/>
                <a:gd name="T17" fmla="*/ 744 h 1532"/>
                <a:gd name="T18" fmla="*/ 1146 w 1421"/>
                <a:gd name="T19" fmla="*/ 699 h 1532"/>
                <a:gd name="T20" fmla="*/ 1064 w 1421"/>
                <a:gd name="T21" fmla="*/ 702 h 1532"/>
                <a:gd name="T22" fmla="*/ 998 w 1421"/>
                <a:gd name="T23" fmla="*/ 661 h 1532"/>
                <a:gd name="T24" fmla="*/ 1005 w 1421"/>
                <a:gd name="T25" fmla="*/ 631 h 1532"/>
                <a:gd name="T26" fmla="*/ 969 w 1421"/>
                <a:gd name="T27" fmla="*/ 581 h 1532"/>
                <a:gd name="T28" fmla="*/ 924 w 1421"/>
                <a:gd name="T29" fmla="*/ 575 h 1532"/>
                <a:gd name="T30" fmla="*/ 920 w 1421"/>
                <a:gd name="T31" fmla="*/ 535 h 1532"/>
                <a:gd name="T32" fmla="*/ 847 w 1421"/>
                <a:gd name="T33" fmla="*/ 504 h 1532"/>
                <a:gd name="T34" fmla="*/ 842 w 1421"/>
                <a:gd name="T35" fmla="*/ 454 h 1532"/>
                <a:gd name="T36" fmla="*/ 762 w 1421"/>
                <a:gd name="T37" fmla="*/ 438 h 1532"/>
                <a:gd name="T38" fmla="*/ 711 w 1421"/>
                <a:gd name="T39" fmla="*/ 379 h 1532"/>
                <a:gd name="T40" fmla="*/ 675 w 1421"/>
                <a:gd name="T41" fmla="*/ 370 h 1532"/>
                <a:gd name="T42" fmla="*/ 623 w 1421"/>
                <a:gd name="T43" fmla="*/ 287 h 1532"/>
                <a:gd name="T44" fmla="*/ 638 w 1421"/>
                <a:gd name="T45" fmla="*/ 26 h 1532"/>
                <a:gd name="T46" fmla="*/ 610 w 1421"/>
                <a:gd name="T47" fmla="*/ 14 h 1532"/>
                <a:gd name="T48" fmla="*/ 588 w 1421"/>
                <a:gd name="T49" fmla="*/ 22 h 1532"/>
                <a:gd name="T50" fmla="*/ 539 w 1421"/>
                <a:gd name="T51" fmla="*/ 85 h 1532"/>
                <a:gd name="T52" fmla="*/ 506 w 1421"/>
                <a:gd name="T53" fmla="*/ 74 h 1532"/>
                <a:gd name="T54" fmla="*/ 437 w 1421"/>
                <a:gd name="T55" fmla="*/ 151 h 1532"/>
                <a:gd name="T56" fmla="*/ 200 w 1421"/>
                <a:gd name="T57" fmla="*/ 247 h 1532"/>
                <a:gd name="T58" fmla="*/ 56 w 1421"/>
                <a:gd name="T59" fmla="*/ 318 h 1532"/>
                <a:gd name="T60" fmla="*/ 0 w 1421"/>
                <a:gd name="T61" fmla="*/ 361 h 1532"/>
                <a:gd name="T62" fmla="*/ 52 w 1421"/>
                <a:gd name="T63" fmla="*/ 408 h 1532"/>
                <a:gd name="T64" fmla="*/ 303 w 1421"/>
                <a:gd name="T65" fmla="*/ 1182 h 1532"/>
                <a:gd name="T66" fmla="*/ 320 w 1421"/>
                <a:gd name="T67" fmla="*/ 1351 h 1532"/>
                <a:gd name="T68" fmla="*/ 379 w 1421"/>
                <a:gd name="T69" fmla="*/ 1522 h 1532"/>
                <a:gd name="T70" fmla="*/ 517 w 1421"/>
                <a:gd name="T71" fmla="*/ 1532 h 1532"/>
                <a:gd name="T72" fmla="*/ 760 w 1421"/>
                <a:gd name="T73" fmla="*/ 1435 h 15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1421" h="1532">
                  <a:moveTo>
                    <a:pt x="760" y="1435"/>
                  </a:moveTo>
                  <a:cubicBezTo>
                    <a:pt x="844" y="1449"/>
                    <a:pt x="844" y="1449"/>
                    <a:pt x="844" y="1449"/>
                  </a:cubicBezTo>
                  <a:cubicBezTo>
                    <a:pt x="877" y="1355"/>
                    <a:pt x="877" y="1355"/>
                    <a:pt x="877" y="1355"/>
                  </a:cubicBezTo>
                  <a:cubicBezTo>
                    <a:pt x="1421" y="981"/>
                    <a:pt x="1421" y="981"/>
                    <a:pt x="1421" y="981"/>
                  </a:cubicBezTo>
                  <a:cubicBezTo>
                    <a:pt x="1332" y="864"/>
                    <a:pt x="1332" y="864"/>
                    <a:pt x="1332" y="864"/>
                  </a:cubicBezTo>
                  <a:cubicBezTo>
                    <a:pt x="1322" y="807"/>
                    <a:pt x="1322" y="807"/>
                    <a:pt x="1322" y="807"/>
                  </a:cubicBezTo>
                  <a:cubicBezTo>
                    <a:pt x="1258" y="786"/>
                    <a:pt x="1258" y="786"/>
                    <a:pt x="1258" y="786"/>
                  </a:cubicBezTo>
                  <a:cubicBezTo>
                    <a:pt x="1235" y="755"/>
                    <a:pt x="1235" y="755"/>
                    <a:pt x="1235" y="755"/>
                  </a:cubicBezTo>
                  <a:cubicBezTo>
                    <a:pt x="1162" y="744"/>
                    <a:pt x="1162" y="744"/>
                    <a:pt x="1162" y="744"/>
                  </a:cubicBezTo>
                  <a:cubicBezTo>
                    <a:pt x="1146" y="699"/>
                    <a:pt x="1146" y="699"/>
                    <a:pt x="1146" y="699"/>
                  </a:cubicBezTo>
                  <a:cubicBezTo>
                    <a:pt x="1064" y="702"/>
                    <a:pt x="1064" y="702"/>
                    <a:pt x="1064" y="702"/>
                  </a:cubicBezTo>
                  <a:cubicBezTo>
                    <a:pt x="1064" y="702"/>
                    <a:pt x="1005" y="676"/>
                    <a:pt x="998" y="661"/>
                  </a:cubicBezTo>
                  <a:cubicBezTo>
                    <a:pt x="992" y="646"/>
                    <a:pt x="1005" y="631"/>
                    <a:pt x="1005" y="631"/>
                  </a:cubicBezTo>
                  <a:cubicBezTo>
                    <a:pt x="969" y="581"/>
                    <a:pt x="969" y="581"/>
                    <a:pt x="969" y="581"/>
                  </a:cubicBezTo>
                  <a:cubicBezTo>
                    <a:pt x="924" y="575"/>
                    <a:pt x="924" y="575"/>
                    <a:pt x="924" y="575"/>
                  </a:cubicBezTo>
                  <a:cubicBezTo>
                    <a:pt x="920" y="535"/>
                    <a:pt x="920" y="535"/>
                    <a:pt x="920" y="535"/>
                  </a:cubicBezTo>
                  <a:cubicBezTo>
                    <a:pt x="920" y="535"/>
                    <a:pt x="859" y="520"/>
                    <a:pt x="847" y="504"/>
                  </a:cubicBezTo>
                  <a:cubicBezTo>
                    <a:pt x="835" y="488"/>
                    <a:pt x="842" y="454"/>
                    <a:pt x="842" y="454"/>
                  </a:cubicBezTo>
                  <a:cubicBezTo>
                    <a:pt x="762" y="438"/>
                    <a:pt x="762" y="438"/>
                    <a:pt x="762" y="438"/>
                  </a:cubicBezTo>
                  <a:cubicBezTo>
                    <a:pt x="762" y="438"/>
                    <a:pt x="726" y="388"/>
                    <a:pt x="711" y="379"/>
                  </a:cubicBezTo>
                  <a:cubicBezTo>
                    <a:pt x="697" y="370"/>
                    <a:pt x="685" y="370"/>
                    <a:pt x="675" y="370"/>
                  </a:cubicBezTo>
                  <a:cubicBezTo>
                    <a:pt x="664" y="370"/>
                    <a:pt x="623" y="320"/>
                    <a:pt x="623" y="287"/>
                  </a:cubicBezTo>
                  <a:cubicBezTo>
                    <a:pt x="623" y="254"/>
                    <a:pt x="644" y="73"/>
                    <a:pt x="638" y="26"/>
                  </a:cubicBezTo>
                  <a:cubicBezTo>
                    <a:pt x="628" y="19"/>
                    <a:pt x="610" y="14"/>
                    <a:pt x="610" y="14"/>
                  </a:cubicBezTo>
                  <a:cubicBezTo>
                    <a:pt x="610" y="14"/>
                    <a:pt x="605" y="0"/>
                    <a:pt x="588" y="22"/>
                  </a:cubicBezTo>
                  <a:cubicBezTo>
                    <a:pt x="570" y="45"/>
                    <a:pt x="558" y="87"/>
                    <a:pt x="539" y="85"/>
                  </a:cubicBezTo>
                  <a:cubicBezTo>
                    <a:pt x="520" y="83"/>
                    <a:pt x="506" y="74"/>
                    <a:pt x="506" y="74"/>
                  </a:cubicBezTo>
                  <a:cubicBezTo>
                    <a:pt x="506" y="74"/>
                    <a:pt x="477" y="128"/>
                    <a:pt x="437" y="151"/>
                  </a:cubicBezTo>
                  <a:cubicBezTo>
                    <a:pt x="397" y="174"/>
                    <a:pt x="228" y="234"/>
                    <a:pt x="200" y="247"/>
                  </a:cubicBezTo>
                  <a:cubicBezTo>
                    <a:pt x="172" y="259"/>
                    <a:pt x="96" y="292"/>
                    <a:pt x="56" y="318"/>
                  </a:cubicBezTo>
                  <a:cubicBezTo>
                    <a:pt x="16" y="344"/>
                    <a:pt x="0" y="361"/>
                    <a:pt x="0" y="361"/>
                  </a:cubicBezTo>
                  <a:cubicBezTo>
                    <a:pt x="52" y="408"/>
                    <a:pt x="52" y="408"/>
                    <a:pt x="52" y="408"/>
                  </a:cubicBezTo>
                  <a:cubicBezTo>
                    <a:pt x="303" y="1182"/>
                    <a:pt x="303" y="1182"/>
                    <a:pt x="303" y="1182"/>
                  </a:cubicBezTo>
                  <a:cubicBezTo>
                    <a:pt x="320" y="1351"/>
                    <a:pt x="320" y="1351"/>
                    <a:pt x="320" y="1351"/>
                  </a:cubicBezTo>
                  <a:cubicBezTo>
                    <a:pt x="379" y="1522"/>
                    <a:pt x="379" y="1522"/>
                    <a:pt x="379" y="1522"/>
                  </a:cubicBezTo>
                  <a:cubicBezTo>
                    <a:pt x="517" y="1532"/>
                    <a:pt x="517" y="1532"/>
                    <a:pt x="517" y="1532"/>
                  </a:cubicBezTo>
                  <a:cubicBezTo>
                    <a:pt x="760" y="1435"/>
                    <a:pt x="760" y="1435"/>
                    <a:pt x="760" y="1435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0" name="Freeform 69"/>
            <p:cNvSpPr>
              <a:spLocks/>
            </p:cNvSpPr>
            <p:nvPr/>
          </p:nvSpPr>
          <p:spPr bwMode="auto">
            <a:xfrm>
              <a:off x="3575857" y="4502750"/>
              <a:ext cx="297908" cy="199591"/>
            </a:xfrm>
            <a:custGeom>
              <a:avLst/>
              <a:gdLst>
                <a:gd name="T0" fmla="*/ 64 w 813"/>
                <a:gd name="T1" fmla="*/ 552 h 611"/>
                <a:gd name="T2" fmla="*/ 85 w 813"/>
                <a:gd name="T3" fmla="*/ 611 h 611"/>
                <a:gd name="T4" fmla="*/ 531 w 813"/>
                <a:gd name="T5" fmla="*/ 587 h 611"/>
                <a:gd name="T6" fmla="*/ 584 w 813"/>
                <a:gd name="T7" fmla="*/ 537 h 611"/>
                <a:gd name="T8" fmla="*/ 633 w 813"/>
                <a:gd name="T9" fmla="*/ 530 h 611"/>
                <a:gd name="T10" fmla="*/ 711 w 813"/>
                <a:gd name="T11" fmla="*/ 467 h 611"/>
                <a:gd name="T12" fmla="*/ 758 w 813"/>
                <a:gd name="T13" fmla="*/ 464 h 611"/>
                <a:gd name="T14" fmla="*/ 813 w 813"/>
                <a:gd name="T15" fmla="*/ 393 h 611"/>
                <a:gd name="T16" fmla="*/ 558 w 813"/>
                <a:gd name="T17" fmla="*/ 244 h 611"/>
                <a:gd name="T18" fmla="*/ 475 w 813"/>
                <a:gd name="T19" fmla="*/ 154 h 611"/>
                <a:gd name="T20" fmla="*/ 419 w 813"/>
                <a:gd name="T21" fmla="*/ 24 h 611"/>
                <a:gd name="T22" fmla="*/ 367 w 813"/>
                <a:gd name="T23" fmla="*/ 8 h 611"/>
                <a:gd name="T24" fmla="*/ 317 w 813"/>
                <a:gd name="T25" fmla="*/ 15 h 611"/>
                <a:gd name="T26" fmla="*/ 179 w 813"/>
                <a:gd name="T27" fmla="*/ 10 h 611"/>
                <a:gd name="T28" fmla="*/ 165 w 813"/>
                <a:gd name="T29" fmla="*/ 25 h 611"/>
                <a:gd name="T30" fmla="*/ 110 w 813"/>
                <a:gd name="T31" fmla="*/ 25 h 611"/>
                <a:gd name="T32" fmla="*/ 101 w 813"/>
                <a:gd name="T33" fmla="*/ 11 h 611"/>
                <a:gd name="T34" fmla="*/ 54 w 813"/>
                <a:gd name="T35" fmla="*/ 27 h 611"/>
                <a:gd name="T36" fmla="*/ 47 w 813"/>
                <a:gd name="T37" fmla="*/ 70 h 611"/>
                <a:gd name="T38" fmla="*/ 17 w 813"/>
                <a:gd name="T39" fmla="*/ 126 h 611"/>
                <a:gd name="T40" fmla="*/ 23 w 813"/>
                <a:gd name="T41" fmla="*/ 164 h 611"/>
                <a:gd name="T42" fmla="*/ 45 w 813"/>
                <a:gd name="T43" fmla="*/ 166 h 611"/>
                <a:gd name="T44" fmla="*/ 44 w 813"/>
                <a:gd name="T45" fmla="*/ 224 h 611"/>
                <a:gd name="T46" fmla="*/ 16 w 813"/>
                <a:gd name="T47" fmla="*/ 241 h 611"/>
                <a:gd name="T48" fmla="*/ 16 w 813"/>
                <a:gd name="T49" fmla="*/ 378 h 611"/>
                <a:gd name="T50" fmla="*/ 64 w 813"/>
                <a:gd name="T51" fmla="*/ 552 h 6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13" h="611">
                  <a:moveTo>
                    <a:pt x="64" y="552"/>
                  </a:moveTo>
                  <a:cubicBezTo>
                    <a:pt x="85" y="611"/>
                    <a:pt x="85" y="611"/>
                    <a:pt x="85" y="611"/>
                  </a:cubicBezTo>
                  <a:cubicBezTo>
                    <a:pt x="85" y="611"/>
                    <a:pt x="511" y="606"/>
                    <a:pt x="531" y="587"/>
                  </a:cubicBezTo>
                  <a:cubicBezTo>
                    <a:pt x="550" y="568"/>
                    <a:pt x="567" y="546"/>
                    <a:pt x="584" y="537"/>
                  </a:cubicBezTo>
                  <a:cubicBezTo>
                    <a:pt x="602" y="528"/>
                    <a:pt x="611" y="538"/>
                    <a:pt x="633" y="530"/>
                  </a:cubicBezTo>
                  <a:cubicBezTo>
                    <a:pt x="655" y="521"/>
                    <a:pt x="690" y="474"/>
                    <a:pt x="711" y="467"/>
                  </a:cubicBezTo>
                  <a:cubicBezTo>
                    <a:pt x="733" y="460"/>
                    <a:pt x="758" y="464"/>
                    <a:pt x="758" y="464"/>
                  </a:cubicBezTo>
                  <a:cubicBezTo>
                    <a:pt x="813" y="393"/>
                    <a:pt x="813" y="393"/>
                    <a:pt x="813" y="393"/>
                  </a:cubicBezTo>
                  <a:cubicBezTo>
                    <a:pt x="813" y="393"/>
                    <a:pt x="569" y="257"/>
                    <a:pt x="558" y="244"/>
                  </a:cubicBezTo>
                  <a:cubicBezTo>
                    <a:pt x="548" y="232"/>
                    <a:pt x="477" y="166"/>
                    <a:pt x="475" y="154"/>
                  </a:cubicBezTo>
                  <a:cubicBezTo>
                    <a:pt x="473" y="142"/>
                    <a:pt x="419" y="24"/>
                    <a:pt x="419" y="24"/>
                  </a:cubicBezTo>
                  <a:cubicBezTo>
                    <a:pt x="419" y="24"/>
                    <a:pt x="384" y="6"/>
                    <a:pt x="367" y="8"/>
                  </a:cubicBezTo>
                  <a:cubicBezTo>
                    <a:pt x="350" y="10"/>
                    <a:pt x="345" y="12"/>
                    <a:pt x="317" y="15"/>
                  </a:cubicBezTo>
                  <a:cubicBezTo>
                    <a:pt x="288" y="18"/>
                    <a:pt x="201" y="0"/>
                    <a:pt x="179" y="10"/>
                  </a:cubicBezTo>
                  <a:cubicBezTo>
                    <a:pt x="157" y="19"/>
                    <a:pt x="176" y="21"/>
                    <a:pt x="165" y="25"/>
                  </a:cubicBezTo>
                  <a:cubicBezTo>
                    <a:pt x="155" y="30"/>
                    <a:pt x="119" y="30"/>
                    <a:pt x="110" y="25"/>
                  </a:cubicBezTo>
                  <a:cubicBezTo>
                    <a:pt x="100" y="20"/>
                    <a:pt x="110" y="15"/>
                    <a:pt x="101" y="11"/>
                  </a:cubicBezTo>
                  <a:cubicBezTo>
                    <a:pt x="92" y="8"/>
                    <a:pt x="54" y="27"/>
                    <a:pt x="54" y="27"/>
                  </a:cubicBezTo>
                  <a:cubicBezTo>
                    <a:pt x="47" y="70"/>
                    <a:pt x="47" y="70"/>
                    <a:pt x="47" y="70"/>
                  </a:cubicBezTo>
                  <a:cubicBezTo>
                    <a:pt x="17" y="126"/>
                    <a:pt x="17" y="126"/>
                    <a:pt x="17" y="126"/>
                  </a:cubicBezTo>
                  <a:cubicBezTo>
                    <a:pt x="23" y="164"/>
                    <a:pt x="23" y="164"/>
                    <a:pt x="23" y="164"/>
                  </a:cubicBezTo>
                  <a:cubicBezTo>
                    <a:pt x="45" y="166"/>
                    <a:pt x="45" y="166"/>
                    <a:pt x="45" y="166"/>
                  </a:cubicBezTo>
                  <a:cubicBezTo>
                    <a:pt x="45" y="166"/>
                    <a:pt x="50" y="211"/>
                    <a:pt x="44" y="224"/>
                  </a:cubicBezTo>
                  <a:cubicBezTo>
                    <a:pt x="37" y="236"/>
                    <a:pt x="16" y="241"/>
                    <a:pt x="16" y="241"/>
                  </a:cubicBezTo>
                  <a:cubicBezTo>
                    <a:pt x="16" y="241"/>
                    <a:pt x="0" y="311"/>
                    <a:pt x="16" y="378"/>
                  </a:cubicBezTo>
                  <a:cubicBezTo>
                    <a:pt x="31" y="446"/>
                    <a:pt x="66" y="554"/>
                    <a:pt x="64" y="55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1" name="Freeform 70"/>
            <p:cNvSpPr>
              <a:spLocks/>
            </p:cNvSpPr>
            <p:nvPr/>
          </p:nvSpPr>
          <p:spPr bwMode="auto">
            <a:xfrm>
              <a:off x="2438087" y="4045846"/>
              <a:ext cx="275923" cy="292537"/>
            </a:xfrm>
            <a:custGeom>
              <a:avLst/>
              <a:gdLst>
                <a:gd name="T0" fmla="*/ 0 w 251"/>
                <a:gd name="T1" fmla="*/ 235 h 299"/>
                <a:gd name="T2" fmla="*/ 62 w 251"/>
                <a:gd name="T3" fmla="*/ 284 h 299"/>
                <a:gd name="T4" fmla="*/ 137 w 251"/>
                <a:gd name="T5" fmla="*/ 299 h 299"/>
                <a:gd name="T6" fmla="*/ 174 w 251"/>
                <a:gd name="T7" fmla="*/ 225 h 299"/>
                <a:gd name="T8" fmla="*/ 231 w 251"/>
                <a:gd name="T9" fmla="*/ 141 h 299"/>
                <a:gd name="T10" fmla="*/ 251 w 251"/>
                <a:gd name="T11" fmla="*/ 104 h 299"/>
                <a:gd name="T12" fmla="*/ 119 w 251"/>
                <a:gd name="T13" fmla="*/ 25 h 299"/>
                <a:gd name="T14" fmla="*/ 94 w 251"/>
                <a:gd name="T15" fmla="*/ 0 h 299"/>
                <a:gd name="T16" fmla="*/ 41 w 251"/>
                <a:gd name="T17" fmla="*/ 72 h 299"/>
                <a:gd name="T18" fmla="*/ 85 w 251"/>
                <a:gd name="T19" fmla="*/ 101 h 299"/>
                <a:gd name="T20" fmla="*/ 0 w 251"/>
                <a:gd name="T21" fmla="*/ 235 h 299"/>
                <a:gd name="T22" fmla="*/ 0 w 251"/>
                <a:gd name="T23" fmla="*/ 235 h 2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251" h="299">
                  <a:moveTo>
                    <a:pt x="0" y="235"/>
                  </a:moveTo>
                  <a:lnTo>
                    <a:pt x="62" y="284"/>
                  </a:lnTo>
                  <a:lnTo>
                    <a:pt x="137" y="299"/>
                  </a:lnTo>
                  <a:lnTo>
                    <a:pt x="174" y="225"/>
                  </a:lnTo>
                  <a:lnTo>
                    <a:pt x="231" y="141"/>
                  </a:lnTo>
                  <a:lnTo>
                    <a:pt x="251" y="104"/>
                  </a:lnTo>
                  <a:lnTo>
                    <a:pt x="119" y="25"/>
                  </a:lnTo>
                  <a:lnTo>
                    <a:pt x="94" y="0"/>
                  </a:lnTo>
                  <a:lnTo>
                    <a:pt x="41" y="72"/>
                  </a:lnTo>
                  <a:lnTo>
                    <a:pt x="85" y="101"/>
                  </a:lnTo>
                  <a:lnTo>
                    <a:pt x="0" y="235"/>
                  </a:lnTo>
                  <a:lnTo>
                    <a:pt x="0" y="235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2" name="Freeform 71"/>
            <p:cNvSpPr>
              <a:spLocks/>
            </p:cNvSpPr>
            <p:nvPr/>
          </p:nvSpPr>
          <p:spPr bwMode="auto">
            <a:xfrm>
              <a:off x="3925432" y="4251305"/>
              <a:ext cx="362767" cy="344389"/>
            </a:xfrm>
            <a:custGeom>
              <a:avLst/>
              <a:gdLst>
                <a:gd name="T0" fmla="*/ 161 w 991"/>
                <a:gd name="T1" fmla="*/ 1055 h 1055"/>
                <a:gd name="T2" fmla="*/ 106 w 991"/>
                <a:gd name="T3" fmla="*/ 998 h 1055"/>
                <a:gd name="T4" fmla="*/ 83 w 991"/>
                <a:gd name="T5" fmla="*/ 970 h 1055"/>
                <a:gd name="T6" fmla="*/ 27 w 991"/>
                <a:gd name="T7" fmla="*/ 766 h 1055"/>
                <a:gd name="T8" fmla="*/ 1 w 991"/>
                <a:gd name="T9" fmla="*/ 547 h 1055"/>
                <a:gd name="T10" fmla="*/ 23 w 991"/>
                <a:gd name="T11" fmla="*/ 381 h 1055"/>
                <a:gd name="T12" fmla="*/ 18 w 991"/>
                <a:gd name="T13" fmla="*/ 326 h 1055"/>
                <a:gd name="T14" fmla="*/ 14 w 991"/>
                <a:gd name="T15" fmla="*/ 278 h 1055"/>
                <a:gd name="T16" fmla="*/ 141 w 991"/>
                <a:gd name="T17" fmla="*/ 0 h 1055"/>
                <a:gd name="T18" fmla="*/ 224 w 991"/>
                <a:gd name="T19" fmla="*/ 5 h 1055"/>
                <a:gd name="T20" fmla="*/ 630 w 991"/>
                <a:gd name="T21" fmla="*/ 15 h 1055"/>
                <a:gd name="T22" fmla="*/ 965 w 991"/>
                <a:gd name="T23" fmla="*/ 15 h 1055"/>
                <a:gd name="T24" fmla="*/ 991 w 991"/>
                <a:gd name="T25" fmla="*/ 41 h 1055"/>
                <a:gd name="T26" fmla="*/ 990 w 991"/>
                <a:gd name="T27" fmla="*/ 66 h 1055"/>
                <a:gd name="T28" fmla="*/ 939 w 991"/>
                <a:gd name="T29" fmla="*/ 105 h 1055"/>
                <a:gd name="T30" fmla="*/ 854 w 991"/>
                <a:gd name="T31" fmla="*/ 248 h 1055"/>
                <a:gd name="T32" fmla="*/ 637 w 991"/>
                <a:gd name="T33" fmla="*/ 501 h 1055"/>
                <a:gd name="T34" fmla="*/ 640 w 991"/>
                <a:gd name="T35" fmla="*/ 542 h 1055"/>
                <a:gd name="T36" fmla="*/ 619 w 991"/>
                <a:gd name="T37" fmla="*/ 572 h 1055"/>
                <a:gd name="T38" fmla="*/ 575 w 991"/>
                <a:gd name="T39" fmla="*/ 603 h 1055"/>
                <a:gd name="T40" fmla="*/ 161 w 991"/>
                <a:gd name="T41" fmla="*/ 1055 h 10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91" h="1055">
                  <a:moveTo>
                    <a:pt x="161" y="1055"/>
                  </a:moveTo>
                  <a:cubicBezTo>
                    <a:pt x="106" y="998"/>
                    <a:pt x="106" y="998"/>
                    <a:pt x="106" y="998"/>
                  </a:cubicBezTo>
                  <a:cubicBezTo>
                    <a:pt x="106" y="998"/>
                    <a:pt x="101" y="1003"/>
                    <a:pt x="83" y="970"/>
                  </a:cubicBezTo>
                  <a:cubicBezTo>
                    <a:pt x="66" y="937"/>
                    <a:pt x="48" y="825"/>
                    <a:pt x="27" y="766"/>
                  </a:cubicBezTo>
                  <a:cubicBezTo>
                    <a:pt x="14" y="698"/>
                    <a:pt x="0" y="606"/>
                    <a:pt x="1" y="547"/>
                  </a:cubicBezTo>
                  <a:cubicBezTo>
                    <a:pt x="9" y="488"/>
                    <a:pt x="19" y="415"/>
                    <a:pt x="23" y="381"/>
                  </a:cubicBezTo>
                  <a:cubicBezTo>
                    <a:pt x="26" y="347"/>
                    <a:pt x="20" y="341"/>
                    <a:pt x="18" y="326"/>
                  </a:cubicBezTo>
                  <a:cubicBezTo>
                    <a:pt x="17" y="310"/>
                    <a:pt x="14" y="278"/>
                    <a:pt x="14" y="278"/>
                  </a:cubicBezTo>
                  <a:cubicBezTo>
                    <a:pt x="141" y="0"/>
                    <a:pt x="141" y="0"/>
                    <a:pt x="141" y="0"/>
                  </a:cubicBezTo>
                  <a:cubicBezTo>
                    <a:pt x="224" y="5"/>
                    <a:pt x="224" y="5"/>
                    <a:pt x="224" y="5"/>
                  </a:cubicBezTo>
                  <a:cubicBezTo>
                    <a:pt x="630" y="15"/>
                    <a:pt x="630" y="15"/>
                    <a:pt x="630" y="15"/>
                  </a:cubicBezTo>
                  <a:cubicBezTo>
                    <a:pt x="965" y="15"/>
                    <a:pt x="965" y="15"/>
                    <a:pt x="965" y="15"/>
                  </a:cubicBezTo>
                  <a:cubicBezTo>
                    <a:pt x="991" y="41"/>
                    <a:pt x="991" y="41"/>
                    <a:pt x="991" y="41"/>
                  </a:cubicBezTo>
                  <a:cubicBezTo>
                    <a:pt x="990" y="66"/>
                    <a:pt x="990" y="66"/>
                    <a:pt x="990" y="66"/>
                  </a:cubicBezTo>
                  <a:cubicBezTo>
                    <a:pt x="939" y="105"/>
                    <a:pt x="939" y="105"/>
                    <a:pt x="939" y="105"/>
                  </a:cubicBezTo>
                  <a:cubicBezTo>
                    <a:pt x="854" y="248"/>
                    <a:pt x="854" y="248"/>
                    <a:pt x="854" y="248"/>
                  </a:cubicBezTo>
                  <a:cubicBezTo>
                    <a:pt x="637" y="501"/>
                    <a:pt x="637" y="501"/>
                    <a:pt x="637" y="501"/>
                  </a:cubicBezTo>
                  <a:cubicBezTo>
                    <a:pt x="640" y="542"/>
                    <a:pt x="640" y="542"/>
                    <a:pt x="640" y="542"/>
                  </a:cubicBezTo>
                  <a:cubicBezTo>
                    <a:pt x="619" y="572"/>
                    <a:pt x="619" y="572"/>
                    <a:pt x="619" y="572"/>
                  </a:cubicBezTo>
                  <a:cubicBezTo>
                    <a:pt x="575" y="603"/>
                    <a:pt x="575" y="603"/>
                    <a:pt x="575" y="603"/>
                  </a:cubicBezTo>
                  <a:cubicBezTo>
                    <a:pt x="161" y="1055"/>
                    <a:pt x="161" y="1055"/>
                    <a:pt x="161" y="1055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3" name="Freeform 72"/>
            <p:cNvSpPr>
              <a:spLocks/>
            </p:cNvSpPr>
            <p:nvPr/>
          </p:nvSpPr>
          <p:spPr bwMode="auto">
            <a:xfrm>
              <a:off x="3518695" y="3931374"/>
              <a:ext cx="760711" cy="336563"/>
            </a:xfrm>
            <a:custGeom>
              <a:avLst/>
              <a:gdLst>
                <a:gd name="T0" fmla="*/ 1249 w 2075"/>
                <a:gd name="T1" fmla="*/ 982 h 1031"/>
                <a:gd name="T2" fmla="*/ 2075 w 2075"/>
                <a:gd name="T3" fmla="*/ 1001 h 1031"/>
                <a:gd name="T4" fmla="*/ 2074 w 2075"/>
                <a:gd name="T5" fmla="*/ 828 h 1031"/>
                <a:gd name="T6" fmla="*/ 1968 w 2075"/>
                <a:gd name="T7" fmla="*/ 443 h 1031"/>
                <a:gd name="T8" fmla="*/ 1776 w 2075"/>
                <a:gd name="T9" fmla="*/ 441 h 1031"/>
                <a:gd name="T10" fmla="*/ 1675 w 2075"/>
                <a:gd name="T11" fmla="*/ 318 h 1031"/>
                <a:gd name="T12" fmla="*/ 1533 w 2075"/>
                <a:gd name="T13" fmla="*/ 459 h 1031"/>
                <a:gd name="T14" fmla="*/ 1397 w 2075"/>
                <a:gd name="T15" fmla="*/ 354 h 1031"/>
                <a:gd name="T16" fmla="*/ 1404 w 2075"/>
                <a:gd name="T17" fmla="*/ 295 h 1031"/>
                <a:gd name="T18" fmla="*/ 1244 w 2075"/>
                <a:gd name="T19" fmla="*/ 243 h 1031"/>
                <a:gd name="T20" fmla="*/ 1180 w 2075"/>
                <a:gd name="T21" fmla="*/ 297 h 1031"/>
                <a:gd name="T22" fmla="*/ 1127 w 2075"/>
                <a:gd name="T23" fmla="*/ 229 h 1031"/>
                <a:gd name="T24" fmla="*/ 1082 w 2075"/>
                <a:gd name="T25" fmla="*/ 241 h 1031"/>
                <a:gd name="T26" fmla="*/ 903 w 2075"/>
                <a:gd name="T27" fmla="*/ 179 h 1031"/>
                <a:gd name="T28" fmla="*/ 875 w 2075"/>
                <a:gd name="T29" fmla="*/ 201 h 1031"/>
                <a:gd name="T30" fmla="*/ 785 w 2075"/>
                <a:gd name="T31" fmla="*/ 154 h 1031"/>
                <a:gd name="T32" fmla="*/ 726 w 2075"/>
                <a:gd name="T33" fmla="*/ 99 h 1031"/>
                <a:gd name="T34" fmla="*/ 699 w 2075"/>
                <a:gd name="T35" fmla="*/ 29 h 1031"/>
                <a:gd name="T36" fmla="*/ 665 w 2075"/>
                <a:gd name="T37" fmla="*/ 53 h 1031"/>
                <a:gd name="T38" fmla="*/ 642 w 2075"/>
                <a:gd name="T39" fmla="*/ 26 h 1031"/>
                <a:gd name="T40" fmla="*/ 609 w 2075"/>
                <a:gd name="T41" fmla="*/ 83 h 1031"/>
                <a:gd name="T42" fmla="*/ 501 w 2075"/>
                <a:gd name="T43" fmla="*/ 43 h 1031"/>
                <a:gd name="T44" fmla="*/ 400 w 2075"/>
                <a:gd name="T45" fmla="*/ 50 h 1031"/>
                <a:gd name="T46" fmla="*/ 338 w 2075"/>
                <a:gd name="T47" fmla="*/ 0 h 1031"/>
                <a:gd name="T48" fmla="*/ 254 w 2075"/>
                <a:gd name="T49" fmla="*/ 3 h 1031"/>
                <a:gd name="T50" fmla="*/ 280 w 2075"/>
                <a:gd name="T51" fmla="*/ 90 h 1031"/>
                <a:gd name="T52" fmla="*/ 258 w 2075"/>
                <a:gd name="T53" fmla="*/ 227 h 1031"/>
                <a:gd name="T54" fmla="*/ 219 w 2075"/>
                <a:gd name="T55" fmla="*/ 394 h 1031"/>
                <a:gd name="T56" fmla="*/ 124 w 2075"/>
                <a:gd name="T57" fmla="*/ 694 h 1031"/>
                <a:gd name="T58" fmla="*/ 25 w 2075"/>
                <a:gd name="T59" fmla="*/ 843 h 1031"/>
                <a:gd name="T60" fmla="*/ 2 w 2075"/>
                <a:gd name="T61" fmla="*/ 890 h 1031"/>
                <a:gd name="T62" fmla="*/ 152 w 2075"/>
                <a:gd name="T63" fmla="*/ 1031 h 1031"/>
                <a:gd name="T64" fmla="*/ 313 w 2075"/>
                <a:gd name="T65" fmla="*/ 909 h 1031"/>
                <a:gd name="T66" fmla="*/ 369 w 2075"/>
                <a:gd name="T67" fmla="*/ 880 h 1031"/>
                <a:gd name="T68" fmla="*/ 399 w 2075"/>
                <a:gd name="T69" fmla="*/ 852 h 1031"/>
                <a:gd name="T70" fmla="*/ 555 w 2075"/>
                <a:gd name="T71" fmla="*/ 730 h 1031"/>
                <a:gd name="T72" fmla="*/ 736 w 2075"/>
                <a:gd name="T73" fmla="*/ 673 h 1031"/>
                <a:gd name="T74" fmla="*/ 804 w 2075"/>
                <a:gd name="T75" fmla="*/ 704 h 1031"/>
                <a:gd name="T76" fmla="*/ 952 w 2075"/>
                <a:gd name="T77" fmla="*/ 708 h 1031"/>
                <a:gd name="T78" fmla="*/ 1107 w 2075"/>
                <a:gd name="T79" fmla="*/ 843 h 1031"/>
                <a:gd name="T80" fmla="*/ 1174 w 2075"/>
                <a:gd name="T81" fmla="*/ 968 h 1031"/>
                <a:gd name="T82" fmla="*/ 1249 w 2075"/>
                <a:gd name="T83" fmla="*/ 982 h 10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2075" h="1031">
                  <a:moveTo>
                    <a:pt x="1249" y="982"/>
                  </a:moveTo>
                  <a:cubicBezTo>
                    <a:pt x="2075" y="1001"/>
                    <a:pt x="2075" y="1001"/>
                    <a:pt x="2075" y="1001"/>
                  </a:cubicBezTo>
                  <a:cubicBezTo>
                    <a:pt x="2074" y="828"/>
                    <a:pt x="2074" y="828"/>
                    <a:pt x="2074" y="828"/>
                  </a:cubicBezTo>
                  <a:cubicBezTo>
                    <a:pt x="1968" y="443"/>
                    <a:pt x="1968" y="443"/>
                    <a:pt x="1968" y="443"/>
                  </a:cubicBezTo>
                  <a:cubicBezTo>
                    <a:pt x="1776" y="441"/>
                    <a:pt x="1776" y="441"/>
                    <a:pt x="1776" y="441"/>
                  </a:cubicBezTo>
                  <a:cubicBezTo>
                    <a:pt x="1675" y="318"/>
                    <a:pt x="1675" y="318"/>
                    <a:pt x="1675" y="318"/>
                  </a:cubicBezTo>
                  <a:cubicBezTo>
                    <a:pt x="1533" y="459"/>
                    <a:pt x="1533" y="459"/>
                    <a:pt x="1533" y="459"/>
                  </a:cubicBezTo>
                  <a:cubicBezTo>
                    <a:pt x="1397" y="354"/>
                    <a:pt x="1397" y="354"/>
                    <a:pt x="1397" y="354"/>
                  </a:cubicBezTo>
                  <a:cubicBezTo>
                    <a:pt x="1404" y="295"/>
                    <a:pt x="1404" y="295"/>
                    <a:pt x="1404" y="295"/>
                  </a:cubicBezTo>
                  <a:cubicBezTo>
                    <a:pt x="1244" y="243"/>
                    <a:pt x="1244" y="243"/>
                    <a:pt x="1244" y="243"/>
                  </a:cubicBezTo>
                  <a:cubicBezTo>
                    <a:pt x="1180" y="297"/>
                    <a:pt x="1180" y="297"/>
                    <a:pt x="1180" y="297"/>
                  </a:cubicBezTo>
                  <a:cubicBezTo>
                    <a:pt x="1127" y="229"/>
                    <a:pt x="1127" y="229"/>
                    <a:pt x="1127" y="229"/>
                  </a:cubicBezTo>
                  <a:cubicBezTo>
                    <a:pt x="1082" y="241"/>
                    <a:pt x="1082" y="241"/>
                    <a:pt x="1082" y="241"/>
                  </a:cubicBezTo>
                  <a:cubicBezTo>
                    <a:pt x="903" y="179"/>
                    <a:pt x="903" y="179"/>
                    <a:pt x="903" y="179"/>
                  </a:cubicBezTo>
                  <a:cubicBezTo>
                    <a:pt x="875" y="201"/>
                    <a:pt x="875" y="201"/>
                    <a:pt x="875" y="201"/>
                  </a:cubicBezTo>
                  <a:cubicBezTo>
                    <a:pt x="785" y="154"/>
                    <a:pt x="785" y="154"/>
                    <a:pt x="785" y="154"/>
                  </a:cubicBezTo>
                  <a:cubicBezTo>
                    <a:pt x="726" y="99"/>
                    <a:pt x="726" y="99"/>
                    <a:pt x="726" y="99"/>
                  </a:cubicBezTo>
                  <a:cubicBezTo>
                    <a:pt x="699" y="29"/>
                    <a:pt x="699" y="29"/>
                    <a:pt x="699" y="29"/>
                  </a:cubicBezTo>
                  <a:cubicBezTo>
                    <a:pt x="665" y="53"/>
                    <a:pt x="665" y="53"/>
                    <a:pt x="665" y="53"/>
                  </a:cubicBezTo>
                  <a:cubicBezTo>
                    <a:pt x="642" y="26"/>
                    <a:pt x="642" y="26"/>
                    <a:pt x="642" y="26"/>
                  </a:cubicBezTo>
                  <a:cubicBezTo>
                    <a:pt x="609" y="83"/>
                    <a:pt x="609" y="83"/>
                    <a:pt x="609" y="83"/>
                  </a:cubicBezTo>
                  <a:cubicBezTo>
                    <a:pt x="609" y="83"/>
                    <a:pt x="582" y="61"/>
                    <a:pt x="501" y="43"/>
                  </a:cubicBezTo>
                  <a:cubicBezTo>
                    <a:pt x="453" y="32"/>
                    <a:pt x="400" y="50"/>
                    <a:pt x="400" y="50"/>
                  </a:cubicBezTo>
                  <a:cubicBezTo>
                    <a:pt x="338" y="0"/>
                    <a:pt x="338" y="0"/>
                    <a:pt x="338" y="0"/>
                  </a:cubicBezTo>
                  <a:cubicBezTo>
                    <a:pt x="254" y="3"/>
                    <a:pt x="254" y="3"/>
                    <a:pt x="254" y="3"/>
                  </a:cubicBezTo>
                  <a:cubicBezTo>
                    <a:pt x="254" y="3"/>
                    <a:pt x="277" y="50"/>
                    <a:pt x="280" y="90"/>
                  </a:cubicBezTo>
                  <a:cubicBezTo>
                    <a:pt x="284" y="130"/>
                    <a:pt x="258" y="227"/>
                    <a:pt x="258" y="227"/>
                  </a:cubicBezTo>
                  <a:cubicBezTo>
                    <a:pt x="219" y="394"/>
                    <a:pt x="219" y="394"/>
                    <a:pt x="219" y="394"/>
                  </a:cubicBezTo>
                  <a:cubicBezTo>
                    <a:pt x="219" y="394"/>
                    <a:pt x="156" y="627"/>
                    <a:pt x="124" y="694"/>
                  </a:cubicBezTo>
                  <a:cubicBezTo>
                    <a:pt x="92" y="760"/>
                    <a:pt x="49" y="798"/>
                    <a:pt x="25" y="843"/>
                  </a:cubicBezTo>
                  <a:cubicBezTo>
                    <a:pt x="0" y="888"/>
                    <a:pt x="2" y="890"/>
                    <a:pt x="2" y="890"/>
                  </a:cubicBezTo>
                  <a:cubicBezTo>
                    <a:pt x="152" y="1031"/>
                    <a:pt x="152" y="1031"/>
                    <a:pt x="152" y="1031"/>
                  </a:cubicBezTo>
                  <a:cubicBezTo>
                    <a:pt x="152" y="1031"/>
                    <a:pt x="292" y="895"/>
                    <a:pt x="313" y="909"/>
                  </a:cubicBezTo>
                  <a:cubicBezTo>
                    <a:pt x="334" y="923"/>
                    <a:pt x="369" y="880"/>
                    <a:pt x="369" y="880"/>
                  </a:cubicBezTo>
                  <a:cubicBezTo>
                    <a:pt x="399" y="852"/>
                    <a:pt x="399" y="852"/>
                    <a:pt x="399" y="852"/>
                  </a:cubicBezTo>
                  <a:cubicBezTo>
                    <a:pt x="555" y="730"/>
                    <a:pt x="555" y="730"/>
                    <a:pt x="555" y="730"/>
                  </a:cubicBezTo>
                  <a:cubicBezTo>
                    <a:pt x="555" y="730"/>
                    <a:pt x="712" y="701"/>
                    <a:pt x="736" y="673"/>
                  </a:cubicBezTo>
                  <a:cubicBezTo>
                    <a:pt x="760" y="645"/>
                    <a:pt x="804" y="704"/>
                    <a:pt x="804" y="704"/>
                  </a:cubicBezTo>
                  <a:cubicBezTo>
                    <a:pt x="952" y="708"/>
                    <a:pt x="952" y="708"/>
                    <a:pt x="952" y="708"/>
                  </a:cubicBezTo>
                  <a:cubicBezTo>
                    <a:pt x="1107" y="843"/>
                    <a:pt x="1107" y="843"/>
                    <a:pt x="1107" y="843"/>
                  </a:cubicBezTo>
                  <a:cubicBezTo>
                    <a:pt x="1174" y="968"/>
                    <a:pt x="1174" y="968"/>
                    <a:pt x="1174" y="968"/>
                  </a:cubicBezTo>
                  <a:cubicBezTo>
                    <a:pt x="1249" y="982"/>
                    <a:pt x="1249" y="982"/>
                    <a:pt x="1249" y="982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4" name="Freeform 73"/>
            <p:cNvSpPr>
              <a:spLocks/>
            </p:cNvSpPr>
            <p:nvPr/>
          </p:nvSpPr>
          <p:spPr bwMode="auto">
            <a:xfrm>
              <a:off x="3369188" y="4147598"/>
              <a:ext cx="610108" cy="280795"/>
            </a:xfrm>
            <a:custGeom>
              <a:avLst/>
              <a:gdLst>
                <a:gd name="T0" fmla="*/ 1535 w 1666"/>
                <a:gd name="T1" fmla="*/ 598 h 861"/>
                <a:gd name="T2" fmla="*/ 1666 w 1666"/>
                <a:gd name="T3" fmla="*/ 320 h 861"/>
                <a:gd name="T4" fmla="*/ 1585 w 1666"/>
                <a:gd name="T5" fmla="*/ 310 h 861"/>
                <a:gd name="T6" fmla="*/ 1518 w 1666"/>
                <a:gd name="T7" fmla="*/ 177 h 861"/>
                <a:gd name="T8" fmla="*/ 1358 w 1666"/>
                <a:gd name="T9" fmla="*/ 39 h 861"/>
                <a:gd name="T10" fmla="*/ 1216 w 1666"/>
                <a:gd name="T11" fmla="*/ 42 h 861"/>
                <a:gd name="T12" fmla="*/ 1161 w 1666"/>
                <a:gd name="T13" fmla="*/ 0 h 861"/>
                <a:gd name="T14" fmla="*/ 963 w 1666"/>
                <a:gd name="T15" fmla="*/ 64 h 861"/>
                <a:gd name="T16" fmla="*/ 751 w 1666"/>
                <a:gd name="T17" fmla="*/ 246 h 861"/>
                <a:gd name="T18" fmla="*/ 715 w 1666"/>
                <a:gd name="T19" fmla="*/ 244 h 861"/>
                <a:gd name="T20" fmla="*/ 559 w 1666"/>
                <a:gd name="T21" fmla="*/ 369 h 861"/>
                <a:gd name="T22" fmla="*/ 411 w 1666"/>
                <a:gd name="T23" fmla="*/ 222 h 861"/>
                <a:gd name="T24" fmla="*/ 111 w 1666"/>
                <a:gd name="T25" fmla="*/ 620 h 861"/>
                <a:gd name="T26" fmla="*/ 0 w 1666"/>
                <a:gd name="T27" fmla="*/ 748 h 861"/>
                <a:gd name="T28" fmla="*/ 305 w 1666"/>
                <a:gd name="T29" fmla="*/ 861 h 861"/>
                <a:gd name="T30" fmla="*/ 452 w 1666"/>
                <a:gd name="T31" fmla="*/ 849 h 861"/>
                <a:gd name="T32" fmla="*/ 557 w 1666"/>
                <a:gd name="T33" fmla="*/ 829 h 861"/>
                <a:gd name="T34" fmla="*/ 883 w 1666"/>
                <a:gd name="T35" fmla="*/ 851 h 861"/>
                <a:gd name="T36" fmla="*/ 1415 w 1666"/>
                <a:gd name="T37" fmla="*/ 596 h 861"/>
                <a:gd name="T38" fmla="*/ 1481 w 1666"/>
                <a:gd name="T39" fmla="*/ 574 h 861"/>
                <a:gd name="T40" fmla="*/ 1510 w 1666"/>
                <a:gd name="T41" fmla="*/ 582 h 861"/>
                <a:gd name="T42" fmla="*/ 1535 w 1666"/>
                <a:gd name="T43" fmla="*/ 598 h 8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1666" h="861">
                  <a:moveTo>
                    <a:pt x="1535" y="598"/>
                  </a:moveTo>
                  <a:cubicBezTo>
                    <a:pt x="1666" y="320"/>
                    <a:pt x="1666" y="320"/>
                    <a:pt x="1666" y="320"/>
                  </a:cubicBezTo>
                  <a:cubicBezTo>
                    <a:pt x="1585" y="310"/>
                    <a:pt x="1585" y="310"/>
                    <a:pt x="1585" y="310"/>
                  </a:cubicBezTo>
                  <a:cubicBezTo>
                    <a:pt x="1518" y="177"/>
                    <a:pt x="1518" y="177"/>
                    <a:pt x="1518" y="177"/>
                  </a:cubicBezTo>
                  <a:cubicBezTo>
                    <a:pt x="1358" y="39"/>
                    <a:pt x="1358" y="39"/>
                    <a:pt x="1358" y="39"/>
                  </a:cubicBezTo>
                  <a:cubicBezTo>
                    <a:pt x="1216" y="42"/>
                    <a:pt x="1216" y="42"/>
                    <a:pt x="1216" y="42"/>
                  </a:cubicBezTo>
                  <a:cubicBezTo>
                    <a:pt x="1216" y="42"/>
                    <a:pt x="1185" y="3"/>
                    <a:pt x="1161" y="0"/>
                  </a:cubicBezTo>
                  <a:cubicBezTo>
                    <a:pt x="1127" y="28"/>
                    <a:pt x="1002" y="58"/>
                    <a:pt x="963" y="64"/>
                  </a:cubicBezTo>
                  <a:cubicBezTo>
                    <a:pt x="939" y="77"/>
                    <a:pt x="751" y="246"/>
                    <a:pt x="751" y="246"/>
                  </a:cubicBezTo>
                  <a:cubicBezTo>
                    <a:pt x="751" y="246"/>
                    <a:pt x="730" y="249"/>
                    <a:pt x="715" y="244"/>
                  </a:cubicBezTo>
                  <a:cubicBezTo>
                    <a:pt x="700" y="239"/>
                    <a:pt x="559" y="369"/>
                    <a:pt x="559" y="369"/>
                  </a:cubicBezTo>
                  <a:cubicBezTo>
                    <a:pt x="411" y="222"/>
                    <a:pt x="411" y="222"/>
                    <a:pt x="411" y="222"/>
                  </a:cubicBezTo>
                  <a:cubicBezTo>
                    <a:pt x="111" y="620"/>
                    <a:pt x="111" y="620"/>
                    <a:pt x="111" y="620"/>
                  </a:cubicBezTo>
                  <a:cubicBezTo>
                    <a:pt x="0" y="748"/>
                    <a:pt x="0" y="748"/>
                    <a:pt x="0" y="748"/>
                  </a:cubicBezTo>
                  <a:cubicBezTo>
                    <a:pt x="0" y="748"/>
                    <a:pt x="246" y="861"/>
                    <a:pt x="305" y="861"/>
                  </a:cubicBezTo>
                  <a:cubicBezTo>
                    <a:pt x="335" y="861"/>
                    <a:pt x="401" y="857"/>
                    <a:pt x="452" y="849"/>
                  </a:cubicBezTo>
                  <a:cubicBezTo>
                    <a:pt x="504" y="840"/>
                    <a:pt x="540" y="829"/>
                    <a:pt x="557" y="829"/>
                  </a:cubicBezTo>
                  <a:cubicBezTo>
                    <a:pt x="573" y="829"/>
                    <a:pt x="883" y="851"/>
                    <a:pt x="883" y="851"/>
                  </a:cubicBezTo>
                  <a:cubicBezTo>
                    <a:pt x="1415" y="596"/>
                    <a:pt x="1415" y="596"/>
                    <a:pt x="1415" y="596"/>
                  </a:cubicBezTo>
                  <a:cubicBezTo>
                    <a:pt x="1415" y="596"/>
                    <a:pt x="1464" y="573"/>
                    <a:pt x="1481" y="574"/>
                  </a:cubicBezTo>
                  <a:cubicBezTo>
                    <a:pt x="1499" y="574"/>
                    <a:pt x="1507" y="578"/>
                    <a:pt x="1510" y="582"/>
                  </a:cubicBezTo>
                  <a:cubicBezTo>
                    <a:pt x="1512" y="587"/>
                    <a:pt x="1535" y="598"/>
                    <a:pt x="1535" y="598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5" name="Freeform 74"/>
            <p:cNvSpPr>
              <a:spLocks/>
            </p:cNvSpPr>
            <p:nvPr/>
          </p:nvSpPr>
          <p:spPr bwMode="auto">
            <a:xfrm>
              <a:off x="3226281" y="3133014"/>
              <a:ext cx="408936" cy="402115"/>
            </a:xfrm>
            <a:custGeom>
              <a:avLst/>
              <a:gdLst>
                <a:gd name="T0" fmla="*/ 0 w 1115"/>
                <a:gd name="T1" fmla="*/ 730 h 1234"/>
                <a:gd name="T2" fmla="*/ 184 w 1115"/>
                <a:gd name="T3" fmla="*/ 799 h 1234"/>
                <a:gd name="T4" fmla="*/ 398 w 1115"/>
                <a:gd name="T5" fmla="*/ 951 h 1234"/>
                <a:gd name="T6" fmla="*/ 462 w 1115"/>
                <a:gd name="T7" fmla="*/ 1054 h 1234"/>
                <a:gd name="T8" fmla="*/ 454 w 1115"/>
                <a:gd name="T9" fmla="*/ 929 h 1234"/>
                <a:gd name="T10" fmla="*/ 512 w 1115"/>
                <a:gd name="T11" fmla="*/ 931 h 1234"/>
                <a:gd name="T12" fmla="*/ 512 w 1115"/>
                <a:gd name="T13" fmla="*/ 910 h 1234"/>
                <a:gd name="T14" fmla="*/ 685 w 1115"/>
                <a:gd name="T15" fmla="*/ 927 h 1234"/>
                <a:gd name="T16" fmla="*/ 745 w 1115"/>
                <a:gd name="T17" fmla="*/ 1118 h 1234"/>
                <a:gd name="T18" fmla="*/ 832 w 1115"/>
                <a:gd name="T19" fmla="*/ 1213 h 1234"/>
                <a:gd name="T20" fmla="*/ 990 w 1115"/>
                <a:gd name="T21" fmla="*/ 1234 h 1234"/>
                <a:gd name="T22" fmla="*/ 1115 w 1115"/>
                <a:gd name="T23" fmla="*/ 873 h 1234"/>
                <a:gd name="T24" fmla="*/ 898 w 1115"/>
                <a:gd name="T25" fmla="*/ 763 h 1234"/>
                <a:gd name="T26" fmla="*/ 856 w 1115"/>
                <a:gd name="T27" fmla="*/ 735 h 1234"/>
                <a:gd name="T28" fmla="*/ 812 w 1115"/>
                <a:gd name="T29" fmla="*/ 686 h 1234"/>
                <a:gd name="T30" fmla="*/ 790 w 1115"/>
                <a:gd name="T31" fmla="*/ 590 h 1234"/>
                <a:gd name="T32" fmla="*/ 794 w 1115"/>
                <a:gd name="T33" fmla="*/ 514 h 1234"/>
                <a:gd name="T34" fmla="*/ 844 w 1115"/>
                <a:gd name="T35" fmla="*/ 326 h 1234"/>
                <a:gd name="T36" fmla="*/ 854 w 1115"/>
                <a:gd name="T37" fmla="*/ 276 h 1234"/>
                <a:gd name="T38" fmla="*/ 712 w 1115"/>
                <a:gd name="T39" fmla="*/ 0 h 1234"/>
                <a:gd name="T40" fmla="*/ 448 w 1115"/>
                <a:gd name="T41" fmla="*/ 245 h 1234"/>
                <a:gd name="T42" fmla="*/ 371 w 1115"/>
                <a:gd name="T43" fmla="*/ 165 h 1234"/>
                <a:gd name="T44" fmla="*/ 314 w 1115"/>
                <a:gd name="T45" fmla="*/ 198 h 1234"/>
                <a:gd name="T46" fmla="*/ 248 w 1115"/>
                <a:gd name="T47" fmla="*/ 336 h 1234"/>
                <a:gd name="T48" fmla="*/ 248 w 1115"/>
                <a:gd name="T49" fmla="*/ 388 h 1234"/>
                <a:gd name="T50" fmla="*/ 227 w 1115"/>
                <a:gd name="T51" fmla="*/ 439 h 1234"/>
                <a:gd name="T52" fmla="*/ 180 w 1115"/>
                <a:gd name="T53" fmla="*/ 479 h 1234"/>
                <a:gd name="T54" fmla="*/ 25 w 1115"/>
                <a:gd name="T55" fmla="*/ 479 h 1234"/>
                <a:gd name="T56" fmla="*/ 4 w 1115"/>
                <a:gd name="T57" fmla="*/ 536 h 1234"/>
                <a:gd name="T58" fmla="*/ 35 w 1115"/>
                <a:gd name="T59" fmla="*/ 671 h 1234"/>
                <a:gd name="T60" fmla="*/ 0 w 1115"/>
                <a:gd name="T61" fmla="*/ 730 h 12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15" h="1234">
                  <a:moveTo>
                    <a:pt x="0" y="730"/>
                  </a:moveTo>
                  <a:cubicBezTo>
                    <a:pt x="184" y="799"/>
                    <a:pt x="184" y="799"/>
                    <a:pt x="184" y="799"/>
                  </a:cubicBezTo>
                  <a:cubicBezTo>
                    <a:pt x="398" y="951"/>
                    <a:pt x="398" y="951"/>
                    <a:pt x="398" y="951"/>
                  </a:cubicBezTo>
                  <a:cubicBezTo>
                    <a:pt x="462" y="1054"/>
                    <a:pt x="462" y="1054"/>
                    <a:pt x="462" y="1054"/>
                  </a:cubicBezTo>
                  <a:cubicBezTo>
                    <a:pt x="454" y="929"/>
                    <a:pt x="454" y="929"/>
                    <a:pt x="454" y="929"/>
                  </a:cubicBezTo>
                  <a:cubicBezTo>
                    <a:pt x="512" y="931"/>
                    <a:pt x="512" y="931"/>
                    <a:pt x="512" y="931"/>
                  </a:cubicBezTo>
                  <a:cubicBezTo>
                    <a:pt x="512" y="910"/>
                    <a:pt x="512" y="910"/>
                    <a:pt x="512" y="910"/>
                  </a:cubicBezTo>
                  <a:cubicBezTo>
                    <a:pt x="685" y="927"/>
                    <a:pt x="685" y="927"/>
                    <a:pt x="685" y="927"/>
                  </a:cubicBezTo>
                  <a:cubicBezTo>
                    <a:pt x="745" y="1118"/>
                    <a:pt x="745" y="1118"/>
                    <a:pt x="745" y="1118"/>
                  </a:cubicBezTo>
                  <a:cubicBezTo>
                    <a:pt x="832" y="1213"/>
                    <a:pt x="832" y="1213"/>
                    <a:pt x="832" y="1213"/>
                  </a:cubicBezTo>
                  <a:cubicBezTo>
                    <a:pt x="990" y="1234"/>
                    <a:pt x="990" y="1234"/>
                    <a:pt x="990" y="1234"/>
                  </a:cubicBezTo>
                  <a:cubicBezTo>
                    <a:pt x="1115" y="873"/>
                    <a:pt x="1115" y="873"/>
                    <a:pt x="1115" y="873"/>
                  </a:cubicBezTo>
                  <a:cubicBezTo>
                    <a:pt x="1115" y="873"/>
                    <a:pt x="939" y="782"/>
                    <a:pt x="898" y="763"/>
                  </a:cubicBezTo>
                  <a:cubicBezTo>
                    <a:pt x="868" y="740"/>
                    <a:pt x="856" y="735"/>
                    <a:pt x="856" y="735"/>
                  </a:cubicBezTo>
                  <a:cubicBezTo>
                    <a:pt x="856" y="735"/>
                    <a:pt x="824" y="708"/>
                    <a:pt x="812" y="686"/>
                  </a:cubicBezTo>
                  <a:cubicBezTo>
                    <a:pt x="799" y="664"/>
                    <a:pt x="790" y="590"/>
                    <a:pt x="790" y="590"/>
                  </a:cubicBezTo>
                  <a:cubicBezTo>
                    <a:pt x="794" y="514"/>
                    <a:pt x="794" y="514"/>
                    <a:pt x="794" y="514"/>
                  </a:cubicBezTo>
                  <a:cubicBezTo>
                    <a:pt x="844" y="326"/>
                    <a:pt x="844" y="326"/>
                    <a:pt x="844" y="326"/>
                  </a:cubicBezTo>
                  <a:cubicBezTo>
                    <a:pt x="854" y="276"/>
                    <a:pt x="854" y="276"/>
                    <a:pt x="854" y="276"/>
                  </a:cubicBezTo>
                  <a:cubicBezTo>
                    <a:pt x="712" y="0"/>
                    <a:pt x="712" y="0"/>
                    <a:pt x="712" y="0"/>
                  </a:cubicBezTo>
                  <a:cubicBezTo>
                    <a:pt x="448" y="245"/>
                    <a:pt x="448" y="245"/>
                    <a:pt x="448" y="245"/>
                  </a:cubicBezTo>
                  <a:cubicBezTo>
                    <a:pt x="371" y="165"/>
                    <a:pt x="371" y="165"/>
                    <a:pt x="371" y="165"/>
                  </a:cubicBezTo>
                  <a:cubicBezTo>
                    <a:pt x="314" y="198"/>
                    <a:pt x="314" y="198"/>
                    <a:pt x="314" y="198"/>
                  </a:cubicBezTo>
                  <a:cubicBezTo>
                    <a:pt x="248" y="336"/>
                    <a:pt x="248" y="336"/>
                    <a:pt x="248" y="336"/>
                  </a:cubicBezTo>
                  <a:cubicBezTo>
                    <a:pt x="248" y="388"/>
                    <a:pt x="248" y="388"/>
                    <a:pt x="248" y="388"/>
                  </a:cubicBezTo>
                  <a:cubicBezTo>
                    <a:pt x="227" y="439"/>
                    <a:pt x="227" y="439"/>
                    <a:pt x="227" y="439"/>
                  </a:cubicBezTo>
                  <a:cubicBezTo>
                    <a:pt x="180" y="479"/>
                    <a:pt x="180" y="479"/>
                    <a:pt x="180" y="479"/>
                  </a:cubicBezTo>
                  <a:cubicBezTo>
                    <a:pt x="25" y="479"/>
                    <a:pt x="25" y="479"/>
                    <a:pt x="25" y="479"/>
                  </a:cubicBezTo>
                  <a:cubicBezTo>
                    <a:pt x="4" y="536"/>
                    <a:pt x="4" y="536"/>
                    <a:pt x="4" y="536"/>
                  </a:cubicBezTo>
                  <a:cubicBezTo>
                    <a:pt x="35" y="671"/>
                    <a:pt x="35" y="671"/>
                    <a:pt x="35" y="671"/>
                  </a:cubicBezTo>
                  <a:cubicBezTo>
                    <a:pt x="0" y="730"/>
                    <a:pt x="0" y="730"/>
                    <a:pt x="0" y="730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6" name="Freeform 75"/>
            <p:cNvSpPr>
              <a:spLocks/>
            </p:cNvSpPr>
            <p:nvPr/>
          </p:nvSpPr>
          <p:spPr bwMode="auto">
            <a:xfrm>
              <a:off x="2367732" y="2137019"/>
              <a:ext cx="282520" cy="293514"/>
            </a:xfrm>
            <a:custGeom>
              <a:avLst/>
              <a:gdLst>
                <a:gd name="T0" fmla="*/ 201 w 257"/>
                <a:gd name="T1" fmla="*/ 289 h 300"/>
                <a:gd name="T2" fmla="*/ 257 w 257"/>
                <a:gd name="T3" fmla="*/ 300 h 300"/>
                <a:gd name="T4" fmla="*/ 251 w 257"/>
                <a:gd name="T5" fmla="*/ 274 h 300"/>
                <a:gd name="T6" fmla="*/ 249 w 257"/>
                <a:gd name="T7" fmla="*/ 238 h 300"/>
                <a:gd name="T8" fmla="*/ 204 w 257"/>
                <a:gd name="T9" fmla="*/ 242 h 300"/>
                <a:gd name="T10" fmla="*/ 212 w 257"/>
                <a:gd name="T11" fmla="*/ 187 h 300"/>
                <a:gd name="T12" fmla="*/ 188 w 257"/>
                <a:gd name="T13" fmla="*/ 188 h 300"/>
                <a:gd name="T14" fmla="*/ 187 w 257"/>
                <a:gd name="T15" fmla="*/ 173 h 300"/>
                <a:gd name="T16" fmla="*/ 211 w 257"/>
                <a:gd name="T17" fmla="*/ 175 h 300"/>
                <a:gd name="T18" fmla="*/ 208 w 257"/>
                <a:gd name="T19" fmla="*/ 148 h 300"/>
                <a:gd name="T20" fmla="*/ 159 w 257"/>
                <a:gd name="T21" fmla="*/ 42 h 300"/>
                <a:gd name="T22" fmla="*/ 157 w 257"/>
                <a:gd name="T23" fmla="*/ 0 h 300"/>
                <a:gd name="T24" fmla="*/ 145 w 257"/>
                <a:gd name="T25" fmla="*/ 16 h 300"/>
                <a:gd name="T26" fmla="*/ 101 w 257"/>
                <a:gd name="T27" fmla="*/ 37 h 300"/>
                <a:gd name="T28" fmla="*/ 95 w 257"/>
                <a:gd name="T29" fmla="*/ 3 h 300"/>
                <a:gd name="T30" fmla="*/ 18 w 257"/>
                <a:gd name="T31" fmla="*/ 26 h 300"/>
                <a:gd name="T32" fmla="*/ 25 w 257"/>
                <a:gd name="T33" fmla="*/ 38 h 300"/>
                <a:gd name="T34" fmla="*/ 0 w 257"/>
                <a:gd name="T35" fmla="*/ 58 h 300"/>
                <a:gd name="T36" fmla="*/ 168 w 257"/>
                <a:gd name="T37" fmla="*/ 214 h 300"/>
                <a:gd name="T38" fmla="*/ 201 w 257"/>
                <a:gd name="T39" fmla="*/ 289 h 300"/>
                <a:gd name="T40" fmla="*/ 201 w 257"/>
                <a:gd name="T41" fmla="*/ 289 h 3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57" h="300">
                  <a:moveTo>
                    <a:pt x="201" y="289"/>
                  </a:moveTo>
                  <a:lnTo>
                    <a:pt x="257" y="300"/>
                  </a:lnTo>
                  <a:lnTo>
                    <a:pt x="251" y="274"/>
                  </a:lnTo>
                  <a:lnTo>
                    <a:pt x="249" y="238"/>
                  </a:lnTo>
                  <a:lnTo>
                    <a:pt x="204" y="242"/>
                  </a:lnTo>
                  <a:lnTo>
                    <a:pt x="212" y="187"/>
                  </a:lnTo>
                  <a:lnTo>
                    <a:pt x="188" y="188"/>
                  </a:lnTo>
                  <a:lnTo>
                    <a:pt x="187" y="173"/>
                  </a:lnTo>
                  <a:lnTo>
                    <a:pt x="211" y="175"/>
                  </a:lnTo>
                  <a:lnTo>
                    <a:pt x="208" y="148"/>
                  </a:lnTo>
                  <a:lnTo>
                    <a:pt x="159" y="42"/>
                  </a:lnTo>
                  <a:lnTo>
                    <a:pt x="157" y="0"/>
                  </a:lnTo>
                  <a:lnTo>
                    <a:pt x="145" y="16"/>
                  </a:lnTo>
                  <a:lnTo>
                    <a:pt x="101" y="37"/>
                  </a:lnTo>
                  <a:lnTo>
                    <a:pt x="95" y="3"/>
                  </a:lnTo>
                  <a:lnTo>
                    <a:pt x="18" y="26"/>
                  </a:lnTo>
                  <a:lnTo>
                    <a:pt x="25" y="38"/>
                  </a:lnTo>
                  <a:lnTo>
                    <a:pt x="0" y="58"/>
                  </a:lnTo>
                  <a:lnTo>
                    <a:pt x="168" y="214"/>
                  </a:lnTo>
                  <a:lnTo>
                    <a:pt x="201" y="289"/>
                  </a:lnTo>
                  <a:lnTo>
                    <a:pt x="201" y="289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1" name="Freeform 80"/>
            <p:cNvSpPr>
              <a:spLocks/>
            </p:cNvSpPr>
            <p:nvPr/>
          </p:nvSpPr>
          <p:spPr bwMode="auto">
            <a:xfrm>
              <a:off x="3161423" y="3546870"/>
              <a:ext cx="245143" cy="335586"/>
            </a:xfrm>
            <a:custGeom>
              <a:avLst/>
              <a:gdLst>
                <a:gd name="T0" fmla="*/ 0 w 223"/>
                <a:gd name="T1" fmla="*/ 12 h 343"/>
                <a:gd name="T2" fmla="*/ 26 w 223"/>
                <a:gd name="T3" fmla="*/ 0 h 343"/>
                <a:gd name="T4" fmla="*/ 52 w 223"/>
                <a:gd name="T5" fmla="*/ 60 h 343"/>
                <a:gd name="T6" fmla="*/ 97 w 223"/>
                <a:gd name="T7" fmla="*/ 34 h 343"/>
                <a:gd name="T8" fmla="*/ 107 w 223"/>
                <a:gd name="T9" fmla="*/ 42 h 343"/>
                <a:gd name="T10" fmla="*/ 223 w 223"/>
                <a:gd name="T11" fmla="*/ 108 h 343"/>
                <a:gd name="T12" fmla="*/ 108 w 223"/>
                <a:gd name="T13" fmla="*/ 166 h 343"/>
                <a:gd name="T14" fmla="*/ 153 w 223"/>
                <a:gd name="T15" fmla="*/ 268 h 343"/>
                <a:gd name="T16" fmla="*/ 172 w 223"/>
                <a:gd name="T17" fmla="*/ 277 h 343"/>
                <a:gd name="T18" fmla="*/ 141 w 223"/>
                <a:gd name="T19" fmla="*/ 343 h 343"/>
                <a:gd name="T20" fmla="*/ 118 w 223"/>
                <a:gd name="T21" fmla="*/ 341 h 343"/>
                <a:gd name="T22" fmla="*/ 93 w 223"/>
                <a:gd name="T23" fmla="*/ 339 h 343"/>
                <a:gd name="T24" fmla="*/ 72 w 223"/>
                <a:gd name="T25" fmla="*/ 319 h 343"/>
                <a:gd name="T26" fmla="*/ 44 w 223"/>
                <a:gd name="T27" fmla="*/ 311 h 343"/>
                <a:gd name="T28" fmla="*/ 48 w 223"/>
                <a:gd name="T29" fmla="*/ 262 h 343"/>
                <a:gd name="T30" fmla="*/ 25 w 223"/>
                <a:gd name="T31" fmla="*/ 136 h 343"/>
                <a:gd name="T32" fmla="*/ 24 w 223"/>
                <a:gd name="T33" fmla="*/ 71 h 343"/>
                <a:gd name="T34" fmla="*/ 0 w 223"/>
                <a:gd name="T35" fmla="*/ 12 h 343"/>
                <a:gd name="T36" fmla="*/ 0 w 223"/>
                <a:gd name="T37" fmla="*/ 12 h 3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223" h="343">
                  <a:moveTo>
                    <a:pt x="0" y="12"/>
                  </a:moveTo>
                  <a:lnTo>
                    <a:pt x="26" y="0"/>
                  </a:lnTo>
                  <a:lnTo>
                    <a:pt x="52" y="60"/>
                  </a:lnTo>
                  <a:lnTo>
                    <a:pt x="97" y="34"/>
                  </a:lnTo>
                  <a:lnTo>
                    <a:pt x="107" y="42"/>
                  </a:lnTo>
                  <a:lnTo>
                    <a:pt x="223" y="108"/>
                  </a:lnTo>
                  <a:lnTo>
                    <a:pt x="108" y="166"/>
                  </a:lnTo>
                  <a:lnTo>
                    <a:pt x="153" y="268"/>
                  </a:lnTo>
                  <a:lnTo>
                    <a:pt x="172" y="277"/>
                  </a:lnTo>
                  <a:lnTo>
                    <a:pt x="141" y="343"/>
                  </a:lnTo>
                  <a:lnTo>
                    <a:pt x="118" y="341"/>
                  </a:lnTo>
                  <a:lnTo>
                    <a:pt x="93" y="339"/>
                  </a:lnTo>
                  <a:lnTo>
                    <a:pt x="72" y="319"/>
                  </a:lnTo>
                  <a:lnTo>
                    <a:pt x="44" y="311"/>
                  </a:lnTo>
                  <a:lnTo>
                    <a:pt x="48" y="262"/>
                  </a:lnTo>
                  <a:lnTo>
                    <a:pt x="25" y="136"/>
                  </a:lnTo>
                  <a:lnTo>
                    <a:pt x="24" y="71"/>
                  </a:lnTo>
                  <a:lnTo>
                    <a:pt x="0" y="12"/>
                  </a:lnTo>
                  <a:lnTo>
                    <a:pt x="0" y="12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2" name="Freeform 81"/>
            <p:cNvSpPr>
              <a:spLocks/>
            </p:cNvSpPr>
            <p:nvPr/>
          </p:nvSpPr>
          <p:spPr bwMode="auto">
            <a:xfrm>
              <a:off x="1536666" y="2131150"/>
              <a:ext cx="418832" cy="295472"/>
            </a:xfrm>
            <a:custGeom>
              <a:avLst/>
              <a:gdLst>
                <a:gd name="T0" fmla="*/ 0 w 1143"/>
                <a:gd name="T1" fmla="*/ 821 h 907"/>
                <a:gd name="T2" fmla="*/ 95 w 1143"/>
                <a:gd name="T3" fmla="*/ 530 h 907"/>
                <a:gd name="T4" fmla="*/ 229 w 1143"/>
                <a:gd name="T5" fmla="*/ 323 h 907"/>
                <a:gd name="T6" fmla="*/ 417 w 1143"/>
                <a:gd name="T7" fmla="*/ 177 h 907"/>
                <a:gd name="T8" fmla="*/ 579 w 1143"/>
                <a:gd name="T9" fmla="*/ 80 h 907"/>
                <a:gd name="T10" fmla="*/ 731 w 1143"/>
                <a:gd name="T11" fmla="*/ 0 h 907"/>
                <a:gd name="T12" fmla="*/ 770 w 1143"/>
                <a:gd name="T13" fmla="*/ 88 h 907"/>
                <a:gd name="T14" fmla="*/ 940 w 1143"/>
                <a:gd name="T15" fmla="*/ 234 h 907"/>
                <a:gd name="T16" fmla="*/ 1012 w 1143"/>
                <a:gd name="T17" fmla="*/ 272 h 907"/>
                <a:gd name="T18" fmla="*/ 1020 w 1143"/>
                <a:gd name="T19" fmla="*/ 410 h 907"/>
                <a:gd name="T20" fmla="*/ 1143 w 1143"/>
                <a:gd name="T21" fmla="*/ 780 h 907"/>
                <a:gd name="T22" fmla="*/ 471 w 1143"/>
                <a:gd name="T23" fmla="*/ 907 h 907"/>
                <a:gd name="T24" fmla="*/ 341 w 1143"/>
                <a:gd name="T25" fmla="*/ 863 h 907"/>
                <a:gd name="T26" fmla="*/ 138 w 1143"/>
                <a:gd name="T27" fmla="*/ 849 h 907"/>
                <a:gd name="T28" fmla="*/ 0 w 1143"/>
                <a:gd name="T29" fmla="*/ 821 h 9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143" h="907">
                  <a:moveTo>
                    <a:pt x="0" y="821"/>
                  </a:moveTo>
                  <a:cubicBezTo>
                    <a:pt x="32" y="724"/>
                    <a:pt x="62" y="627"/>
                    <a:pt x="95" y="530"/>
                  </a:cubicBezTo>
                  <a:cubicBezTo>
                    <a:pt x="140" y="461"/>
                    <a:pt x="183" y="391"/>
                    <a:pt x="229" y="323"/>
                  </a:cubicBezTo>
                  <a:cubicBezTo>
                    <a:pt x="291" y="273"/>
                    <a:pt x="349" y="218"/>
                    <a:pt x="417" y="177"/>
                  </a:cubicBezTo>
                  <a:cubicBezTo>
                    <a:pt x="470" y="142"/>
                    <a:pt x="521" y="107"/>
                    <a:pt x="579" y="80"/>
                  </a:cubicBezTo>
                  <a:cubicBezTo>
                    <a:pt x="629" y="53"/>
                    <a:pt x="680" y="27"/>
                    <a:pt x="731" y="0"/>
                  </a:cubicBezTo>
                  <a:cubicBezTo>
                    <a:pt x="744" y="29"/>
                    <a:pt x="754" y="60"/>
                    <a:pt x="770" y="88"/>
                  </a:cubicBezTo>
                  <a:cubicBezTo>
                    <a:pt x="827" y="136"/>
                    <a:pt x="882" y="187"/>
                    <a:pt x="940" y="234"/>
                  </a:cubicBezTo>
                  <a:cubicBezTo>
                    <a:pt x="964" y="246"/>
                    <a:pt x="988" y="259"/>
                    <a:pt x="1012" y="272"/>
                  </a:cubicBezTo>
                  <a:cubicBezTo>
                    <a:pt x="1016" y="318"/>
                    <a:pt x="1014" y="365"/>
                    <a:pt x="1020" y="410"/>
                  </a:cubicBezTo>
                  <a:cubicBezTo>
                    <a:pt x="1061" y="533"/>
                    <a:pt x="1102" y="657"/>
                    <a:pt x="1143" y="780"/>
                  </a:cubicBezTo>
                  <a:cubicBezTo>
                    <a:pt x="919" y="822"/>
                    <a:pt x="695" y="864"/>
                    <a:pt x="471" y="907"/>
                  </a:cubicBezTo>
                  <a:cubicBezTo>
                    <a:pt x="428" y="893"/>
                    <a:pt x="385" y="875"/>
                    <a:pt x="341" y="863"/>
                  </a:cubicBezTo>
                  <a:cubicBezTo>
                    <a:pt x="273" y="858"/>
                    <a:pt x="205" y="857"/>
                    <a:pt x="138" y="849"/>
                  </a:cubicBezTo>
                  <a:cubicBezTo>
                    <a:pt x="92" y="839"/>
                    <a:pt x="46" y="830"/>
                    <a:pt x="0" y="82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3" name="Freeform 82"/>
            <p:cNvSpPr>
              <a:spLocks/>
            </p:cNvSpPr>
            <p:nvPr/>
          </p:nvSpPr>
          <p:spPr bwMode="auto">
            <a:xfrm>
              <a:off x="1524575" y="2382595"/>
              <a:ext cx="484788" cy="212310"/>
            </a:xfrm>
            <a:custGeom>
              <a:avLst/>
              <a:gdLst>
                <a:gd name="T0" fmla="*/ 33 w 1323"/>
                <a:gd name="T1" fmla="*/ 50 h 653"/>
                <a:gd name="T2" fmla="*/ 10 w 1323"/>
                <a:gd name="T3" fmla="*/ 113 h 653"/>
                <a:gd name="T4" fmla="*/ 2 w 1323"/>
                <a:gd name="T5" fmla="*/ 226 h 653"/>
                <a:gd name="T6" fmla="*/ 71 w 1323"/>
                <a:gd name="T7" fmla="*/ 460 h 653"/>
                <a:gd name="T8" fmla="*/ 63 w 1323"/>
                <a:gd name="T9" fmla="*/ 588 h 653"/>
                <a:gd name="T10" fmla="*/ 302 w 1323"/>
                <a:gd name="T11" fmla="*/ 653 h 653"/>
                <a:gd name="T12" fmla="*/ 343 w 1323"/>
                <a:gd name="T13" fmla="*/ 596 h 653"/>
                <a:gd name="T14" fmla="*/ 404 w 1323"/>
                <a:gd name="T15" fmla="*/ 586 h 653"/>
                <a:gd name="T16" fmla="*/ 386 w 1323"/>
                <a:gd name="T17" fmla="*/ 533 h 653"/>
                <a:gd name="T18" fmla="*/ 430 w 1323"/>
                <a:gd name="T19" fmla="*/ 504 h 653"/>
                <a:gd name="T20" fmla="*/ 543 w 1323"/>
                <a:gd name="T21" fmla="*/ 467 h 653"/>
                <a:gd name="T22" fmla="*/ 592 w 1323"/>
                <a:gd name="T23" fmla="*/ 516 h 653"/>
                <a:gd name="T24" fmla="*/ 615 w 1323"/>
                <a:gd name="T25" fmla="*/ 567 h 653"/>
                <a:gd name="T26" fmla="*/ 672 w 1323"/>
                <a:gd name="T27" fmla="*/ 528 h 653"/>
                <a:gd name="T28" fmla="*/ 741 w 1323"/>
                <a:gd name="T29" fmla="*/ 510 h 653"/>
                <a:gd name="T30" fmla="*/ 1125 w 1323"/>
                <a:gd name="T31" fmla="*/ 543 h 653"/>
                <a:gd name="T32" fmla="*/ 1237 w 1323"/>
                <a:gd name="T33" fmla="*/ 485 h 653"/>
                <a:gd name="T34" fmla="*/ 1323 w 1323"/>
                <a:gd name="T35" fmla="*/ 361 h 653"/>
                <a:gd name="T36" fmla="*/ 1191 w 1323"/>
                <a:gd name="T37" fmla="*/ 46 h 653"/>
                <a:gd name="T38" fmla="*/ 1167 w 1323"/>
                <a:gd name="T39" fmla="*/ 12 h 653"/>
                <a:gd name="T40" fmla="*/ 504 w 1323"/>
                <a:gd name="T41" fmla="*/ 137 h 653"/>
                <a:gd name="T42" fmla="*/ 374 w 1323"/>
                <a:gd name="T43" fmla="*/ 93 h 653"/>
                <a:gd name="T44" fmla="*/ 171 w 1323"/>
                <a:gd name="T45" fmla="*/ 78 h 653"/>
                <a:gd name="T46" fmla="*/ 33 w 1323"/>
                <a:gd name="T47" fmla="*/ 50 h 6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1323" h="653">
                  <a:moveTo>
                    <a:pt x="33" y="50"/>
                  </a:moveTo>
                  <a:cubicBezTo>
                    <a:pt x="23" y="68"/>
                    <a:pt x="17" y="92"/>
                    <a:pt x="10" y="113"/>
                  </a:cubicBezTo>
                  <a:cubicBezTo>
                    <a:pt x="8" y="151"/>
                    <a:pt x="0" y="189"/>
                    <a:pt x="2" y="226"/>
                  </a:cubicBezTo>
                  <a:cubicBezTo>
                    <a:pt x="25" y="304"/>
                    <a:pt x="50" y="382"/>
                    <a:pt x="71" y="460"/>
                  </a:cubicBezTo>
                  <a:cubicBezTo>
                    <a:pt x="69" y="503"/>
                    <a:pt x="66" y="545"/>
                    <a:pt x="63" y="588"/>
                  </a:cubicBezTo>
                  <a:cubicBezTo>
                    <a:pt x="143" y="609"/>
                    <a:pt x="223" y="631"/>
                    <a:pt x="302" y="653"/>
                  </a:cubicBezTo>
                  <a:cubicBezTo>
                    <a:pt x="316" y="634"/>
                    <a:pt x="329" y="615"/>
                    <a:pt x="343" y="596"/>
                  </a:cubicBezTo>
                  <a:cubicBezTo>
                    <a:pt x="364" y="596"/>
                    <a:pt x="387" y="604"/>
                    <a:pt x="404" y="586"/>
                  </a:cubicBezTo>
                  <a:cubicBezTo>
                    <a:pt x="400" y="569"/>
                    <a:pt x="391" y="550"/>
                    <a:pt x="386" y="533"/>
                  </a:cubicBezTo>
                  <a:cubicBezTo>
                    <a:pt x="397" y="517"/>
                    <a:pt x="411" y="507"/>
                    <a:pt x="430" y="504"/>
                  </a:cubicBezTo>
                  <a:cubicBezTo>
                    <a:pt x="468" y="492"/>
                    <a:pt x="505" y="479"/>
                    <a:pt x="543" y="467"/>
                  </a:cubicBezTo>
                  <a:cubicBezTo>
                    <a:pt x="562" y="481"/>
                    <a:pt x="587" y="490"/>
                    <a:pt x="592" y="516"/>
                  </a:cubicBezTo>
                  <a:cubicBezTo>
                    <a:pt x="599" y="533"/>
                    <a:pt x="607" y="550"/>
                    <a:pt x="615" y="567"/>
                  </a:cubicBezTo>
                  <a:cubicBezTo>
                    <a:pt x="630" y="549"/>
                    <a:pt x="648" y="534"/>
                    <a:pt x="672" y="528"/>
                  </a:cubicBezTo>
                  <a:cubicBezTo>
                    <a:pt x="694" y="519"/>
                    <a:pt x="715" y="503"/>
                    <a:pt x="741" y="510"/>
                  </a:cubicBezTo>
                  <a:cubicBezTo>
                    <a:pt x="869" y="521"/>
                    <a:pt x="997" y="532"/>
                    <a:pt x="1125" y="543"/>
                  </a:cubicBezTo>
                  <a:cubicBezTo>
                    <a:pt x="1162" y="523"/>
                    <a:pt x="1202" y="507"/>
                    <a:pt x="1237" y="485"/>
                  </a:cubicBezTo>
                  <a:cubicBezTo>
                    <a:pt x="1266" y="444"/>
                    <a:pt x="1294" y="402"/>
                    <a:pt x="1323" y="361"/>
                  </a:cubicBezTo>
                  <a:cubicBezTo>
                    <a:pt x="1277" y="257"/>
                    <a:pt x="1230" y="153"/>
                    <a:pt x="1191" y="46"/>
                  </a:cubicBezTo>
                  <a:cubicBezTo>
                    <a:pt x="1182" y="35"/>
                    <a:pt x="1183" y="0"/>
                    <a:pt x="1167" y="12"/>
                  </a:cubicBezTo>
                  <a:cubicBezTo>
                    <a:pt x="946" y="53"/>
                    <a:pt x="725" y="95"/>
                    <a:pt x="504" y="137"/>
                  </a:cubicBezTo>
                  <a:cubicBezTo>
                    <a:pt x="461" y="123"/>
                    <a:pt x="418" y="105"/>
                    <a:pt x="374" y="93"/>
                  </a:cubicBezTo>
                  <a:cubicBezTo>
                    <a:pt x="306" y="88"/>
                    <a:pt x="238" y="87"/>
                    <a:pt x="171" y="78"/>
                  </a:cubicBezTo>
                  <a:cubicBezTo>
                    <a:pt x="125" y="69"/>
                    <a:pt x="77" y="61"/>
                    <a:pt x="33" y="5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4" name="Freeform 83"/>
            <p:cNvSpPr>
              <a:spLocks/>
            </p:cNvSpPr>
            <p:nvPr/>
          </p:nvSpPr>
          <p:spPr bwMode="auto">
            <a:xfrm>
              <a:off x="1538865" y="2500000"/>
              <a:ext cx="607910" cy="334606"/>
            </a:xfrm>
            <a:custGeom>
              <a:avLst/>
              <a:gdLst>
                <a:gd name="T0" fmla="*/ 1602 w 1659"/>
                <a:gd name="T1" fmla="*/ 551 h 1028"/>
                <a:gd name="T2" fmla="*/ 1546 w 1659"/>
                <a:gd name="T3" fmla="*/ 688 h 1028"/>
                <a:gd name="T4" fmla="*/ 1550 w 1659"/>
                <a:gd name="T5" fmla="*/ 764 h 1028"/>
                <a:gd name="T6" fmla="*/ 1424 w 1659"/>
                <a:gd name="T7" fmla="*/ 768 h 1028"/>
                <a:gd name="T8" fmla="*/ 1235 w 1659"/>
                <a:gd name="T9" fmla="*/ 870 h 1028"/>
                <a:gd name="T10" fmla="*/ 1015 w 1659"/>
                <a:gd name="T11" fmla="*/ 887 h 1028"/>
                <a:gd name="T12" fmla="*/ 949 w 1659"/>
                <a:gd name="T13" fmla="*/ 844 h 1028"/>
                <a:gd name="T14" fmla="*/ 911 w 1659"/>
                <a:gd name="T15" fmla="*/ 829 h 1028"/>
                <a:gd name="T16" fmla="*/ 873 w 1659"/>
                <a:gd name="T17" fmla="*/ 997 h 1028"/>
                <a:gd name="T18" fmla="*/ 820 w 1659"/>
                <a:gd name="T19" fmla="*/ 982 h 1028"/>
                <a:gd name="T20" fmla="*/ 732 w 1659"/>
                <a:gd name="T21" fmla="*/ 951 h 1028"/>
                <a:gd name="T22" fmla="*/ 592 w 1659"/>
                <a:gd name="T23" fmla="*/ 961 h 1028"/>
                <a:gd name="T24" fmla="*/ 457 w 1659"/>
                <a:gd name="T25" fmla="*/ 888 h 1028"/>
                <a:gd name="T26" fmla="*/ 350 w 1659"/>
                <a:gd name="T27" fmla="*/ 762 h 1028"/>
                <a:gd name="T28" fmla="*/ 333 w 1659"/>
                <a:gd name="T29" fmla="*/ 653 h 1028"/>
                <a:gd name="T30" fmla="*/ 310 w 1659"/>
                <a:gd name="T31" fmla="*/ 581 h 1028"/>
                <a:gd name="T32" fmla="*/ 224 w 1659"/>
                <a:gd name="T33" fmla="*/ 454 h 1028"/>
                <a:gd name="T34" fmla="*/ 63 w 1659"/>
                <a:gd name="T35" fmla="*/ 369 h 1028"/>
                <a:gd name="T36" fmla="*/ 11 w 1659"/>
                <a:gd name="T37" fmla="*/ 337 h 1028"/>
                <a:gd name="T38" fmla="*/ 27 w 1659"/>
                <a:gd name="T39" fmla="*/ 228 h 1028"/>
                <a:gd name="T40" fmla="*/ 265 w 1659"/>
                <a:gd name="T41" fmla="*/ 293 h 1028"/>
                <a:gd name="T42" fmla="*/ 310 w 1659"/>
                <a:gd name="T43" fmla="*/ 236 h 1028"/>
                <a:gd name="T44" fmla="*/ 363 w 1659"/>
                <a:gd name="T45" fmla="*/ 214 h 1028"/>
                <a:gd name="T46" fmla="*/ 367 w 1659"/>
                <a:gd name="T47" fmla="*/ 152 h 1028"/>
                <a:gd name="T48" fmla="*/ 506 w 1659"/>
                <a:gd name="T49" fmla="*/ 107 h 1028"/>
                <a:gd name="T50" fmla="*/ 558 w 1659"/>
                <a:gd name="T51" fmla="*/ 163 h 1028"/>
                <a:gd name="T52" fmla="*/ 594 w 1659"/>
                <a:gd name="T53" fmla="*/ 191 h 1028"/>
                <a:gd name="T54" fmla="*/ 680 w 1659"/>
                <a:gd name="T55" fmla="*/ 148 h 1028"/>
                <a:gd name="T56" fmla="*/ 1088 w 1659"/>
                <a:gd name="T57" fmla="*/ 183 h 1028"/>
                <a:gd name="T58" fmla="*/ 1200 w 1659"/>
                <a:gd name="T59" fmla="*/ 124 h 1028"/>
                <a:gd name="T60" fmla="*/ 1285 w 1659"/>
                <a:gd name="T61" fmla="*/ 0 h 1028"/>
                <a:gd name="T62" fmla="*/ 1359 w 1659"/>
                <a:gd name="T63" fmla="*/ 159 h 1028"/>
                <a:gd name="T64" fmla="*/ 1421 w 1659"/>
                <a:gd name="T65" fmla="*/ 300 h 1028"/>
                <a:gd name="T66" fmla="*/ 1400 w 1659"/>
                <a:gd name="T67" fmla="*/ 359 h 1028"/>
                <a:gd name="T68" fmla="*/ 1374 w 1659"/>
                <a:gd name="T69" fmla="*/ 396 h 1028"/>
                <a:gd name="T70" fmla="*/ 1428 w 1659"/>
                <a:gd name="T71" fmla="*/ 434 h 1028"/>
                <a:gd name="T72" fmla="*/ 1621 w 1659"/>
                <a:gd name="T73" fmla="*/ 412 h 1028"/>
                <a:gd name="T74" fmla="*/ 1659 w 1659"/>
                <a:gd name="T75" fmla="*/ 496 h 1028"/>
                <a:gd name="T76" fmla="*/ 1602 w 1659"/>
                <a:gd name="T77" fmla="*/ 551 h 10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659" h="1028">
                  <a:moveTo>
                    <a:pt x="1602" y="551"/>
                  </a:moveTo>
                  <a:cubicBezTo>
                    <a:pt x="1584" y="597"/>
                    <a:pt x="1561" y="642"/>
                    <a:pt x="1546" y="688"/>
                  </a:cubicBezTo>
                  <a:cubicBezTo>
                    <a:pt x="1547" y="714"/>
                    <a:pt x="1548" y="739"/>
                    <a:pt x="1550" y="764"/>
                  </a:cubicBezTo>
                  <a:cubicBezTo>
                    <a:pt x="1508" y="766"/>
                    <a:pt x="1465" y="763"/>
                    <a:pt x="1424" y="768"/>
                  </a:cubicBezTo>
                  <a:cubicBezTo>
                    <a:pt x="1361" y="802"/>
                    <a:pt x="1299" y="840"/>
                    <a:pt x="1235" y="870"/>
                  </a:cubicBezTo>
                  <a:cubicBezTo>
                    <a:pt x="1162" y="875"/>
                    <a:pt x="1089" y="886"/>
                    <a:pt x="1015" y="887"/>
                  </a:cubicBezTo>
                  <a:cubicBezTo>
                    <a:pt x="990" y="877"/>
                    <a:pt x="963" y="869"/>
                    <a:pt x="949" y="844"/>
                  </a:cubicBezTo>
                  <a:cubicBezTo>
                    <a:pt x="934" y="830"/>
                    <a:pt x="914" y="787"/>
                    <a:pt x="911" y="829"/>
                  </a:cubicBezTo>
                  <a:cubicBezTo>
                    <a:pt x="896" y="885"/>
                    <a:pt x="870" y="938"/>
                    <a:pt x="873" y="997"/>
                  </a:cubicBezTo>
                  <a:cubicBezTo>
                    <a:pt x="874" y="1028"/>
                    <a:pt x="837" y="985"/>
                    <a:pt x="820" y="982"/>
                  </a:cubicBezTo>
                  <a:cubicBezTo>
                    <a:pt x="791" y="970"/>
                    <a:pt x="766" y="940"/>
                    <a:pt x="732" y="951"/>
                  </a:cubicBezTo>
                  <a:cubicBezTo>
                    <a:pt x="686" y="953"/>
                    <a:pt x="638" y="962"/>
                    <a:pt x="592" y="961"/>
                  </a:cubicBezTo>
                  <a:cubicBezTo>
                    <a:pt x="547" y="936"/>
                    <a:pt x="499" y="916"/>
                    <a:pt x="457" y="888"/>
                  </a:cubicBezTo>
                  <a:cubicBezTo>
                    <a:pt x="419" y="847"/>
                    <a:pt x="372" y="814"/>
                    <a:pt x="350" y="762"/>
                  </a:cubicBezTo>
                  <a:cubicBezTo>
                    <a:pt x="330" y="730"/>
                    <a:pt x="339" y="689"/>
                    <a:pt x="333" y="653"/>
                  </a:cubicBezTo>
                  <a:cubicBezTo>
                    <a:pt x="333" y="626"/>
                    <a:pt x="328" y="601"/>
                    <a:pt x="310" y="581"/>
                  </a:cubicBezTo>
                  <a:cubicBezTo>
                    <a:pt x="281" y="539"/>
                    <a:pt x="255" y="494"/>
                    <a:pt x="224" y="454"/>
                  </a:cubicBezTo>
                  <a:cubicBezTo>
                    <a:pt x="170" y="427"/>
                    <a:pt x="119" y="392"/>
                    <a:pt x="63" y="369"/>
                  </a:cubicBezTo>
                  <a:cubicBezTo>
                    <a:pt x="46" y="358"/>
                    <a:pt x="0" y="365"/>
                    <a:pt x="11" y="337"/>
                  </a:cubicBezTo>
                  <a:cubicBezTo>
                    <a:pt x="16" y="301"/>
                    <a:pt x="21" y="264"/>
                    <a:pt x="27" y="228"/>
                  </a:cubicBezTo>
                  <a:cubicBezTo>
                    <a:pt x="106" y="250"/>
                    <a:pt x="186" y="271"/>
                    <a:pt x="265" y="293"/>
                  </a:cubicBezTo>
                  <a:cubicBezTo>
                    <a:pt x="281" y="275"/>
                    <a:pt x="292" y="248"/>
                    <a:pt x="310" y="236"/>
                  </a:cubicBezTo>
                  <a:cubicBezTo>
                    <a:pt x="328" y="238"/>
                    <a:pt x="373" y="243"/>
                    <a:pt x="363" y="214"/>
                  </a:cubicBezTo>
                  <a:cubicBezTo>
                    <a:pt x="355" y="192"/>
                    <a:pt x="340" y="168"/>
                    <a:pt x="367" y="152"/>
                  </a:cubicBezTo>
                  <a:cubicBezTo>
                    <a:pt x="414" y="137"/>
                    <a:pt x="460" y="122"/>
                    <a:pt x="506" y="107"/>
                  </a:cubicBezTo>
                  <a:cubicBezTo>
                    <a:pt x="528" y="122"/>
                    <a:pt x="552" y="135"/>
                    <a:pt x="558" y="163"/>
                  </a:cubicBezTo>
                  <a:cubicBezTo>
                    <a:pt x="568" y="180"/>
                    <a:pt x="574" y="226"/>
                    <a:pt x="594" y="191"/>
                  </a:cubicBezTo>
                  <a:cubicBezTo>
                    <a:pt x="617" y="169"/>
                    <a:pt x="652" y="163"/>
                    <a:pt x="680" y="148"/>
                  </a:cubicBezTo>
                  <a:cubicBezTo>
                    <a:pt x="816" y="160"/>
                    <a:pt x="952" y="171"/>
                    <a:pt x="1088" y="183"/>
                  </a:cubicBezTo>
                  <a:cubicBezTo>
                    <a:pt x="1125" y="163"/>
                    <a:pt x="1166" y="147"/>
                    <a:pt x="1200" y="124"/>
                  </a:cubicBezTo>
                  <a:cubicBezTo>
                    <a:pt x="1228" y="83"/>
                    <a:pt x="1260" y="42"/>
                    <a:pt x="1285" y="0"/>
                  </a:cubicBezTo>
                  <a:cubicBezTo>
                    <a:pt x="1313" y="49"/>
                    <a:pt x="1334" y="106"/>
                    <a:pt x="1359" y="159"/>
                  </a:cubicBezTo>
                  <a:cubicBezTo>
                    <a:pt x="1379" y="206"/>
                    <a:pt x="1404" y="252"/>
                    <a:pt x="1421" y="300"/>
                  </a:cubicBezTo>
                  <a:cubicBezTo>
                    <a:pt x="1415" y="321"/>
                    <a:pt x="1432" y="358"/>
                    <a:pt x="1400" y="359"/>
                  </a:cubicBezTo>
                  <a:cubicBezTo>
                    <a:pt x="1377" y="367"/>
                    <a:pt x="1342" y="371"/>
                    <a:pt x="1374" y="396"/>
                  </a:cubicBezTo>
                  <a:cubicBezTo>
                    <a:pt x="1390" y="413"/>
                    <a:pt x="1399" y="445"/>
                    <a:pt x="1428" y="434"/>
                  </a:cubicBezTo>
                  <a:cubicBezTo>
                    <a:pt x="1492" y="427"/>
                    <a:pt x="1559" y="433"/>
                    <a:pt x="1621" y="412"/>
                  </a:cubicBezTo>
                  <a:cubicBezTo>
                    <a:pt x="1634" y="440"/>
                    <a:pt x="1647" y="468"/>
                    <a:pt x="1659" y="496"/>
                  </a:cubicBezTo>
                  <a:cubicBezTo>
                    <a:pt x="1640" y="515"/>
                    <a:pt x="1621" y="533"/>
                    <a:pt x="1602" y="55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5" name="Freeform 84"/>
            <p:cNvSpPr>
              <a:spLocks/>
            </p:cNvSpPr>
            <p:nvPr/>
          </p:nvSpPr>
          <p:spPr bwMode="auto">
            <a:xfrm>
              <a:off x="1852163" y="2748511"/>
              <a:ext cx="357270" cy="268078"/>
            </a:xfrm>
            <a:custGeom>
              <a:avLst/>
              <a:gdLst>
                <a:gd name="T0" fmla="*/ 384 w 976"/>
                <a:gd name="T1" fmla="*/ 106 h 822"/>
                <a:gd name="T2" fmla="*/ 572 w 976"/>
                <a:gd name="T3" fmla="*/ 3 h 822"/>
                <a:gd name="T4" fmla="*/ 695 w 976"/>
                <a:gd name="T5" fmla="*/ 0 h 822"/>
                <a:gd name="T6" fmla="*/ 698 w 976"/>
                <a:gd name="T7" fmla="*/ 44 h 822"/>
                <a:gd name="T8" fmla="*/ 710 w 976"/>
                <a:gd name="T9" fmla="*/ 103 h 822"/>
                <a:gd name="T10" fmla="*/ 931 w 976"/>
                <a:gd name="T11" fmla="*/ 573 h 822"/>
                <a:gd name="T12" fmla="*/ 970 w 976"/>
                <a:gd name="T13" fmla="*/ 662 h 822"/>
                <a:gd name="T14" fmla="*/ 973 w 976"/>
                <a:gd name="T15" fmla="*/ 710 h 822"/>
                <a:gd name="T16" fmla="*/ 899 w 976"/>
                <a:gd name="T17" fmla="*/ 784 h 822"/>
                <a:gd name="T18" fmla="*/ 731 w 976"/>
                <a:gd name="T19" fmla="*/ 822 h 822"/>
                <a:gd name="T20" fmla="*/ 556 w 976"/>
                <a:gd name="T21" fmla="*/ 779 h 822"/>
                <a:gd name="T22" fmla="*/ 513 w 976"/>
                <a:gd name="T23" fmla="*/ 790 h 822"/>
                <a:gd name="T24" fmla="*/ 151 w 976"/>
                <a:gd name="T25" fmla="*/ 695 h 822"/>
                <a:gd name="T26" fmla="*/ 146 w 976"/>
                <a:gd name="T27" fmla="*/ 652 h 822"/>
                <a:gd name="T28" fmla="*/ 0 w 976"/>
                <a:gd name="T29" fmla="*/ 675 h 822"/>
                <a:gd name="T30" fmla="*/ 31 w 976"/>
                <a:gd name="T31" fmla="*/ 415 h 822"/>
                <a:gd name="T32" fmla="*/ 26 w 976"/>
                <a:gd name="T33" fmla="*/ 288 h 822"/>
                <a:gd name="T34" fmla="*/ 19 w 976"/>
                <a:gd name="T35" fmla="*/ 211 h 822"/>
                <a:gd name="T36" fmla="*/ 49 w 976"/>
                <a:gd name="T37" fmla="*/ 87 h 822"/>
                <a:gd name="T38" fmla="*/ 65 w 976"/>
                <a:gd name="T39" fmla="*/ 45 h 822"/>
                <a:gd name="T40" fmla="*/ 116 w 976"/>
                <a:gd name="T41" fmla="*/ 105 h 822"/>
                <a:gd name="T42" fmla="*/ 184 w 976"/>
                <a:gd name="T43" fmla="*/ 123 h 822"/>
                <a:gd name="T44" fmla="*/ 384 w 976"/>
                <a:gd name="T45" fmla="*/ 106 h 8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976" h="822">
                  <a:moveTo>
                    <a:pt x="384" y="106"/>
                  </a:moveTo>
                  <a:cubicBezTo>
                    <a:pt x="447" y="72"/>
                    <a:pt x="509" y="37"/>
                    <a:pt x="572" y="3"/>
                  </a:cubicBezTo>
                  <a:cubicBezTo>
                    <a:pt x="613" y="2"/>
                    <a:pt x="654" y="1"/>
                    <a:pt x="695" y="0"/>
                  </a:cubicBezTo>
                  <a:cubicBezTo>
                    <a:pt x="699" y="6"/>
                    <a:pt x="696" y="31"/>
                    <a:pt x="698" y="44"/>
                  </a:cubicBezTo>
                  <a:cubicBezTo>
                    <a:pt x="699" y="64"/>
                    <a:pt x="697" y="86"/>
                    <a:pt x="710" y="103"/>
                  </a:cubicBezTo>
                  <a:cubicBezTo>
                    <a:pt x="785" y="259"/>
                    <a:pt x="860" y="415"/>
                    <a:pt x="931" y="573"/>
                  </a:cubicBezTo>
                  <a:cubicBezTo>
                    <a:pt x="943" y="603"/>
                    <a:pt x="960" y="631"/>
                    <a:pt x="970" y="662"/>
                  </a:cubicBezTo>
                  <a:cubicBezTo>
                    <a:pt x="970" y="678"/>
                    <a:pt x="976" y="696"/>
                    <a:pt x="973" y="710"/>
                  </a:cubicBezTo>
                  <a:cubicBezTo>
                    <a:pt x="948" y="735"/>
                    <a:pt x="925" y="762"/>
                    <a:pt x="899" y="784"/>
                  </a:cubicBezTo>
                  <a:cubicBezTo>
                    <a:pt x="843" y="797"/>
                    <a:pt x="787" y="812"/>
                    <a:pt x="731" y="822"/>
                  </a:cubicBezTo>
                  <a:cubicBezTo>
                    <a:pt x="672" y="808"/>
                    <a:pt x="614" y="793"/>
                    <a:pt x="556" y="779"/>
                  </a:cubicBezTo>
                  <a:cubicBezTo>
                    <a:pt x="542" y="787"/>
                    <a:pt x="529" y="799"/>
                    <a:pt x="513" y="790"/>
                  </a:cubicBezTo>
                  <a:cubicBezTo>
                    <a:pt x="392" y="758"/>
                    <a:pt x="272" y="727"/>
                    <a:pt x="151" y="695"/>
                  </a:cubicBezTo>
                  <a:cubicBezTo>
                    <a:pt x="148" y="683"/>
                    <a:pt x="157" y="655"/>
                    <a:pt x="146" y="652"/>
                  </a:cubicBezTo>
                  <a:cubicBezTo>
                    <a:pt x="97" y="660"/>
                    <a:pt x="49" y="667"/>
                    <a:pt x="0" y="675"/>
                  </a:cubicBezTo>
                  <a:cubicBezTo>
                    <a:pt x="10" y="588"/>
                    <a:pt x="23" y="501"/>
                    <a:pt x="31" y="415"/>
                  </a:cubicBezTo>
                  <a:cubicBezTo>
                    <a:pt x="29" y="372"/>
                    <a:pt x="33" y="329"/>
                    <a:pt x="26" y="288"/>
                  </a:cubicBezTo>
                  <a:cubicBezTo>
                    <a:pt x="19" y="262"/>
                    <a:pt x="15" y="237"/>
                    <a:pt x="19" y="211"/>
                  </a:cubicBezTo>
                  <a:cubicBezTo>
                    <a:pt x="18" y="168"/>
                    <a:pt x="39" y="129"/>
                    <a:pt x="49" y="87"/>
                  </a:cubicBezTo>
                  <a:cubicBezTo>
                    <a:pt x="55" y="75"/>
                    <a:pt x="58" y="50"/>
                    <a:pt x="65" y="45"/>
                  </a:cubicBezTo>
                  <a:cubicBezTo>
                    <a:pt x="82" y="64"/>
                    <a:pt x="98" y="87"/>
                    <a:pt x="116" y="105"/>
                  </a:cubicBezTo>
                  <a:cubicBezTo>
                    <a:pt x="139" y="113"/>
                    <a:pt x="159" y="127"/>
                    <a:pt x="184" y="123"/>
                  </a:cubicBezTo>
                  <a:cubicBezTo>
                    <a:pt x="251" y="119"/>
                    <a:pt x="317" y="111"/>
                    <a:pt x="384" y="106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6" name="Freeform 85"/>
            <p:cNvSpPr>
              <a:spLocks/>
            </p:cNvSpPr>
            <p:nvPr/>
          </p:nvSpPr>
          <p:spPr bwMode="auto">
            <a:xfrm>
              <a:off x="1594929" y="2960818"/>
              <a:ext cx="725533" cy="509738"/>
            </a:xfrm>
            <a:custGeom>
              <a:avLst/>
              <a:gdLst>
                <a:gd name="T0" fmla="*/ 517 w 1980"/>
                <a:gd name="T1" fmla="*/ 571 h 1563"/>
                <a:gd name="T2" fmla="*/ 693 w 1980"/>
                <a:gd name="T3" fmla="*/ 501 h 1563"/>
                <a:gd name="T4" fmla="*/ 810 w 1980"/>
                <a:gd name="T5" fmla="*/ 493 h 1563"/>
                <a:gd name="T6" fmla="*/ 1027 w 1980"/>
                <a:gd name="T7" fmla="*/ 843 h 1563"/>
                <a:gd name="T8" fmla="*/ 1002 w 1980"/>
                <a:gd name="T9" fmla="*/ 957 h 1563"/>
                <a:gd name="T10" fmla="*/ 895 w 1980"/>
                <a:gd name="T11" fmla="*/ 1127 h 1563"/>
                <a:gd name="T12" fmla="*/ 796 w 1980"/>
                <a:gd name="T13" fmla="*/ 1191 h 1563"/>
                <a:gd name="T14" fmla="*/ 662 w 1980"/>
                <a:gd name="T15" fmla="*/ 1226 h 1563"/>
                <a:gd name="T16" fmla="*/ 569 w 1980"/>
                <a:gd name="T17" fmla="*/ 1286 h 1563"/>
                <a:gd name="T18" fmla="*/ 552 w 1980"/>
                <a:gd name="T19" fmla="*/ 1368 h 1563"/>
                <a:gd name="T20" fmla="*/ 697 w 1980"/>
                <a:gd name="T21" fmla="*/ 1510 h 1563"/>
                <a:gd name="T22" fmla="*/ 800 w 1980"/>
                <a:gd name="T23" fmla="*/ 1556 h 1563"/>
                <a:gd name="T24" fmla="*/ 920 w 1980"/>
                <a:gd name="T25" fmla="*/ 1549 h 1563"/>
                <a:gd name="T26" fmla="*/ 1048 w 1980"/>
                <a:gd name="T27" fmla="*/ 1488 h 1563"/>
                <a:gd name="T28" fmla="*/ 1165 w 1980"/>
                <a:gd name="T29" fmla="*/ 1361 h 1563"/>
                <a:gd name="T30" fmla="*/ 1211 w 1980"/>
                <a:gd name="T31" fmla="*/ 1244 h 1563"/>
                <a:gd name="T32" fmla="*/ 1225 w 1980"/>
                <a:gd name="T33" fmla="*/ 1123 h 1563"/>
                <a:gd name="T34" fmla="*/ 1221 w 1980"/>
                <a:gd name="T35" fmla="*/ 868 h 1563"/>
                <a:gd name="T36" fmla="*/ 1232 w 1980"/>
                <a:gd name="T37" fmla="*/ 818 h 1563"/>
                <a:gd name="T38" fmla="*/ 1271 w 1980"/>
                <a:gd name="T39" fmla="*/ 758 h 1563"/>
                <a:gd name="T40" fmla="*/ 1441 w 1980"/>
                <a:gd name="T41" fmla="*/ 747 h 1563"/>
                <a:gd name="T42" fmla="*/ 1656 w 1980"/>
                <a:gd name="T43" fmla="*/ 868 h 1563"/>
                <a:gd name="T44" fmla="*/ 1678 w 1980"/>
                <a:gd name="T45" fmla="*/ 911 h 1563"/>
                <a:gd name="T46" fmla="*/ 1795 w 1980"/>
                <a:gd name="T47" fmla="*/ 988 h 1563"/>
                <a:gd name="T48" fmla="*/ 1852 w 1980"/>
                <a:gd name="T49" fmla="*/ 1037 h 1563"/>
                <a:gd name="T50" fmla="*/ 1980 w 1980"/>
                <a:gd name="T51" fmla="*/ 939 h 1563"/>
                <a:gd name="T52" fmla="*/ 1927 w 1980"/>
                <a:gd name="T53" fmla="*/ 875 h 1563"/>
                <a:gd name="T54" fmla="*/ 1866 w 1980"/>
                <a:gd name="T55" fmla="*/ 769 h 1563"/>
                <a:gd name="T56" fmla="*/ 1732 w 1980"/>
                <a:gd name="T57" fmla="*/ 454 h 1563"/>
                <a:gd name="T58" fmla="*/ 1679 w 1980"/>
                <a:gd name="T59" fmla="*/ 53 h 1563"/>
                <a:gd name="T60" fmla="*/ 1674 w 1980"/>
                <a:gd name="T61" fmla="*/ 52 h 1563"/>
                <a:gd name="T62" fmla="*/ 1675 w 1980"/>
                <a:gd name="T63" fmla="*/ 57 h 1563"/>
                <a:gd name="T64" fmla="*/ 1602 w 1980"/>
                <a:gd name="T65" fmla="*/ 133 h 1563"/>
                <a:gd name="T66" fmla="*/ 1433 w 1980"/>
                <a:gd name="T67" fmla="*/ 172 h 1563"/>
                <a:gd name="T68" fmla="*/ 1256 w 1980"/>
                <a:gd name="T69" fmla="*/ 128 h 1563"/>
                <a:gd name="T70" fmla="*/ 1230 w 1980"/>
                <a:gd name="T71" fmla="*/ 143 h 1563"/>
                <a:gd name="T72" fmla="*/ 851 w 1980"/>
                <a:gd name="T73" fmla="*/ 44 h 1563"/>
                <a:gd name="T74" fmla="*/ 851 w 1980"/>
                <a:gd name="T75" fmla="*/ 0 h 1563"/>
                <a:gd name="T76" fmla="*/ 704 w 1980"/>
                <a:gd name="T77" fmla="*/ 23 h 1563"/>
                <a:gd name="T78" fmla="*/ 664 w 1980"/>
                <a:gd name="T79" fmla="*/ 89 h 1563"/>
                <a:gd name="T80" fmla="*/ 503 w 1980"/>
                <a:gd name="T81" fmla="*/ 200 h 1563"/>
                <a:gd name="T82" fmla="*/ 383 w 1980"/>
                <a:gd name="T83" fmla="*/ 200 h 1563"/>
                <a:gd name="T84" fmla="*/ 307 w 1980"/>
                <a:gd name="T85" fmla="*/ 160 h 1563"/>
                <a:gd name="T86" fmla="*/ 275 w 1980"/>
                <a:gd name="T87" fmla="*/ 72 h 1563"/>
                <a:gd name="T88" fmla="*/ 233 w 1980"/>
                <a:gd name="T89" fmla="*/ 39 h 1563"/>
                <a:gd name="T90" fmla="*/ 147 w 1980"/>
                <a:gd name="T91" fmla="*/ 39 h 1563"/>
                <a:gd name="T92" fmla="*/ 121 w 1980"/>
                <a:gd name="T93" fmla="*/ 63 h 1563"/>
                <a:gd name="T94" fmla="*/ 43 w 1980"/>
                <a:gd name="T95" fmla="*/ 237 h 1563"/>
                <a:gd name="T96" fmla="*/ 4 w 1980"/>
                <a:gd name="T97" fmla="*/ 338 h 1563"/>
                <a:gd name="T98" fmla="*/ 7 w 1980"/>
                <a:gd name="T99" fmla="*/ 401 h 1563"/>
                <a:gd name="T100" fmla="*/ 31 w 1980"/>
                <a:gd name="T101" fmla="*/ 463 h 1563"/>
                <a:gd name="T102" fmla="*/ 97 w 1980"/>
                <a:gd name="T103" fmla="*/ 512 h 1563"/>
                <a:gd name="T104" fmla="*/ 517 w 1980"/>
                <a:gd name="T105" fmla="*/ 571 h 1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980" h="1563">
                  <a:moveTo>
                    <a:pt x="517" y="571"/>
                  </a:moveTo>
                  <a:cubicBezTo>
                    <a:pt x="608" y="559"/>
                    <a:pt x="647" y="510"/>
                    <a:pt x="693" y="501"/>
                  </a:cubicBezTo>
                  <a:cubicBezTo>
                    <a:pt x="739" y="492"/>
                    <a:pt x="810" y="493"/>
                    <a:pt x="810" y="493"/>
                  </a:cubicBezTo>
                  <a:cubicBezTo>
                    <a:pt x="1027" y="843"/>
                    <a:pt x="1027" y="843"/>
                    <a:pt x="1027" y="843"/>
                  </a:cubicBezTo>
                  <a:cubicBezTo>
                    <a:pt x="1018" y="881"/>
                    <a:pt x="1018" y="922"/>
                    <a:pt x="1002" y="957"/>
                  </a:cubicBezTo>
                  <a:cubicBezTo>
                    <a:pt x="974" y="1017"/>
                    <a:pt x="940" y="1077"/>
                    <a:pt x="895" y="1127"/>
                  </a:cubicBezTo>
                  <a:cubicBezTo>
                    <a:pt x="869" y="1156"/>
                    <a:pt x="832" y="1175"/>
                    <a:pt x="796" y="1191"/>
                  </a:cubicBezTo>
                  <a:cubicBezTo>
                    <a:pt x="753" y="1209"/>
                    <a:pt x="704" y="1208"/>
                    <a:pt x="662" y="1226"/>
                  </a:cubicBezTo>
                  <a:cubicBezTo>
                    <a:pt x="628" y="1240"/>
                    <a:pt x="592" y="1257"/>
                    <a:pt x="569" y="1286"/>
                  </a:cubicBezTo>
                  <a:cubicBezTo>
                    <a:pt x="552" y="1308"/>
                    <a:pt x="538" y="1344"/>
                    <a:pt x="552" y="1368"/>
                  </a:cubicBezTo>
                  <a:cubicBezTo>
                    <a:pt x="585" y="1427"/>
                    <a:pt x="643" y="1469"/>
                    <a:pt x="697" y="1510"/>
                  </a:cubicBezTo>
                  <a:cubicBezTo>
                    <a:pt x="727" y="1532"/>
                    <a:pt x="763" y="1549"/>
                    <a:pt x="800" y="1556"/>
                  </a:cubicBezTo>
                  <a:cubicBezTo>
                    <a:pt x="839" y="1563"/>
                    <a:pt x="881" y="1559"/>
                    <a:pt x="920" y="1549"/>
                  </a:cubicBezTo>
                  <a:cubicBezTo>
                    <a:pt x="966" y="1536"/>
                    <a:pt x="1011" y="1517"/>
                    <a:pt x="1048" y="1488"/>
                  </a:cubicBezTo>
                  <a:cubicBezTo>
                    <a:pt x="1094" y="1453"/>
                    <a:pt x="1133" y="1409"/>
                    <a:pt x="1165" y="1361"/>
                  </a:cubicBezTo>
                  <a:cubicBezTo>
                    <a:pt x="1188" y="1326"/>
                    <a:pt x="1201" y="1284"/>
                    <a:pt x="1211" y="1244"/>
                  </a:cubicBezTo>
                  <a:cubicBezTo>
                    <a:pt x="1221" y="1205"/>
                    <a:pt x="1226" y="1164"/>
                    <a:pt x="1225" y="1123"/>
                  </a:cubicBezTo>
                  <a:cubicBezTo>
                    <a:pt x="1221" y="868"/>
                    <a:pt x="1221" y="868"/>
                    <a:pt x="1221" y="868"/>
                  </a:cubicBezTo>
                  <a:cubicBezTo>
                    <a:pt x="1232" y="818"/>
                    <a:pt x="1232" y="818"/>
                    <a:pt x="1232" y="818"/>
                  </a:cubicBezTo>
                  <a:cubicBezTo>
                    <a:pt x="1271" y="758"/>
                    <a:pt x="1271" y="758"/>
                    <a:pt x="1271" y="758"/>
                  </a:cubicBezTo>
                  <a:cubicBezTo>
                    <a:pt x="1441" y="747"/>
                    <a:pt x="1441" y="747"/>
                    <a:pt x="1441" y="747"/>
                  </a:cubicBezTo>
                  <a:cubicBezTo>
                    <a:pt x="1656" y="868"/>
                    <a:pt x="1656" y="868"/>
                    <a:pt x="1656" y="868"/>
                  </a:cubicBezTo>
                  <a:cubicBezTo>
                    <a:pt x="1678" y="911"/>
                    <a:pt x="1678" y="911"/>
                    <a:pt x="1678" y="911"/>
                  </a:cubicBezTo>
                  <a:cubicBezTo>
                    <a:pt x="1795" y="988"/>
                    <a:pt x="1795" y="988"/>
                    <a:pt x="1795" y="988"/>
                  </a:cubicBezTo>
                  <a:cubicBezTo>
                    <a:pt x="1852" y="1037"/>
                    <a:pt x="1852" y="1037"/>
                    <a:pt x="1852" y="1037"/>
                  </a:cubicBezTo>
                  <a:cubicBezTo>
                    <a:pt x="1980" y="939"/>
                    <a:pt x="1980" y="939"/>
                    <a:pt x="1980" y="939"/>
                  </a:cubicBezTo>
                  <a:cubicBezTo>
                    <a:pt x="1927" y="875"/>
                    <a:pt x="1927" y="875"/>
                    <a:pt x="1927" y="875"/>
                  </a:cubicBezTo>
                  <a:cubicBezTo>
                    <a:pt x="1866" y="769"/>
                    <a:pt x="1866" y="769"/>
                    <a:pt x="1866" y="769"/>
                  </a:cubicBezTo>
                  <a:cubicBezTo>
                    <a:pt x="1732" y="454"/>
                    <a:pt x="1732" y="454"/>
                    <a:pt x="1732" y="454"/>
                  </a:cubicBezTo>
                  <a:cubicBezTo>
                    <a:pt x="1679" y="53"/>
                    <a:pt x="1679" y="53"/>
                    <a:pt x="1679" y="53"/>
                  </a:cubicBezTo>
                  <a:cubicBezTo>
                    <a:pt x="1674" y="52"/>
                    <a:pt x="1674" y="52"/>
                    <a:pt x="1674" y="52"/>
                  </a:cubicBezTo>
                  <a:cubicBezTo>
                    <a:pt x="1675" y="57"/>
                    <a:pt x="1675" y="57"/>
                    <a:pt x="1675" y="57"/>
                  </a:cubicBezTo>
                  <a:cubicBezTo>
                    <a:pt x="1602" y="133"/>
                    <a:pt x="1602" y="133"/>
                    <a:pt x="1602" y="133"/>
                  </a:cubicBezTo>
                  <a:cubicBezTo>
                    <a:pt x="1433" y="172"/>
                    <a:pt x="1433" y="172"/>
                    <a:pt x="1433" y="172"/>
                  </a:cubicBezTo>
                  <a:cubicBezTo>
                    <a:pt x="1256" y="128"/>
                    <a:pt x="1256" y="128"/>
                    <a:pt x="1256" y="128"/>
                  </a:cubicBezTo>
                  <a:cubicBezTo>
                    <a:pt x="1230" y="143"/>
                    <a:pt x="1230" y="143"/>
                    <a:pt x="1230" y="143"/>
                  </a:cubicBezTo>
                  <a:cubicBezTo>
                    <a:pt x="851" y="44"/>
                    <a:pt x="851" y="44"/>
                    <a:pt x="851" y="44"/>
                  </a:cubicBezTo>
                  <a:cubicBezTo>
                    <a:pt x="851" y="0"/>
                    <a:pt x="851" y="0"/>
                    <a:pt x="851" y="0"/>
                  </a:cubicBezTo>
                  <a:cubicBezTo>
                    <a:pt x="704" y="23"/>
                    <a:pt x="704" y="23"/>
                    <a:pt x="704" y="23"/>
                  </a:cubicBezTo>
                  <a:cubicBezTo>
                    <a:pt x="664" y="89"/>
                    <a:pt x="664" y="89"/>
                    <a:pt x="664" y="89"/>
                  </a:cubicBezTo>
                  <a:cubicBezTo>
                    <a:pt x="664" y="89"/>
                    <a:pt x="548" y="186"/>
                    <a:pt x="503" y="200"/>
                  </a:cubicBezTo>
                  <a:cubicBezTo>
                    <a:pt x="458" y="214"/>
                    <a:pt x="413" y="208"/>
                    <a:pt x="383" y="200"/>
                  </a:cubicBezTo>
                  <a:cubicBezTo>
                    <a:pt x="353" y="193"/>
                    <a:pt x="326" y="180"/>
                    <a:pt x="307" y="160"/>
                  </a:cubicBezTo>
                  <a:cubicBezTo>
                    <a:pt x="288" y="140"/>
                    <a:pt x="286" y="90"/>
                    <a:pt x="275" y="72"/>
                  </a:cubicBezTo>
                  <a:cubicBezTo>
                    <a:pt x="264" y="54"/>
                    <a:pt x="252" y="46"/>
                    <a:pt x="233" y="39"/>
                  </a:cubicBezTo>
                  <a:cubicBezTo>
                    <a:pt x="213" y="32"/>
                    <a:pt x="164" y="33"/>
                    <a:pt x="147" y="39"/>
                  </a:cubicBezTo>
                  <a:cubicBezTo>
                    <a:pt x="130" y="46"/>
                    <a:pt x="121" y="63"/>
                    <a:pt x="121" y="63"/>
                  </a:cubicBezTo>
                  <a:cubicBezTo>
                    <a:pt x="43" y="237"/>
                    <a:pt x="43" y="237"/>
                    <a:pt x="43" y="237"/>
                  </a:cubicBezTo>
                  <a:cubicBezTo>
                    <a:pt x="43" y="237"/>
                    <a:pt x="8" y="313"/>
                    <a:pt x="4" y="338"/>
                  </a:cubicBezTo>
                  <a:cubicBezTo>
                    <a:pt x="0" y="363"/>
                    <a:pt x="3" y="380"/>
                    <a:pt x="7" y="401"/>
                  </a:cubicBezTo>
                  <a:cubicBezTo>
                    <a:pt x="11" y="421"/>
                    <a:pt x="15" y="444"/>
                    <a:pt x="31" y="463"/>
                  </a:cubicBezTo>
                  <a:cubicBezTo>
                    <a:pt x="48" y="483"/>
                    <a:pt x="97" y="512"/>
                    <a:pt x="97" y="512"/>
                  </a:cubicBezTo>
                  <a:cubicBezTo>
                    <a:pt x="97" y="512"/>
                    <a:pt x="426" y="583"/>
                    <a:pt x="517" y="57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7" name="Freeform 86"/>
            <p:cNvSpPr>
              <a:spLocks/>
            </p:cNvSpPr>
            <p:nvPr/>
          </p:nvSpPr>
          <p:spPr bwMode="auto">
            <a:xfrm>
              <a:off x="2119292" y="3343367"/>
              <a:ext cx="519967" cy="298407"/>
            </a:xfrm>
            <a:custGeom>
              <a:avLst/>
              <a:gdLst>
                <a:gd name="T0" fmla="*/ 580 w 1420"/>
                <a:gd name="T1" fmla="*/ 184 h 913"/>
                <a:gd name="T2" fmla="*/ 636 w 1420"/>
                <a:gd name="T3" fmla="*/ 246 h 913"/>
                <a:gd name="T4" fmla="*/ 690 w 1420"/>
                <a:gd name="T5" fmla="*/ 266 h 913"/>
                <a:gd name="T6" fmla="*/ 827 w 1420"/>
                <a:gd name="T7" fmla="*/ 258 h 913"/>
                <a:gd name="T8" fmla="*/ 924 w 1420"/>
                <a:gd name="T9" fmla="*/ 208 h 913"/>
                <a:gd name="T10" fmla="*/ 1040 w 1420"/>
                <a:gd name="T11" fmla="*/ 106 h 913"/>
                <a:gd name="T12" fmla="*/ 1114 w 1420"/>
                <a:gd name="T13" fmla="*/ 45 h 913"/>
                <a:gd name="T14" fmla="*/ 1287 w 1420"/>
                <a:gd name="T15" fmla="*/ 0 h 913"/>
                <a:gd name="T16" fmla="*/ 1387 w 1420"/>
                <a:gd name="T17" fmla="*/ 32 h 913"/>
                <a:gd name="T18" fmla="*/ 1407 w 1420"/>
                <a:gd name="T19" fmla="*/ 114 h 913"/>
                <a:gd name="T20" fmla="*/ 1416 w 1420"/>
                <a:gd name="T21" fmla="*/ 198 h 913"/>
                <a:gd name="T22" fmla="*/ 1414 w 1420"/>
                <a:gd name="T23" fmla="*/ 248 h 913"/>
                <a:gd name="T24" fmla="*/ 1308 w 1420"/>
                <a:gd name="T25" fmla="*/ 480 h 913"/>
                <a:gd name="T26" fmla="*/ 1206 w 1420"/>
                <a:gd name="T27" fmla="*/ 587 h 913"/>
                <a:gd name="T28" fmla="*/ 974 w 1420"/>
                <a:gd name="T29" fmla="*/ 751 h 913"/>
                <a:gd name="T30" fmla="*/ 835 w 1420"/>
                <a:gd name="T31" fmla="*/ 516 h 913"/>
                <a:gd name="T32" fmla="*/ 666 w 1420"/>
                <a:gd name="T33" fmla="*/ 566 h 913"/>
                <a:gd name="T34" fmla="*/ 511 w 1420"/>
                <a:gd name="T35" fmla="*/ 653 h 913"/>
                <a:gd name="T36" fmla="*/ 469 w 1420"/>
                <a:gd name="T37" fmla="*/ 674 h 913"/>
                <a:gd name="T38" fmla="*/ 158 w 1420"/>
                <a:gd name="T39" fmla="*/ 913 h 913"/>
                <a:gd name="T40" fmla="*/ 4 w 1420"/>
                <a:gd name="T41" fmla="*/ 605 h 913"/>
                <a:gd name="T42" fmla="*/ 0 w 1420"/>
                <a:gd name="T43" fmla="*/ 606 h 913"/>
                <a:gd name="T44" fmla="*/ 195 w 1420"/>
                <a:gd name="T45" fmla="*/ 548 h 913"/>
                <a:gd name="T46" fmla="*/ 329 w 1420"/>
                <a:gd name="T47" fmla="*/ 456 h 913"/>
                <a:gd name="T48" fmla="*/ 424 w 1420"/>
                <a:gd name="T49" fmla="*/ 274 h 913"/>
                <a:gd name="T50" fmla="*/ 555 w 1420"/>
                <a:gd name="T51" fmla="*/ 197 h 913"/>
                <a:gd name="T52" fmla="*/ 580 w 1420"/>
                <a:gd name="T53" fmla="*/ 184 h 9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420" h="913">
                  <a:moveTo>
                    <a:pt x="580" y="184"/>
                  </a:moveTo>
                  <a:cubicBezTo>
                    <a:pt x="602" y="204"/>
                    <a:pt x="610" y="233"/>
                    <a:pt x="636" y="246"/>
                  </a:cubicBezTo>
                  <a:cubicBezTo>
                    <a:pt x="655" y="256"/>
                    <a:pt x="668" y="266"/>
                    <a:pt x="690" y="266"/>
                  </a:cubicBezTo>
                  <a:cubicBezTo>
                    <a:pt x="736" y="267"/>
                    <a:pt x="782" y="269"/>
                    <a:pt x="827" y="258"/>
                  </a:cubicBezTo>
                  <a:cubicBezTo>
                    <a:pt x="862" y="250"/>
                    <a:pt x="894" y="230"/>
                    <a:pt x="924" y="208"/>
                  </a:cubicBezTo>
                  <a:cubicBezTo>
                    <a:pt x="966" y="178"/>
                    <a:pt x="1001" y="139"/>
                    <a:pt x="1040" y="106"/>
                  </a:cubicBezTo>
                  <a:cubicBezTo>
                    <a:pt x="1064" y="85"/>
                    <a:pt x="1086" y="60"/>
                    <a:pt x="1114" y="45"/>
                  </a:cubicBezTo>
                  <a:cubicBezTo>
                    <a:pt x="1169" y="15"/>
                    <a:pt x="1228" y="1"/>
                    <a:pt x="1287" y="0"/>
                  </a:cubicBezTo>
                  <a:cubicBezTo>
                    <a:pt x="1308" y="0"/>
                    <a:pt x="1377" y="13"/>
                    <a:pt x="1387" y="32"/>
                  </a:cubicBezTo>
                  <a:cubicBezTo>
                    <a:pt x="1401" y="56"/>
                    <a:pt x="1402" y="86"/>
                    <a:pt x="1407" y="114"/>
                  </a:cubicBezTo>
                  <a:cubicBezTo>
                    <a:pt x="1412" y="141"/>
                    <a:pt x="1415" y="170"/>
                    <a:pt x="1416" y="198"/>
                  </a:cubicBezTo>
                  <a:cubicBezTo>
                    <a:pt x="1417" y="215"/>
                    <a:pt x="1420" y="232"/>
                    <a:pt x="1414" y="248"/>
                  </a:cubicBezTo>
                  <a:cubicBezTo>
                    <a:pt x="1383" y="327"/>
                    <a:pt x="1353" y="407"/>
                    <a:pt x="1308" y="480"/>
                  </a:cubicBezTo>
                  <a:cubicBezTo>
                    <a:pt x="1283" y="522"/>
                    <a:pt x="1246" y="559"/>
                    <a:pt x="1206" y="587"/>
                  </a:cubicBezTo>
                  <a:cubicBezTo>
                    <a:pt x="974" y="751"/>
                    <a:pt x="974" y="751"/>
                    <a:pt x="974" y="751"/>
                  </a:cubicBezTo>
                  <a:cubicBezTo>
                    <a:pt x="835" y="516"/>
                    <a:pt x="835" y="516"/>
                    <a:pt x="835" y="516"/>
                  </a:cubicBezTo>
                  <a:cubicBezTo>
                    <a:pt x="666" y="566"/>
                    <a:pt x="666" y="566"/>
                    <a:pt x="666" y="566"/>
                  </a:cubicBezTo>
                  <a:cubicBezTo>
                    <a:pt x="511" y="653"/>
                    <a:pt x="511" y="653"/>
                    <a:pt x="511" y="653"/>
                  </a:cubicBezTo>
                  <a:cubicBezTo>
                    <a:pt x="469" y="674"/>
                    <a:pt x="469" y="674"/>
                    <a:pt x="469" y="674"/>
                  </a:cubicBezTo>
                  <a:cubicBezTo>
                    <a:pt x="158" y="913"/>
                    <a:pt x="158" y="913"/>
                    <a:pt x="158" y="913"/>
                  </a:cubicBezTo>
                  <a:cubicBezTo>
                    <a:pt x="4" y="605"/>
                    <a:pt x="4" y="605"/>
                    <a:pt x="4" y="605"/>
                  </a:cubicBezTo>
                  <a:cubicBezTo>
                    <a:pt x="0" y="606"/>
                    <a:pt x="0" y="606"/>
                    <a:pt x="0" y="606"/>
                  </a:cubicBezTo>
                  <a:cubicBezTo>
                    <a:pt x="195" y="548"/>
                    <a:pt x="195" y="548"/>
                    <a:pt x="195" y="548"/>
                  </a:cubicBezTo>
                  <a:cubicBezTo>
                    <a:pt x="329" y="456"/>
                    <a:pt x="329" y="456"/>
                    <a:pt x="329" y="456"/>
                  </a:cubicBezTo>
                  <a:cubicBezTo>
                    <a:pt x="424" y="274"/>
                    <a:pt x="424" y="274"/>
                    <a:pt x="424" y="274"/>
                  </a:cubicBezTo>
                  <a:cubicBezTo>
                    <a:pt x="555" y="197"/>
                    <a:pt x="555" y="197"/>
                    <a:pt x="555" y="197"/>
                  </a:cubicBezTo>
                  <a:cubicBezTo>
                    <a:pt x="580" y="184"/>
                    <a:pt x="580" y="184"/>
                    <a:pt x="580" y="18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8" name="Freeform 87"/>
            <p:cNvSpPr>
              <a:spLocks noEditPoints="1"/>
            </p:cNvSpPr>
            <p:nvPr/>
          </p:nvSpPr>
          <p:spPr bwMode="auto">
            <a:xfrm>
              <a:off x="921061" y="2832650"/>
              <a:ext cx="422129" cy="362980"/>
            </a:xfrm>
            <a:custGeom>
              <a:avLst/>
              <a:gdLst>
                <a:gd name="T0" fmla="*/ 730 w 1152"/>
                <a:gd name="T1" fmla="*/ 201 h 1111"/>
                <a:gd name="T2" fmla="*/ 633 w 1152"/>
                <a:gd name="T3" fmla="*/ 190 h 1111"/>
                <a:gd name="T4" fmla="*/ 521 w 1152"/>
                <a:gd name="T5" fmla="*/ 174 h 1111"/>
                <a:gd name="T6" fmla="*/ 482 w 1152"/>
                <a:gd name="T7" fmla="*/ 181 h 1111"/>
                <a:gd name="T8" fmla="*/ 429 w 1152"/>
                <a:gd name="T9" fmla="*/ 214 h 1111"/>
                <a:gd name="T10" fmla="*/ 365 w 1152"/>
                <a:gd name="T11" fmla="*/ 258 h 1111"/>
                <a:gd name="T12" fmla="*/ 333 w 1152"/>
                <a:gd name="T13" fmla="*/ 264 h 1111"/>
                <a:gd name="T14" fmla="*/ 320 w 1152"/>
                <a:gd name="T15" fmla="*/ 268 h 1111"/>
                <a:gd name="T16" fmla="*/ 291 w 1152"/>
                <a:gd name="T17" fmla="*/ 285 h 1111"/>
                <a:gd name="T18" fmla="*/ 325 w 1152"/>
                <a:gd name="T19" fmla="*/ 311 h 1111"/>
                <a:gd name="T20" fmla="*/ 347 w 1152"/>
                <a:gd name="T21" fmla="*/ 291 h 1111"/>
                <a:gd name="T22" fmla="*/ 385 w 1152"/>
                <a:gd name="T23" fmla="*/ 312 h 1111"/>
                <a:gd name="T24" fmla="*/ 416 w 1152"/>
                <a:gd name="T25" fmla="*/ 296 h 1111"/>
                <a:gd name="T26" fmla="*/ 420 w 1152"/>
                <a:gd name="T27" fmla="*/ 306 h 1111"/>
                <a:gd name="T28" fmla="*/ 435 w 1152"/>
                <a:gd name="T29" fmla="*/ 312 h 1111"/>
                <a:gd name="T30" fmla="*/ 453 w 1152"/>
                <a:gd name="T31" fmla="*/ 311 h 1111"/>
                <a:gd name="T32" fmla="*/ 482 w 1152"/>
                <a:gd name="T33" fmla="*/ 296 h 1111"/>
                <a:gd name="T34" fmla="*/ 478 w 1152"/>
                <a:gd name="T35" fmla="*/ 277 h 1111"/>
                <a:gd name="T36" fmla="*/ 513 w 1152"/>
                <a:gd name="T37" fmla="*/ 262 h 1111"/>
                <a:gd name="T38" fmla="*/ 548 w 1152"/>
                <a:gd name="T39" fmla="*/ 281 h 1111"/>
                <a:gd name="T40" fmla="*/ 568 w 1152"/>
                <a:gd name="T41" fmla="*/ 306 h 1111"/>
                <a:gd name="T42" fmla="*/ 554 w 1152"/>
                <a:gd name="T43" fmla="*/ 287 h 1111"/>
                <a:gd name="T44" fmla="*/ 511 w 1152"/>
                <a:gd name="T45" fmla="*/ 310 h 1111"/>
                <a:gd name="T46" fmla="*/ 400 w 1152"/>
                <a:gd name="T47" fmla="*/ 388 h 1111"/>
                <a:gd name="T48" fmla="*/ 419 w 1152"/>
                <a:gd name="T49" fmla="*/ 402 h 1111"/>
                <a:gd name="T50" fmla="*/ 424 w 1152"/>
                <a:gd name="T51" fmla="*/ 413 h 1111"/>
                <a:gd name="T52" fmla="*/ 372 w 1152"/>
                <a:gd name="T53" fmla="*/ 416 h 1111"/>
                <a:gd name="T54" fmla="*/ 324 w 1152"/>
                <a:gd name="T55" fmla="*/ 430 h 1111"/>
                <a:gd name="T56" fmla="*/ 343 w 1152"/>
                <a:gd name="T57" fmla="*/ 456 h 1111"/>
                <a:gd name="T58" fmla="*/ 376 w 1152"/>
                <a:gd name="T59" fmla="*/ 483 h 1111"/>
                <a:gd name="T60" fmla="*/ 412 w 1152"/>
                <a:gd name="T61" fmla="*/ 539 h 1111"/>
                <a:gd name="T62" fmla="*/ 363 w 1152"/>
                <a:gd name="T63" fmla="*/ 580 h 1111"/>
                <a:gd name="T64" fmla="*/ 344 w 1152"/>
                <a:gd name="T65" fmla="*/ 628 h 1111"/>
                <a:gd name="T66" fmla="*/ 347 w 1152"/>
                <a:gd name="T67" fmla="*/ 665 h 1111"/>
                <a:gd name="T68" fmla="*/ 375 w 1152"/>
                <a:gd name="T69" fmla="*/ 711 h 1111"/>
                <a:gd name="T70" fmla="*/ 371 w 1152"/>
                <a:gd name="T71" fmla="*/ 621 h 1111"/>
                <a:gd name="T72" fmla="*/ 394 w 1152"/>
                <a:gd name="T73" fmla="*/ 614 h 1111"/>
                <a:gd name="T74" fmla="*/ 621 w 1152"/>
                <a:gd name="T75" fmla="*/ 752 h 1111"/>
                <a:gd name="T76" fmla="*/ 558 w 1152"/>
                <a:gd name="T77" fmla="*/ 835 h 1111"/>
                <a:gd name="T78" fmla="*/ 546 w 1152"/>
                <a:gd name="T79" fmla="*/ 856 h 1111"/>
                <a:gd name="T80" fmla="*/ 548 w 1152"/>
                <a:gd name="T81" fmla="*/ 872 h 1111"/>
                <a:gd name="T82" fmla="*/ 530 w 1152"/>
                <a:gd name="T83" fmla="*/ 879 h 1111"/>
                <a:gd name="T84" fmla="*/ 319 w 1152"/>
                <a:gd name="T85" fmla="*/ 1028 h 1111"/>
                <a:gd name="T86" fmla="*/ 421 w 1152"/>
                <a:gd name="T87" fmla="*/ 1111 h 1111"/>
                <a:gd name="T88" fmla="*/ 513 w 1152"/>
                <a:gd name="T89" fmla="*/ 1091 h 1111"/>
                <a:gd name="T90" fmla="*/ 581 w 1152"/>
                <a:gd name="T91" fmla="*/ 1077 h 1111"/>
                <a:gd name="T92" fmla="*/ 655 w 1152"/>
                <a:gd name="T93" fmla="*/ 1024 h 1111"/>
                <a:gd name="T94" fmla="*/ 682 w 1152"/>
                <a:gd name="T95" fmla="*/ 950 h 1111"/>
                <a:gd name="T96" fmla="*/ 745 w 1152"/>
                <a:gd name="T97" fmla="*/ 885 h 1111"/>
                <a:gd name="T98" fmla="*/ 805 w 1152"/>
                <a:gd name="T99" fmla="*/ 808 h 1111"/>
                <a:gd name="T100" fmla="*/ 892 w 1152"/>
                <a:gd name="T101" fmla="*/ 721 h 1111"/>
                <a:gd name="T102" fmla="*/ 949 w 1152"/>
                <a:gd name="T103" fmla="*/ 657 h 1111"/>
                <a:gd name="T104" fmla="*/ 983 w 1152"/>
                <a:gd name="T105" fmla="*/ 570 h 1111"/>
                <a:gd name="T106" fmla="*/ 983 w 1152"/>
                <a:gd name="T107" fmla="*/ 483 h 1111"/>
                <a:gd name="T108" fmla="*/ 958 w 1152"/>
                <a:gd name="T109" fmla="*/ 375 h 1111"/>
                <a:gd name="T110" fmla="*/ 971 w 1152"/>
                <a:gd name="T111" fmla="*/ 303 h 1111"/>
                <a:gd name="T112" fmla="*/ 1052 w 1152"/>
                <a:gd name="T113" fmla="*/ 238 h 1111"/>
                <a:gd name="T114" fmla="*/ 1140 w 1152"/>
                <a:gd name="T115" fmla="*/ 115 h 1111"/>
                <a:gd name="T116" fmla="*/ 958 w 1152"/>
                <a:gd name="T117" fmla="*/ 0 h 1111"/>
                <a:gd name="T118" fmla="*/ 127 w 1152"/>
                <a:gd name="T119" fmla="*/ 95 h 1111"/>
                <a:gd name="T120" fmla="*/ 41 w 1152"/>
                <a:gd name="T121" fmla="*/ 242 h 1111"/>
                <a:gd name="T122" fmla="*/ 63 w 1152"/>
                <a:gd name="T123" fmla="*/ 291 h 1111"/>
                <a:gd name="T124" fmla="*/ 210 w 1152"/>
                <a:gd name="T125" fmla="*/ 107 h 1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152" h="1111">
                  <a:moveTo>
                    <a:pt x="958" y="0"/>
                  </a:moveTo>
                  <a:cubicBezTo>
                    <a:pt x="865" y="51"/>
                    <a:pt x="865" y="51"/>
                    <a:pt x="865" y="51"/>
                  </a:cubicBezTo>
                  <a:cubicBezTo>
                    <a:pt x="820" y="86"/>
                    <a:pt x="820" y="86"/>
                    <a:pt x="820" y="86"/>
                  </a:cubicBezTo>
                  <a:cubicBezTo>
                    <a:pt x="758" y="136"/>
                    <a:pt x="758" y="136"/>
                    <a:pt x="758" y="136"/>
                  </a:cubicBezTo>
                  <a:cubicBezTo>
                    <a:pt x="739" y="167"/>
                    <a:pt x="739" y="167"/>
                    <a:pt x="739" y="167"/>
                  </a:cubicBezTo>
                  <a:cubicBezTo>
                    <a:pt x="730" y="201"/>
                    <a:pt x="730" y="201"/>
                    <a:pt x="730" y="201"/>
                  </a:cubicBezTo>
                  <a:cubicBezTo>
                    <a:pt x="730" y="207"/>
                    <a:pt x="730" y="207"/>
                    <a:pt x="730" y="207"/>
                  </a:cubicBezTo>
                  <a:cubicBezTo>
                    <a:pt x="720" y="205"/>
                    <a:pt x="706" y="203"/>
                    <a:pt x="730" y="208"/>
                  </a:cubicBezTo>
                  <a:cubicBezTo>
                    <a:pt x="730" y="208"/>
                    <a:pt x="730" y="208"/>
                    <a:pt x="730" y="208"/>
                  </a:cubicBezTo>
                  <a:cubicBezTo>
                    <a:pt x="691" y="201"/>
                    <a:pt x="691" y="201"/>
                    <a:pt x="691" y="201"/>
                  </a:cubicBezTo>
                  <a:cubicBezTo>
                    <a:pt x="661" y="195"/>
                    <a:pt x="661" y="195"/>
                    <a:pt x="661" y="195"/>
                  </a:cubicBezTo>
                  <a:cubicBezTo>
                    <a:pt x="633" y="190"/>
                    <a:pt x="633" y="190"/>
                    <a:pt x="633" y="190"/>
                  </a:cubicBezTo>
                  <a:cubicBezTo>
                    <a:pt x="632" y="190"/>
                    <a:pt x="632" y="190"/>
                    <a:pt x="632" y="190"/>
                  </a:cubicBezTo>
                  <a:cubicBezTo>
                    <a:pt x="623" y="188"/>
                    <a:pt x="623" y="188"/>
                    <a:pt x="623" y="188"/>
                  </a:cubicBezTo>
                  <a:cubicBezTo>
                    <a:pt x="598" y="183"/>
                    <a:pt x="598" y="183"/>
                    <a:pt x="598" y="183"/>
                  </a:cubicBezTo>
                  <a:cubicBezTo>
                    <a:pt x="599" y="184"/>
                    <a:pt x="599" y="184"/>
                    <a:pt x="599" y="184"/>
                  </a:cubicBezTo>
                  <a:cubicBezTo>
                    <a:pt x="546" y="176"/>
                    <a:pt x="546" y="176"/>
                    <a:pt x="546" y="176"/>
                  </a:cubicBezTo>
                  <a:cubicBezTo>
                    <a:pt x="521" y="174"/>
                    <a:pt x="521" y="174"/>
                    <a:pt x="521" y="174"/>
                  </a:cubicBezTo>
                  <a:cubicBezTo>
                    <a:pt x="511" y="177"/>
                    <a:pt x="511" y="177"/>
                    <a:pt x="511" y="177"/>
                  </a:cubicBezTo>
                  <a:cubicBezTo>
                    <a:pt x="510" y="178"/>
                    <a:pt x="510" y="178"/>
                    <a:pt x="510" y="178"/>
                  </a:cubicBezTo>
                  <a:cubicBezTo>
                    <a:pt x="500" y="180"/>
                    <a:pt x="500" y="180"/>
                    <a:pt x="500" y="180"/>
                  </a:cubicBezTo>
                  <a:cubicBezTo>
                    <a:pt x="498" y="186"/>
                    <a:pt x="498" y="186"/>
                    <a:pt x="498" y="186"/>
                  </a:cubicBezTo>
                  <a:cubicBezTo>
                    <a:pt x="492" y="184"/>
                    <a:pt x="492" y="184"/>
                    <a:pt x="492" y="184"/>
                  </a:cubicBezTo>
                  <a:cubicBezTo>
                    <a:pt x="482" y="181"/>
                    <a:pt x="482" y="181"/>
                    <a:pt x="482" y="181"/>
                  </a:cubicBezTo>
                  <a:cubicBezTo>
                    <a:pt x="480" y="182"/>
                    <a:pt x="480" y="182"/>
                    <a:pt x="480" y="182"/>
                  </a:cubicBezTo>
                  <a:cubicBezTo>
                    <a:pt x="479" y="183"/>
                    <a:pt x="479" y="183"/>
                    <a:pt x="479" y="183"/>
                  </a:cubicBezTo>
                  <a:cubicBezTo>
                    <a:pt x="460" y="195"/>
                    <a:pt x="460" y="195"/>
                    <a:pt x="460" y="195"/>
                  </a:cubicBezTo>
                  <a:cubicBezTo>
                    <a:pt x="459" y="195"/>
                    <a:pt x="459" y="195"/>
                    <a:pt x="459" y="195"/>
                  </a:cubicBezTo>
                  <a:cubicBezTo>
                    <a:pt x="431" y="213"/>
                    <a:pt x="431" y="213"/>
                    <a:pt x="431" y="213"/>
                  </a:cubicBezTo>
                  <a:cubicBezTo>
                    <a:pt x="429" y="214"/>
                    <a:pt x="429" y="214"/>
                    <a:pt x="429" y="214"/>
                  </a:cubicBezTo>
                  <a:cubicBezTo>
                    <a:pt x="407" y="217"/>
                    <a:pt x="407" y="217"/>
                    <a:pt x="407" y="217"/>
                  </a:cubicBezTo>
                  <a:cubicBezTo>
                    <a:pt x="407" y="218"/>
                    <a:pt x="407" y="218"/>
                    <a:pt x="407" y="218"/>
                  </a:cubicBezTo>
                  <a:cubicBezTo>
                    <a:pt x="403" y="218"/>
                    <a:pt x="403" y="218"/>
                    <a:pt x="403" y="218"/>
                  </a:cubicBezTo>
                  <a:cubicBezTo>
                    <a:pt x="403" y="218"/>
                    <a:pt x="403" y="218"/>
                    <a:pt x="403" y="218"/>
                  </a:cubicBezTo>
                  <a:cubicBezTo>
                    <a:pt x="395" y="250"/>
                    <a:pt x="395" y="250"/>
                    <a:pt x="395" y="250"/>
                  </a:cubicBezTo>
                  <a:cubicBezTo>
                    <a:pt x="365" y="258"/>
                    <a:pt x="365" y="258"/>
                    <a:pt x="365" y="258"/>
                  </a:cubicBezTo>
                  <a:cubicBezTo>
                    <a:pt x="356" y="259"/>
                    <a:pt x="356" y="259"/>
                    <a:pt x="356" y="259"/>
                  </a:cubicBezTo>
                  <a:cubicBezTo>
                    <a:pt x="350" y="260"/>
                    <a:pt x="350" y="260"/>
                    <a:pt x="350" y="260"/>
                  </a:cubicBezTo>
                  <a:cubicBezTo>
                    <a:pt x="345" y="261"/>
                    <a:pt x="345" y="261"/>
                    <a:pt x="345" y="261"/>
                  </a:cubicBezTo>
                  <a:cubicBezTo>
                    <a:pt x="338" y="263"/>
                    <a:pt x="338" y="263"/>
                    <a:pt x="338" y="263"/>
                  </a:cubicBezTo>
                  <a:cubicBezTo>
                    <a:pt x="335" y="263"/>
                    <a:pt x="335" y="263"/>
                    <a:pt x="335" y="263"/>
                  </a:cubicBezTo>
                  <a:cubicBezTo>
                    <a:pt x="333" y="264"/>
                    <a:pt x="333" y="264"/>
                    <a:pt x="333" y="264"/>
                  </a:cubicBezTo>
                  <a:cubicBezTo>
                    <a:pt x="332" y="264"/>
                    <a:pt x="332" y="264"/>
                    <a:pt x="332" y="264"/>
                  </a:cubicBezTo>
                  <a:cubicBezTo>
                    <a:pt x="331" y="264"/>
                    <a:pt x="331" y="264"/>
                    <a:pt x="331" y="264"/>
                  </a:cubicBezTo>
                  <a:cubicBezTo>
                    <a:pt x="329" y="264"/>
                    <a:pt x="329" y="264"/>
                    <a:pt x="329" y="264"/>
                  </a:cubicBezTo>
                  <a:cubicBezTo>
                    <a:pt x="326" y="265"/>
                    <a:pt x="326" y="265"/>
                    <a:pt x="326" y="265"/>
                  </a:cubicBezTo>
                  <a:cubicBezTo>
                    <a:pt x="323" y="266"/>
                    <a:pt x="323" y="266"/>
                    <a:pt x="323" y="266"/>
                  </a:cubicBezTo>
                  <a:cubicBezTo>
                    <a:pt x="320" y="268"/>
                    <a:pt x="320" y="268"/>
                    <a:pt x="320" y="268"/>
                  </a:cubicBezTo>
                  <a:cubicBezTo>
                    <a:pt x="314" y="269"/>
                    <a:pt x="314" y="269"/>
                    <a:pt x="314" y="269"/>
                  </a:cubicBezTo>
                  <a:cubicBezTo>
                    <a:pt x="308" y="271"/>
                    <a:pt x="308" y="271"/>
                    <a:pt x="308" y="271"/>
                  </a:cubicBezTo>
                  <a:cubicBezTo>
                    <a:pt x="305" y="272"/>
                    <a:pt x="305" y="272"/>
                    <a:pt x="305" y="272"/>
                  </a:cubicBezTo>
                  <a:cubicBezTo>
                    <a:pt x="302" y="273"/>
                    <a:pt x="302" y="273"/>
                    <a:pt x="302" y="273"/>
                  </a:cubicBezTo>
                  <a:cubicBezTo>
                    <a:pt x="290" y="277"/>
                    <a:pt x="290" y="277"/>
                    <a:pt x="290" y="277"/>
                  </a:cubicBezTo>
                  <a:cubicBezTo>
                    <a:pt x="291" y="285"/>
                    <a:pt x="291" y="285"/>
                    <a:pt x="291" y="285"/>
                  </a:cubicBezTo>
                  <a:cubicBezTo>
                    <a:pt x="295" y="284"/>
                    <a:pt x="295" y="284"/>
                    <a:pt x="295" y="284"/>
                  </a:cubicBezTo>
                  <a:cubicBezTo>
                    <a:pt x="310" y="280"/>
                    <a:pt x="310" y="280"/>
                    <a:pt x="310" y="280"/>
                  </a:cubicBezTo>
                  <a:cubicBezTo>
                    <a:pt x="312" y="304"/>
                    <a:pt x="312" y="304"/>
                    <a:pt x="312" y="304"/>
                  </a:cubicBezTo>
                  <a:cubicBezTo>
                    <a:pt x="314" y="319"/>
                    <a:pt x="314" y="319"/>
                    <a:pt x="314" y="319"/>
                  </a:cubicBezTo>
                  <a:cubicBezTo>
                    <a:pt x="318" y="315"/>
                    <a:pt x="318" y="315"/>
                    <a:pt x="318" y="315"/>
                  </a:cubicBezTo>
                  <a:cubicBezTo>
                    <a:pt x="325" y="311"/>
                    <a:pt x="325" y="311"/>
                    <a:pt x="325" y="311"/>
                  </a:cubicBezTo>
                  <a:cubicBezTo>
                    <a:pt x="333" y="309"/>
                    <a:pt x="333" y="309"/>
                    <a:pt x="333" y="309"/>
                  </a:cubicBezTo>
                  <a:cubicBezTo>
                    <a:pt x="335" y="308"/>
                    <a:pt x="335" y="308"/>
                    <a:pt x="335" y="308"/>
                  </a:cubicBezTo>
                  <a:cubicBezTo>
                    <a:pt x="343" y="306"/>
                    <a:pt x="343" y="306"/>
                    <a:pt x="343" y="306"/>
                  </a:cubicBezTo>
                  <a:cubicBezTo>
                    <a:pt x="350" y="303"/>
                    <a:pt x="350" y="303"/>
                    <a:pt x="350" y="303"/>
                  </a:cubicBezTo>
                  <a:cubicBezTo>
                    <a:pt x="351" y="302"/>
                    <a:pt x="351" y="302"/>
                    <a:pt x="351" y="302"/>
                  </a:cubicBezTo>
                  <a:cubicBezTo>
                    <a:pt x="347" y="291"/>
                    <a:pt x="347" y="291"/>
                    <a:pt x="347" y="291"/>
                  </a:cubicBezTo>
                  <a:cubicBezTo>
                    <a:pt x="355" y="289"/>
                    <a:pt x="355" y="289"/>
                    <a:pt x="355" y="289"/>
                  </a:cubicBezTo>
                  <a:cubicBezTo>
                    <a:pt x="359" y="300"/>
                    <a:pt x="359" y="300"/>
                    <a:pt x="359" y="300"/>
                  </a:cubicBezTo>
                  <a:cubicBezTo>
                    <a:pt x="361" y="305"/>
                    <a:pt x="361" y="305"/>
                    <a:pt x="361" y="305"/>
                  </a:cubicBezTo>
                  <a:cubicBezTo>
                    <a:pt x="368" y="324"/>
                    <a:pt x="368" y="324"/>
                    <a:pt x="368" y="324"/>
                  </a:cubicBezTo>
                  <a:cubicBezTo>
                    <a:pt x="386" y="315"/>
                    <a:pt x="386" y="315"/>
                    <a:pt x="386" y="315"/>
                  </a:cubicBezTo>
                  <a:cubicBezTo>
                    <a:pt x="385" y="312"/>
                    <a:pt x="385" y="312"/>
                    <a:pt x="385" y="312"/>
                  </a:cubicBezTo>
                  <a:cubicBezTo>
                    <a:pt x="387" y="306"/>
                    <a:pt x="387" y="306"/>
                    <a:pt x="387" y="306"/>
                  </a:cubicBezTo>
                  <a:cubicBezTo>
                    <a:pt x="391" y="304"/>
                    <a:pt x="391" y="304"/>
                    <a:pt x="391" y="304"/>
                  </a:cubicBezTo>
                  <a:cubicBezTo>
                    <a:pt x="407" y="293"/>
                    <a:pt x="407" y="293"/>
                    <a:pt x="407" y="293"/>
                  </a:cubicBezTo>
                  <a:cubicBezTo>
                    <a:pt x="412" y="288"/>
                    <a:pt x="412" y="288"/>
                    <a:pt x="412" y="288"/>
                  </a:cubicBezTo>
                  <a:cubicBezTo>
                    <a:pt x="413" y="290"/>
                    <a:pt x="413" y="290"/>
                    <a:pt x="413" y="290"/>
                  </a:cubicBezTo>
                  <a:cubicBezTo>
                    <a:pt x="416" y="296"/>
                    <a:pt x="416" y="296"/>
                    <a:pt x="416" y="296"/>
                  </a:cubicBezTo>
                  <a:cubicBezTo>
                    <a:pt x="416" y="296"/>
                    <a:pt x="416" y="296"/>
                    <a:pt x="416" y="296"/>
                  </a:cubicBezTo>
                  <a:cubicBezTo>
                    <a:pt x="415" y="301"/>
                    <a:pt x="415" y="301"/>
                    <a:pt x="415" y="301"/>
                  </a:cubicBezTo>
                  <a:cubicBezTo>
                    <a:pt x="411" y="310"/>
                    <a:pt x="411" y="310"/>
                    <a:pt x="411" y="310"/>
                  </a:cubicBezTo>
                  <a:cubicBezTo>
                    <a:pt x="412" y="311"/>
                    <a:pt x="412" y="311"/>
                    <a:pt x="412" y="311"/>
                  </a:cubicBezTo>
                  <a:cubicBezTo>
                    <a:pt x="415" y="309"/>
                    <a:pt x="415" y="309"/>
                    <a:pt x="415" y="309"/>
                  </a:cubicBezTo>
                  <a:cubicBezTo>
                    <a:pt x="420" y="306"/>
                    <a:pt x="420" y="306"/>
                    <a:pt x="420" y="306"/>
                  </a:cubicBezTo>
                  <a:cubicBezTo>
                    <a:pt x="421" y="305"/>
                    <a:pt x="421" y="305"/>
                    <a:pt x="421" y="305"/>
                  </a:cubicBezTo>
                  <a:cubicBezTo>
                    <a:pt x="425" y="304"/>
                    <a:pt x="425" y="304"/>
                    <a:pt x="425" y="304"/>
                  </a:cubicBezTo>
                  <a:cubicBezTo>
                    <a:pt x="429" y="304"/>
                    <a:pt x="429" y="304"/>
                    <a:pt x="429" y="304"/>
                  </a:cubicBezTo>
                  <a:cubicBezTo>
                    <a:pt x="434" y="308"/>
                    <a:pt x="434" y="308"/>
                    <a:pt x="434" y="308"/>
                  </a:cubicBezTo>
                  <a:cubicBezTo>
                    <a:pt x="434" y="310"/>
                    <a:pt x="434" y="310"/>
                    <a:pt x="434" y="310"/>
                  </a:cubicBezTo>
                  <a:cubicBezTo>
                    <a:pt x="435" y="312"/>
                    <a:pt x="435" y="312"/>
                    <a:pt x="435" y="312"/>
                  </a:cubicBezTo>
                  <a:cubicBezTo>
                    <a:pt x="437" y="321"/>
                    <a:pt x="437" y="321"/>
                    <a:pt x="437" y="321"/>
                  </a:cubicBezTo>
                  <a:cubicBezTo>
                    <a:pt x="438" y="320"/>
                    <a:pt x="438" y="320"/>
                    <a:pt x="438" y="320"/>
                  </a:cubicBezTo>
                  <a:cubicBezTo>
                    <a:pt x="442" y="318"/>
                    <a:pt x="442" y="318"/>
                    <a:pt x="442" y="318"/>
                  </a:cubicBezTo>
                  <a:cubicBezTo>
                    <a:pt x="446" y="316"/>
                    <a:pt x="446" y="316"/>
                    <a:pt x="446" y="316"/>
                  </a:cubicBezTo>
                  <a:cubicBezTo>
                    <a:pt x="449" y="314"/>
                    <a:pt x="449" y="314"/>
                    <a:pt x="449" y="314"/>
                  </a:cubicBezTo>
                  <a:cubicBezTo>
                    <a:pt x="453" y="311"/>
                    <a:pt x="453" y="311"/>
                    <a:pt x="453" y="311"/>
                  </a:cubicBezTo>
                  <a:cubicBezTo>
                    <a:pt x="454" y="311"/>
                    <a:pt x="454" y="311"/>
                    <a:pt x="454" y="311"/>
                  </a:cubicBezTo>
                  <a:cubicBezTo>
                    <a:pt x="458" y="308"/>
                    <a:pt x="458" y="308"/>
                    <a:pt x="458" y="308"/>
                  </a:cubicBezTo>
                  <a:cubicBezTo>
                    <a:pt x="466" y="301"/>
                    <a:pt x="466" y="301"/>
                    <a:pt x="466" y="301"/>
                  </a:cubicBezTo>
                  <a:cubicBezTo>
                    <a:pt x="471" y="300"/>
                    <a:pt x="471" y="300"/>
                    <a:pt x="471" y="300"/>
                  </a:cubicBezTo>
                  <a:cubicBezTo>
                    <a:pt x="477" y="297"/>
                    <a:pt x="477" y="297"/>
                    <a:pt x="477" y="297"/>
                  </a:cubicBezTo>
                  <a:cubicBezTo>
                    <a:pt x="482" y="296"/>
                    <a:pt x="482" y="296"/>
                    <a:pt x="482" y="296"/>
                  </a:cubicBezTo>
                  <a:cubicBezTo>
                    <a:pt x="482" y="293"/>
                    <a:pt x="482" y="293"/>
                    <a:pt x="482" y="293"/>
                  </a:cubicBezTo>
                  <a:cubicBezTo>
                    <a:pt x="481" y="291"/>
                    <a:pt x="481" y="291"/>
                    <a:pt x="481" y="291"/>
                  </a:cubicBezTo>
                  <a:cubicBezTo>
                    <a:pt x="478" y="284"/>
                    <a:pt x="478" y="284"/>
                    <a:pt x="478" y="284"/>
                  </a:cubicBezTo>
                  <a:cubicBezTo>
                    <a:pt x="478" y="283"/>
                    <a:pt x="478" y="283"/>
                    <a:pt x="478" y="283"/>
                  </a:cubicBezTo>
                  <a:cubicBezTo>
                    <a:pt x="478" y="283"/>
                    <a:pt x="478" y="283"/>
                    <a:pt x="478" y="283"/>
                  </a:cubicBezTo>
                  <a:cubicBezTo>
                    <a:pt x="478" y="277"/>
                    <a:pt x="478" y="277"/>
                    <a:pt x="478" y="277"/>
                  </a:cubicBezTo>
                  <a:cubicBezTo>
                    <a:pt x="487" y="271"/>
                    <a:pt x="487" y="271"/>
                    <a:pt x="487" y="271"/>
                  </a:cubicBezTo>
                  <a:cubicBezTo>
                    <a:pt x="490" y="269"/>
                    <a:pt x="490" y="269"/>
                    <a:pt x="490" y="269"/>
                  </a:cubicBezTo>
                  <a:cubicBezTo>
                    <a:pt x="494" y="266"/>
                    <a:pt x="494" y="266"/>
                    <a:pt x="494" y="266"/>
                  </a:cubicBezTo>
                  <a:cubicBezTo>
                    <a:pt x="500" y="264"/>
                    <a:pt x="500" y="264"/>
                    <a:pt x="500" y="264"/>
                  </a:cubicBezTo>
                  <a:cubicBezTo>
                    <a:pt x="507" y="260"/>
                    <a:pt x="507" y="260"/>
                    <a:pt x="507" y="260"/>
                  </a:cubicBezTo>
                  <a:cubicBezTo>
                    <a:pt x="513" y="262"/>
                    <a:pt x="513" y="262"/>
                    <a:pt x="513" y="262"/>
                  </a:cubicBezTo>
                  <a:cubicBezTo>
                    <a:pt x="517" y="262"/>
                    <a:pt x="517" y="262"/>
                    <a:pt x="517" y="262"/>
                  </a:cubicBezTo>
                  <a:cubicBezTo>
                    <a:pt x="519" y="264"/>
                    <a:pt x="519" y="264"/>
                    <a:pt x="519" y="264"/>
                  </a:cubicBezTo>
                  <a:cubicBezTo>
                    <a:pt x="526" y="269"/>
                    <a:pt x="526" y="269"/>
                    <a:pt x="526" y="269"/>
                  </a:cubicBezTo>
                  <a:cubicBezTo>
                    <a:pt x="534" y="273"/>
                    <a:pt x="534" y="273"/>
                    <a:pt x="534" y="273"/>
                  </a:cubicBezTo>
                  <a:cubicBezTo>
                    <a:pt x="538" y="276"/>
                    <a:pt x="538" y="276"/>
                    <a:pt x="538" y="276"/>
                  </a:cubicBezTo>
                  <a:cubicBezTo>
                    <a:pt x="548" y="281"/>
                    <a:pt x="548" y="281"/>
                    <a:pt x="548" y="281"/>
                  </a:cubicBezTo>
                  <a:cubicBezTo>
                    <a:pt x="558" y="282"/>
                    <a:pt x="558" y="282"/>
                    <a:pt x="558" y="282"/>
                  </a:cubicBezTo>
                  <a:cubicBezTo>
                    <a:pt x="567" y="287"/>
                    <a:pt x="567" y="287"/>
                    <a:pt x="567" y="287"/>
                  </a:cubicBezTo>
                  <a:cubicBezTo>
                    <a:pt x="570" y="291"/>
                    <a:pt x="570" y="291"/>
                    <a:pt x="570" y="291"/>
                  </a:cubicBezTo>
                  <a:cubicBezTo>
                    <a:pt x="573" y="297"/>
                    <a:pt x="573" y="297"/>
                    <a:pt x="573" y="297"/>
                  </a:cubicBezTo>
                  <a:cubicBezTo>
                    <a:pt x="573" y="302"/>
                    <a:pt x="573" y="302"/>
                    <a:pt x="573" y="302"/>
                  </a:cubicBezTo>
                  <a:cubicBezTo>
                    <a:pt x="568" y="306"/>
                    <a:pt x="568" y="306"/>
                    <a:pt x="568" y="306"/>
                  </a:cubicBezTo>
                  <a:cubicBezTo>
                    <a:pt x="564" y="306"/>
                    <a:pt x="564" y="306"/>
                    <a:pt x="564" y="306"/>
                  </a:cubicBezTo>
                  <a:cubicBezTo>
                    <a:pt x="564" y="304"/>
                    <a:pt x="564" y="304"/>
                    <a:pt x="564" y="304"/>
                  </a:cubicBezTo>
                  <a:cubicBezTo>
                    <a:pt x="568" y="296"/>
                    <a:pt x="568" y="296"/>
                    <a:pt x="568" y="296"/>
                  </a:cubicBezTo>
                  <a:cubicBezTo>
                    <a:pt x="564" y="292"/>
                    <a:pt x="564" y="292"/>
                    <a:pt x="564" y="292"/>
                  </a:cubicBezTo>
                  <a:cubicBezTo>
                    <a:pt x="561" y="291"/>
                    <a:pt x="561" y="291"/>
                    <a:pt x="561" y="291"/>
                  </a:cubicBezTo>
                  <a:cubicBezTo>
                    <a:pt x="554" y="287"/>
                    <a:pt x="554" y="287"/>
                    <a:pt x="554" y="287"/>
                  </a:cubicBezTo>
                  <a:cubicBezTo>
                    <a:pt x="547" y="285"/>
                    <a:pt x="547" y="285"/>
                    <a:pt x="547" y="285"/>
                  </a:cubicBezTo>
                  <a:cubicBezTo>
                    <a:pt x="545" y="289"/>
                    <a:pt x="545" y="289"/>
                    <a:pt x="545" y="289"/>
                  </a:cubicBezTo>
                  <a:cubicBezTo>
                    <a:pt x="542" y="284"/>
                    <a:pt x="542" y="284"/>
                    <a:pt x="542" y="284"/>
                  </a:cubicBezTo>
                  <a:cubicBezTo>
                    <a:pt x="541" y="285"/>
                    <a:pt x="541" y="285"/>
                    <a:pt x="541" y="285"/>
                  </a:cubicBezTo>
                  <a:cubicBezTo>
                    <a:pt x="512" y="307"/>
                    <a:pt x="512" y="307"/>
                    <a:pt x="512" y="307"/>
                  </a:cubicBezTo>
                  <a:cubicBezTo>
                    <a:pt x="511" y="310"/>
                    <a:pt x="511" y="310"/>
                    <a:pt x="511" y="310"/>
                  </a:cubicBezTo>
                  <a:cubicBezTo>
                    <a:pt x="486" y="326"/>
                    <a:pt x="486" y="326"/>
                    <a:pt x="486" y="326"/>
                  </a:cubicBezTo>
                  <a:cubicBezTo>
                    <a:pt x="458" y="343"/>
                    <a:pt x="458" y="343"/>
                    <a:pt x="458" y="343"/>
                  </a:cubicBezTo>
                  <a:cubicBezTo>
                    <a:pt x="443" y="342"/>
                    <a:pt x="443" y="342"/>
                    <a:pt x="443" y="342"/>
                  </a:cubicBezTo>
                  <a:cubicBezTo>
                    <a:pt x="441" y="351"/>
                    <a:pt x="441" y="351"/>
                    <a:pt x="441" y="351"/>
                  </a:cubicBezTo>
                  <a:cubicBezTo>
                    <a:pt x="395" y="383"/>
                    <a:pt x="395" y="383"/>
                    <a:pt x="395" y="383"/>
                  </a:cubicBezTo>
                  <a:cubicBezTo>
                    <a:pt x="400" y="388"/>
                    <a:pt x="400" y="388"/>
                    <a:pt x="400" y="388"/>
                  </a:cubicBezTo>
                  <a:cubicBezTo>
                    <a:pt x="403" y="391"/>
                    <a:pt x="403" y="391"/>
                    <a:pt x="403" y="391"/>
                  </a:cubicBezTo>
                  <a:cubicBezTo>
                    <a:pt x="405" y="392"/>
                    <a:pt x="405" y="392"/>
                    <a:pt x="405" y="392"/>
                  </a:cubicBezTo>
                  <a:cubicBezTo>
                    <a:pt x="407" y="393"/>
                    <a:pt x="407" y="393"/>
                    <a:pt x="407" y="393"/>
                  </a:cubicBezTo>
                  <a:cubicBezTo>
                    <a:pt x="413" y="398"/>
                    <a:pt x="413" y="398"/>
                    <a:pt x="413" y="398"/>
                  </a:cubicBezTo>
                  <a:cubicBezTo>
                    <a:pt x="416" y="400"/>
                    <a:pt x="416" y="400"/>
                    <a:pt x="416" y="400"/>
                  </a:cubicBezTo>
                  <a:cubicBezTo>
                    <a:pt x="419" y="402"/>
                    <a:pt x="419" y="402"/>
                    <a:pt x="419" y="402"/>
                  </a:cubicBezTo>
                  <a:cubicBezTo>
                    <a:pt x="420" y="402"/>
                    <a:pt x="420" y="402"/>
                    <a:pt x="420" y="402"/>
                  </a:cubicBezTo>
                  <a:cubicBezTo>
                    <a:pt x="426" y="406"/>
                    <a:pt x="426" y="406"/>
                    <a:pt x="426" y="406"/>
                  </a:cubicBezTo>
                  <a:cubicBezTo>
                    <a:pt x="430" y="407"/>
                    <a:pt x="430" y="407"/>
                    <a:pt x="430" y="407"/>
                  </a:cubicBezTo>
                  <a:cubicBezTo>
                    <a:pt x="430" y="410"/>
                    <a:pt x="430" y="410"/>
                    <a:pt x="430" y="410"/>
                  </a:cubicBezTo>
                  <a:cubicBezTo>
                    <a:pt x="425" y="412"/>
                    <a:pt x="425" y="412"/>
                    <a:pt x="425" y="412"/>
                  </a:cubicBezTo>
                  <a:cubicBezTo>
                    <a:pt x="424" y="413"/>
                    <a:pt x="424" y="413"/>
                    <a:pt x="424" y="413"/>
                  </a:cubicBezTo>
                  <a:cubicBezTo>
                    <a:pt x="414" y="413"/>
                    <a:pt x="414" y="413"/>
                    <a:pt x="414" y="413"/>
                  </a:cubicBezTo>
                  <a:cubicBezTo>
                    <a:pt x="411" y="414"/>
                    <a:pt x="411" y="414"/>
                    <a:pt x="411" y="414"/>
                  </a:cubicBezTo>
                  <a:cubicBezTo>
                    <a:pt x="399" y="415"/>
                    <a:pt x="399" y="415"/>
                    <a:pt x="399" y="415"/>
                  </a:cubicBezTo>
                  <a:cubicBezTo>
                    <a:pt x="397" y="415"/>
                    <a:pt x="397" y="415"/>
                    <a:pt x="397" y="415"/>
                  </a:cubicBezTo>
                  <a:cubicBezTo>
                    <a:pt x="393" y="415"/>
                    <a:pt x="393" y="415"/>
                    <a:pt x="393" y="415"/>
                  </a:cubicBezTo>
                  <a:cubicBezTo>
                    <a:pt x="372" y="416"/>
                    <a:pt x="372" y="416"/>
                    <a:pt x="372" y="416"/>
                  </a:cubicBezTo>
                  <a:cubicBezTo>
                    <a:pt x="367" y="414"/>
                    <a:pt x="367" y="414"/>
                    <a:pt x="367" y="414"/>
                  </a:cubicBezTo>
                  <a:cubicBezTo>
                    <a:pt x="349" y="415"/>
                    <a:pt x="349" y="415"/>
                    <a:pt x="349" y="415"/>
                  </a:cubicBezTo>
                  <a:cubicBezTo>
                    <a:pt x="332" y="423"/>
                    <a:pt x="332" y="423"/>
                    <a:pt x="332" y="423"/>
                  </a:cubicBezTo>
                  <a:cubicBezTo>
                    <a:pt x="331" y="424"/>
                    <a:pt x="331" y="424"/>
                    <a:pt x="331" y="424"/>
                  </a:cubicBezTo>
                  <a:cubicBezTo>
                    <a:pt x="329" y="425"/>
                    <a:pt x="329" y="425"/>
                    <a:pt x="329" y="425"/>
                  </a:cubicBezTo>
                  <a:cubicBezTo>
                    <a:pt x="324" y="430"/>
                    <a:pt x="324" y="430"/>
                    <a:pt x="324" y="430"/>
                  </a:cubicBezTo>
                  <a:cubicBezTo>
                    <a:pt x="325" y="432"/>
                    <a:pt x="325" y="432"/>
                    <a:pt x="325" y="432"/>
                  </a:cubicBezTo>
                  <a:cubicBezTo>
                    <a:pt x="327" y="436"/>
                    <a:pt x="327" y="436"/>
                    <a:pt x="327" y="436"/>
                  </a:cubicBezTo>
                  <a:cubicBezTo>
                    <a:pt x="334" y="447"/>
                    <a:pt x="334" y="447"/>
                    <a:pt x="334" y="447"/>
                  </a:cubicBezTo>
                  <a:cubicBezTo>
                    <a:pt x="340" y="453"/>
                    <a:pt x="340" y="453"/>
                    <a:pt x="340" y="453"/>
                  </a:cubicBezTo>
                  <a:cubicBezTo>
                    <a:pt x="342" y="454"/>
                    <a:pt x="342" y="454"/>
                    <a:pt x="342" y="454"/>
                  </a:cubicBezTo>
                  <a:cubicBezTo>
                    <a:pt x="343" y="456"/>
                    <a:pt x="343" y="456"/>
                    <a:pt x="343" y="456"/>
                  </a:cubicBezTo>
                  <a:cubicBezTo>
                    <a:pt x="346" y="455"/>
                    <a:pt x="346" y="455"/>
                    <a:pt x="346" y="455"/>
                  </a:cubicBezTo>
                  <a:cubicBezTo>
                    <a:pt x="364" y="463"/>
                    <a:pt x="364" y="463"/>
                    <a:pt x="364" y="463"/>
                  </a:cubicBezTo>
                  <a:cubicBezTo>
                    <a:pt x="369" y="467"/>
                    <a:pt x="369" y="467"/>
                    <a:pt x="369" y="467"/>
                  </a:cubicBezTo>
                  <a:cubicBezTo>
                    <a:pt x="370" y="469"/>
                    <a:pt x="370" y="469"/>
                    <a:pt x="370" y="469"/>
                  </a:cubicBezTo>
                  <a:cubicBezTo>
                    <a:pt x="371" y="473"/>
                    <a:pt x="371" y="473"/>
                    <a:pt x="371" y="473"/>
                  </a:cubicBezTo>
                  <a:cubicBezTo>
                    <a:pt x="376" y="483"/>
                    <a:pt x="376" y="483"/>
                    <a:pt x="376" y="483"/>
                  </a:cubicBezTo>
                  <a:cubicBezTo>
                    <a:pt x="379" y="485"/>
                    <a:pt x="379" y="485"/>
                    <a:pt x="379" y="485"/>
                  </a:cubicBezTo>
                  <a:cubicBezTo>
                    <a:pt x="385" y="490"/>
                    <a:pt x="385" y="490"/>
                    <a:pt x="385" y="490"/>
                  </a:cubicBezTo>
                  <a:cubicBezTo>
                    <a:pt x="392" y="499"/>
                    <a:pt x="392" y="499"/>
                    <a:pt x="392" y="499"/>
                  </a:cubicBezTo>
                  <a:cubicBezTo>
                    <a:pt x="396" y="507"/>
                    <a:pt x="396" y="507"/>
                    <a:pt x="396" y="507"/>
                  </a:cubicBezTo>
                  <a:cubicBezTo>
                    <a:pt x="403" y="529"/>
                    <a:pt x="403" y="529"/>
                    <a:pt x="403" y="529"/>
                  </a:cubicBezTo>
                  <a:cubicBezTo>
                    <a:pt x="412" y="539"/>
                    <a:pt x="412" y="539"/>
                    <a:pt x="412" y="539"/>
                  </a:cubicBezTo>
                  <a:cubicBezTo>
                    <a:pt x="412" y="543"/>
                    <a:pt x="412" y="543"/>
                    <a:pt x="412" y="543"/>
                  </a:cubicBezTo>
                  <a:cubicBezTo>
                    <a:pt x="397" y="545"/>
                    <a:pt x="397" y="545"/>
                    <a:pt x="397" y="545"/>
                  </a:cubicBezTo>
                  <a:cubicBezTo>
                    <a:pt x="398" y="549"/>
                    <a:pt x="398" y="549"/>
                    <a:pt x="398" y="549"/>
                  </a:cubicBezTo>
                  <a:cubicBezTo>
                    <a:pt x="389" y="550"/>
                    <a:pt x="389" y="550"/>
                    <a:pt x="389" y="550"/>
                  </a:cubicBezTo>
                  <a:cubicBezTo>
                    <a:pt x="371" y="558"/>
                    <a:pt x="371" y="558"/>
                    <a:pt x="371" y="558"/>
                  </a:cubicBezTo>
                  <a:cubicBezTo>
                    <a:pt x="363" y="580"/>
                    <a:pt x="363" y="580"/>
                    <a:pt x="363" y="580"/>
                  </a:cubicBezTo>
                  <a:cubicBezTo>
                    <a:pt x="358" y="594"/>
                    <a:pt x="358" y="594"/>
                    <a:pt x="358" y="594"/>
                  </a:cubicBezTo>
                  <a:cubicBezTo>
                    <a:pt x="357" y="596"/>
                    <a:pt x="357" y="596"/>
                    <a:pt x="357" y="596"/>
                  </a:cubicBezTo>
                  <a:cubicBezTo>
                    <a:pt x="355" y="600"/>
                    <a:pt x="355" y="600"/>
                    <a:pt x="355" y="600"/>
                  </a:cubicBezTo>
                  <a:cubicBezTo>
                    <a:pt x="352" y="608"/>
                    <a:pt x="352" y="608"/>
                    <a:pt x="352" y="608"/>
                  </a:cubicBezTo>
                  <a:cubicBezTo>
                    <a:pt x="346" y="623"/>
                    <a:pt x="346" y="623"/>
                    <a:pt x="346" y="623"/>
                  </a:cubicBezTo>
                  <a:cubicBezTo>
                    <a:pt x="344" y="628"/>
                    <a:pt x="344" y="628"/>
                    <a:pt x="344" y="628"/>
                  </a:cubicBezTo>
                  <a:cubicBezTo>
                    <a:pt x="342" y="633"/>
                    <a:pt x="342" y="633"/>
                    <a:pt x="342" y="633"/>
                  </a:cubicBezTo>
                  <a:cubicBezTo>
                    <a:pt x="339" y="639"/>
                    <a:pt x="339" y="639"/>
                    <a:pt x="339" y="639"/>
                  </a:cubicBezTo>
                  <a:cubicBezTo>
                    <a:pt x="337" y="644"/>
                    <a:pt x="337" y="644"/>
                    <a:pt x="337" y="644"/>
                  </a:cubicBezTo>
                  <a:cubicBezTo>
                    <a:pt x="334" y="652"/>
                    <a:pt x="334" y="652"/>
                    <a:pt x="334" y="652"/>
                  </a:cubicBezTo>
                  <a:cubicBezTo>
                    <a:pt x="332" y="656"/>
                    <a:pt x="332" y="656"/>
                    <a:pt x="332" y="656"/>
                  </a:cubicBezTo>
                  <a:cubicBezTo>
                    <a:pt x="347" y="665"/>
                    <a:pt x="347" y="665"/>
                    <a:pt x="347" y="665"/>
                  </a:cubicBezTo>
                  <a:cubicBezTo>
                    <a:pt x="352" y="783"/>
                    <a:pt x="352" y="783"/>
                    <a:pt x="352" y="783"/>
                  </a:cubicBezTo>
                  <a:cubicBezTo>
                    <a:pt x="370" y="794"/>
                    <a:pt x="370" y="794"/>
                    <a:pt x="370" y="794"/>
                  </a:cubicBezTo>
                  <a:cubicBezTo>
                    <a:pt x="378" y="798"/>
                    <a:pt x="378" y="798"/>
                    <a:pt x="378" y="798"/>
                  </a:cubicBezTo>
                  <a:cubicBezTo>
                    <a:pt x="378" y="789"/>
                    <a:pt x="378" y="789"/>
                    <a:pt x="378" y="789"/>
                  </a:cubicBezTo>
                  <a:cubicBezTo>
                    <a:pt x="378" y="783"/>
                    <a:pt x="378" y="783"/>
                    <a:pt x="378" y="783"/>
                  </a:cubicBezTo>
                  <a:cubicBezTo>
                    <a:pt x="375" y="711"/>
                    <a:pt x="375" y="711"/>
                    <a:pt x="375" y="711"/>
                  </a:cubicBezTo>
                  <a:cubicBezTo>
                    <a:pt x="375" y="709"/>
                    <a:pt x="375" y="709"/>
                    <a:pt x="375" y="709"/>
                  </a:cubicBezTo>
                  <a:cubicBezTo>
                    <a:pt x="375" y="690"/>
                    <a:pt x="375" y="690"/>
                    <a:pt x="375" y="690"/>
                  </a:cubicBezTo>
                  <a:cubicBezTo>
                    <a:pt x="375" y="688"/>
                    <a:pt x="375" y="688"/>
                    <a:pt x="375" y="688"/>
                  </a:cubicBezTo>
                  <a:cubicBezTo>
                    <a:pt x="374" y="671"/>
                    <a:pt x="374" y="671"/>
                    <a:pt x="374" y="671"/>
                  </a:cubicBezTo>
                  <a:cubicBezTo>
                    <a:pt x="372" y="635"/>
                    <a:pt x="372" y="635"/>
                    <a:pt x="372" y="635"/>
                  </a:cubicBezTo>
                  <a:cubicBezTo>
                    <a:pt x="371" y="621"/>
                    <a:pt x="371" y="621"/>
                    <a:pt x="371" y="621"/>
                  </a:cubicBezTo>
                  <a:cubicBezTo>
                    <a:pt x="371" y="619"/>
                    <a:pt x="371" y="619"/>
                    <a:pt x="371" y="619"/>
                  </a:cubicBezTo>
                  <a:cubicBezTo>
                    <a:pt x="370" y="600"/>
                    <a:pt x="370" y="600"/>
                    <a:pt x="370" y="600"/>
                  </a:cubicBezTo>
                  <a:cubicBezTo>
                    <a:pt x="372" y="600"/>
                    <a:pt x="372" y="600"/>
                    <a:pt x="372" y="600"/>
                  </a:cubicBezTo>
                  <a:cubicBezTo>
                    <a:pt x="382" y="607"/>
                    <a:pt x="382" y="607"/>
                    <a:pt x="382" y="607"/>
                  </a:cubicBezTo>
                  <a:cubicBezTo>
                    <a:pt x="389" y="610"/>
                    <a:pt x="389" y="610"/>
                    <a:pt x="389" y="610"/>
                  </a:cubicBezTo>
                  <a:cubicBezTo>
                    <a:pt x="394" y="614"/>
                    <a:pt x="394" y="614"/>
                    <a:pt x="394" y="614"/>
                  </a:cubicBezTo>
                  <a:cubicBezTo>
                    <a:pt x="412" y="625"/>
                    <a:pt x="412" y="625"/>
                    <a:pt x="412" y="625"/>
                  </a:cubicBezTo>
                  <a:cubicBezTo>
                    <a:pt x="452" y="649"/>
                    <a:pt x="452" y="649"/>
                    <a:pt x="452" y="649"/>
                  </a:cubicBezTo>
                  <a:cubicBezTo>
                    <a:pt x="454" y="650"/>
                    <a:pt x="454" y="650"/>
                    <a:pt x="454" y="650"/>
                  </a:cubicBezTo>
                  <a:cubicBezTo>
                    <a:pt x="528" y="688"/>
                    <a:pt x="528" y="688"/>
                    <a:pt x="528" y="688"/>
                  </a:cubicBezTo>
                  <a:cubicBezTo>
                    <a:pt x="569" y="716"/>
                    <a:pt x="569" y="716"/>
                    <a:pt x="569" y="716"/>
                  </a:cubicBezTo>
                  <a:cubicBezTo>
                    <a:pt x="621" y="752"/>
                    <a:pt x="621" y="752"/>
                    <a:pt x="621" y="752"/>
                  </a:cubicBezTo>
                  <a:cubicBezTo>
                    <a:pt x="628" y="757"/>
                    <a:pt x="628" y="757"/>
                    <a:pt x="628" y="757"/>
                  </a:cubicBezTo>
                  <a:cubicBezTo>
                    <a:pt x="609" y="802"/>
                    <a:pt x="609" y="802"/>
                    <a:pt x="609" y="802"/>
                  </a:cubicBezTo>
                  <a:cubicBezTo>
                    <a:pt x="597" y="809"/>
                    <a:pt x="597" y="809"/>
                    <a:pt x="597" y="809"/>
                  </a:cubicBezTo>
                  <a:cubicBezTo>
                    <a:pt x="573" y="816"/>
                    <a:pt x="573" y="816"/>
                    <a:pt x="573" y="816"/>
                  </a:cubicBezTo>
                  <a:cubicBezTo>
                    <a:pt x="560" y="830"/>
                    <a:pt x="560" y="830"/>
                    <a:pt x="560" y="830"/>
                  </a:cubicBezTo>
                  <a:cubicBezTo>
                    <a:pt x="558" y="835"/>
                    <a:pt x="558" y="835"/>
                    <a:pt x="558" y="835"/>
                  </a:cubicBezTo>
                  <a:cubicBezTo>
                    <a:pt x="555" y="840"/>
                    <a:pt x="555" y="840"/>
                    <a:pt x="555" y="840"/>
                  </a:cubicBezTo>
                  <a:cubicBezTo>
                    <a:pt x="555" y="840"/>
                    <a:pt x="555" y="840"/>
                    <a:pt x="555" y="840"/>
                  </a:cubicBezTo>
                  <a:cubicBezTo>
                    <a:pt x="553" y="844"/>
                    <a:pt x="553" y="844"/>
                    <a:pt x="553" y="844"/>
                  </a:cubicBezTo>
                  <a:cubicBezTo>
                    <a:pt x="550" y="848"/>
                    <a:pt x="550" y="848"/>
                    <a:pt x="550" y="848"/>
                  </a:cubicBezTo>
                  <a:cubicBezTo>
                    <a:pt x="550" y="849"/>
                    <a:pt x="550" y="849"/>
                    <a:pt x="550" y="849"/>
                  </a:cubicBezTo>
                  <a:cubicBezTo>
                    <a:pt x="546" y="856"/>
                    <a:pt x="546" y="856"/>
                    <a:pt x="546" y="856"/>
                  </a:cubicBezTo>
                  <a:cubicBezTo>
                    <a:pt x="545" y="857"/>
                    <a:pt x="545" y="857"/>
                    <a:pt x="545" y="857"/>
                  </a:cubicBezTo>
                  <a:cubicBezTo>
                    <a:pt x="555" y="862"/>
                    <a:pt x="555" y="862"/>
                    <a:pt x="555" y="862"/>
                  </a:cubicBezTo>
                  <a:cubicBezTo>
                    <a:pt x="555" y="863"/>
                    <a:pt x="555" y="863"/>
                    <a:pt x="555" y="863"/>
                  </a:cubicBezTo>
                  <a:cubicBezTo>
                    <a:pt x="553" y="865"/>
                    <a:pt x="553" y="865"/>
                    <a:pt x="553" y="865"/>
                  </a:cubicBezTo>
                  <a:cubicBezTo>
                    <a:pt x="550" y="869"/>
                    <a:pt x="550" y="869"/>
                    <a:pt x="550" y="869"/>
                  </a:cubicBezTo>
                  <a:cubicBezTo>
                    <a:pt x="548" y="872"/>
                    <a:pt x="548" y="872"/>
                    <a:pt x="548" y="872"/>
                  </a:cubicBezTo>
                  <a:cubicBezTo>
                    <a:pt x="545" y="876"/>
                    <a:pt x="545" y="876"/>
                    <a:pt x="545" y="876"/>
                  </a:cubicBezTo>
                  <a:cubicBezTo>
                    <a:pt x="544" y="877"/>
                    <a:pt x="544" y="877"/>
                    <a:pt x="544" y="877"/>
                  </a:cubicBezTo>
                  <a:cubicBezTo>
                    <a:pt x="541" y="883"/>
                    <a:pt x="541" y="883"/>
                    <a:pt x="541" y="883"/>
                  </a:cubicBezTo>
                  <a:cubicBezTo>
                    <a:pt x="540" y="883"/>
                    <a:pt x="540" y="883"/>
                    <a:pt x="540" y="883"/>
                  </a:cubicBezTo>
                  <a:cubicBezTo>
                    <a:pt x="538" y="886"/>
                    <a:pt x="538" y="886"/>
                    <a:pt x="538" y="886"/>
                  </a:cubicBezTo>
                  <a:cubicBezTo>
                    <a:pt x="530" y="879"/>
                    <a:pt x="530" y="879"/>
                    <a:pt x="530" y="879"/>
                  </a:cubicBezTo>
                  <a:cubicBezTo>
                    <a:pt x="481" y="908"/>
                    <a:pt x="481" y="908"/>
                    <a:pt x="481" y="908"/>
                  </a:cubicBezTo>
                  <a:cubicBezTo>
                    <a:pt x="412" y="947"/>
                    <a:pt x="412" y="947"/>
                    <a:pt x="412" y="947"/>
                  </a:cubicBezTo>
                  <a:cubicBezTo>
                    <a:pt x="378" y="936"/>
                    <a:pt x="378" y="936"/>
                    <a:pt x="378" y="936"/>
                  </a:cubicBezTo>
                  <a:cubicBezTo>
                    <a:pt x="346" y="927"/>
                    <a:pt x="346" y="927"/>
                    <a:pt x="346" y="927"/>
                  </a:cubicBezTo>
                  <a:cubicBezTo>
                    <a:pt x="337" y="924"/>
                    <a:pt x="337" y="924"/>
                    <a:pt x="337" y="924"/>
                  </a:cubicBezTo>
                  <a:cubicBezTo>
                    <a:pt x="319" y="1028"/>
                    <a:pt x="319" y="1028"/>
                    <a:pt x="319" y="1028"/>
                  </a:cubicBezTo>
                  <a:cubicBezTo>
                    <a:pt x="311" y="1053"/>
                    <a:pt x="311" y="1053"/>
                    <a:pt x="311" y="1053"/>
                  </a:cubicBezTo>
                  <a:cubicBezTo>
                    <a:pt x="293" y="1064"/>
                    <a:pt x="293" y="1064"/>
                    <a:pt x="293" y="1064"/>
                  </a:cubicBezTo>
                  <a:cubicBezTo>
                    <a:pt x="319" y="1081"/>
                    <a:pt x="319" y="1081"/>
                    <a:pt x="319" y="1081"/>
                  </a:cubicBezTo>
                  <a:cubicBezTo>
                    <a:pt x="346" y="1099"/>
                    <a:pt x="346" y="1099"/>
                    <a:pt x="346" y="1099"/>
                  </a:cubicBezTo>
                  <a:cubicBezTo>
                    <a:pt x="361" y="1108"/>
                    <a:pt x="361" y="1108"/>
                    <a:pt x="361" y="1108"/>
                  </a:cubicBezTo>
                  <a:cubicBezTo>
                    <a:pt x="421" y="1111"/>
                    <a:pt x="421" y="1111"/>
                    <a:pt x="421" y="1111"/>
                  </a:cubicBezTo>
                  <a:cubicBezTo>
                    <a:pt x="472" y="1100"/>
                    <a:pt x="472" y="1100"/>
                    <a:pt x="472" y="1100"/>
                  </a:cubicBezTo>
                  <a:cubicBezTo>
                    <a:pt x="477" y="1098"/>
                    <a:pt x="477" y="1098"/>
                    <a:pt x="477" y="1098"/>
                  </a:cubicBezTo>
                  <a:cubicBezTo>
                    <a:pt x="484" y="1098"/>
                    <a:pt x="484" y="1098"/>
                    <a:pt x="484" y="1098"/>
                  </a:cubicBezTo>
                  <a:cubicBezTo>
                    <a:pt x="499" y="1093"/>
                    <a:pt x="499" y="1093"/>
                    <a:pt x="499" y="1093"/>
                  </a:cubicBezTo>
                  <a:cubicBezTo>
                    <a:pt x="508" y="1092"/>
                    <a:pt x="508" y="1092"/>
                    <a:pt x="508" y="1092"/>
                  </a:cubicBezTo>
                  <a:cubicBezTo>
                    <a:pt x="513" y="1091"/>
                    <a:pt x="513" y="1091"/>
                    <a:pt x="513" y="1091"/>
                  </a:cubicBezTo>
                  <a:cubicBezTo>
                    <a:pt x="524" y="1089"/>
                    <a:pt x="524" y="1089"/>
                    <a:pt x="524" y="1089"/>
                  </a:cubicBezTo>
                  <a:cubicBezTo>
                    <a:pt x="533" y="1087"/>
                    <a:pt x="533" y="1087"/>
                    <a:pt x="533" y="1087"/>
                  </a:cubicBezTo>
                  <a:cubicBezTo>
                    <a:pt x="539" y="1086"/>
                    <a:pt x="539" y="1086"/>
                    <a:pt x="539" y="1086"/>
                  </a:cubicBezTo>
                  <a:cubicBezTo>
                    <a:pt x="544" y="1085"/>
                    <a:pt x="544" y="1085"/>
                    <a:pt x="544" y="1085"/>
                  </a:cubicBezTo>
                  <a:cubicBezTo>
                    <a:pt x="560" y="1082"/>
                    <a:pt x="560" y="1082"/>
                    <a:pt x="560" y="1082"/>
                  </a:cubicBezTo>
                  <a:cubicBezTo>
                    <a:pt x="581" y="1077"/>
                    <a:pt x="581" y="1077"/>
                    <a:pt x="581" y="1077"/>
                  </a:cubicBezTo>
                  <a:cubicBezTo>
                    <a:pt x="600" y="1071"/>
                    <a:pt x="600" y="1071"/>
                    <a:pt x="600" y="1071"/>
                  </a:cubicBezTo>
                  <a:cubicBezTo>
                    <a:pt x="619" y="1064"/>
                    <a:pt x="619" y="1064"/>
                    <a:pt x="619" y="1064"/>
                  </a:cubicBezTo>
                  <a:cubicBezTo>
                    <a:pt x="628" y="1059"/>
                    <a:pt x="628" y="1059"/>
                    <a:pt x="628" y="1059"/>
                  </a:cubicBezTo>
                  <a:cubicBezTo>
                    <a:pt x="638" y="1050"/>
                    <a:pt x="638" y="1050"/>
                    <a:pt x="638" y="1050"/>
                  </a:cubicBezTo>
                  <a:cubicBezTo>
                    <a:pt x="647" y="1035"/>
                    <a:pt x="647" y="1035"/>
                    <a:pt x="647" y="1035"/>
                  </a:cubicBezTo>
                  <a:cubicBezTo>
                    <a:pt x="655" y="1024"/>
                    <a:pt x="655" y="1024"/>
                    <a:pt x="655" y="1024"/>
                  </a:cubicBezTo>
                  <a:cubicBezTo>
                    <a:pt x="659" y="1015"/>
                    <a:pt x="659" y="1015"/>
                    <a:pt x="659" y="1015"/>
                  </a:cubicBezTo>
                  <a:cubicBezTo>
                    <a:pt x="665" y="1003"/>
                    <a:pt x="665" y="1003"/>
                    <a:pt x="665" y="1003"/>
                  </a:cubicBezTo>
                  <a:cubicBezTo>
                    <a:pt x="669" y="990"/>
                    <a:pt x="669" y="990"/>
                    <a:pt x="669" y="990"/>
                  </a:cubicBezTo>
                  <a:cubicBezTo>
                    <a:pt x="674" y="973"/>
                    <a:pt x="674" y="973"/>
                    <a:pt x="674" y="973"/>
                  </a:cubicBezTo>
                  <a:cubicBezTo>
                    <a:pt x="680" y="953"/>
                    <a:pt x="680" y="953"/>
                    <a:pt x="680" y="953"/>
                  </a:cubicBezTo>
                  <a:cubicBezTo>
                    <a:pt x="682" y="950"/>
                    <a:pt x="682" y="950"/>
                    <a:pt x="682" y="950"/>
                  </a:cubicBezTo>
                  <a:cubicBezTo>
                    <a:pt x="683" y="947"/>
                    <a:pt x="683" y="947"/>
                    <a:pt x="683" y="947"/>
                  </a:cubicBezTo>
                  <a:cubicBezTo>
                    <a:pt x="686" y="945"/>
                    <a:pt x="686" y="945"/>
                    <a:pt x="686" y="945"/>
                  </a:cubicBezTo>
                  <a:cubicBezTo>
                    <a:pt x="694" y="937"/>
                    <a:pt x="694" y="937"/>
                    <a:pt x="694" y="937"/>
                  </a:cubicBezTo>
                  <a:cubicBezTo>
                    <a:pt x="711" y="923"/>
                    <a:pt x="711" y="923"/>
                    <a:pt x="711" y="923"/>
                  </a:cubicBezTo>
                  <a:cubicBezTo>
                    <a:pt x="729" y="904"/>
                    <a:pt x="729" y="904"/>
                    <a:pt x="729" y="904"/>
                  </a:cubicBezTo>
                  <a:cubicBezTo>
                    <a:pt x="745" y="885"/>
                    <a:pt x="745" y="885"/>
                    <a:pt x="745" y="885"/>
                  </a:cubicBezTo>
                  <a:cubicBezTo>
                    <a:pt x="750" y="878"/>
                    <a:pt x="750" y="878"/>
                    <a:pt x="750" y="878"/>
                  </a:cubicBezTo>
                  <a:cubicBezTo>
                    <a:pt x="760" y="867"/>
                    <a:pt x="760" y="867"/>
                    <a:pt x="760" y="867"/>
                  </a:cubicBezTo>
                  <a:cubicBezTo>
                    <a:pt x="767" y="858"/>
                    <a:pt x="767" y="858"/>
                    <a:pt x="767" y="858"/>
                  </a:cubicBezTo>
                  <a:cubicBezTo>
                    <a:pt x="775" y="842"/>
                    <a:pt x="775" y="842"/>
                    <a:pt x="775" y="842"/>
                  </a:cubicBezTo>
                  <a:cubicBezTo>
                    <a:pt x="789" y="825"/>
                    <a:pt x="789" y="825"/>
                    <a:pt x="789" y="825"/>
                  </a:cubicBezTo>
                  <a:cubicBezTo>
                    <a:pt x="805" y="808"/>
                    <a:pt x="805" y="808"/>
                    <a:pt x="805" y="808"/>
                  </a:cubicBezTo>
                  <a:cubicBezTo>
                    <a:pt x="813" y="798"/>
                    <a:pt x="813" y="798"/>
                    <a:pt x="813" y="798"/>
                  </a:cubicBezTo>
                  <a:cubicBezTo>
                    <a:pt x="829" y="780"/>
                    <a:pt x="829" y="780"/>
                    <a:pt x="829" y="780"/>
                  </a:cubicBezTo>
                  <a:cubicBezTo>
                    <a:pt x="846" y="762"/>
                    <a:pt x="846" y="762"/>
                    <a:pt x="846" y="762"/>
                  </a:cubicBezTo>
                  <a:cubicBezTo>
                    <a:pt x="861" y="747"/>
                    <a:pt x="861" y="747"/>
                    <a:pt x="861" y="747"/>
                  </a:cubicBezTo>
                  <a:cubicBezTo>
                    <a:pt x="878" y="733"/>
                    <a:pt x="878" y="733"/>
                    <a:pt x="878" y="733"/>
                  </a:cubicBezTo>
                  <a:cubicBezTo>
                    <a:pt x="892" y="721"/>
                    <a:pt x="892" y="721"/>
                    <a:pt x="892" y="721"/>
                  </a:cubicBezTo>
                  <a:cubicBezTo>
                    <a:pt x="909" y="703"/>
                    <a:pt x="909" y="703"/>
                    <a:pt x="909" y="703"/>
                  </a:cubicBezTo>
                  <a:cubicBezTo>
                    <a:pt x="920" y="690"/>
                    <a:pt x="920" y="690"/>
                    <a:pt x="920" y="690"/>
                  </a:cubicBezTo>
                  <a:cubicBezTo>
                    <a:pt x="929" y="681"/>
                    <a:pt x="929" y="681"/>
                    <a:pt x="929" y="681"/>
                  </a:cubicBezTo>
                  <a:cubicBezTo>
                    <a:pt x="937" y="670"/>
                    <a:pt x="937" y="670"/>
                    <a:pt x="937" y="670"/>
                  </a:cubicBezTo>
                  <a:cubicBezTo>
                    <a:pt x="939" y="669"/>
                    <a:pt x="939" y="669"/>
                    <a:pt x="939" y="669"/>
                  </a:cubicBezTo>
                  <a:cubicBezTo>
                    <a:pt x="949" y="657"/>
                    <a:pt x="949" y="657"/>
                    <a:pt x="949" y="657"/>
                  </a:cubicBezTo>
                  <a:cubicBezTo>
                    <a:pt x="952" y="653"/>
                    <a:pt x="952" y="653"/>
                    <a:pt x="952" y="653"/>
                  </a:cubicBezTo>
                  <a:cubicBezTo>
                    <a:pt x="958" y="644"/>
                    <a:pt x="958" y="644"/>
                    <a:pt x="958" y="644"/>
                  </a:cubicBezTo>
                  <a:cubicBezTo>
                    <a:pt x="965" y="626"/>
                    <a:pt x="965" y="626"/>
                    <a:pt x="965" y="626"/>
                  </a:cubicBezTo>
                  <a:cubicBezTo>
                    <a:pt x="969" y="612"/>
                    <a:pt x="969" y="612"/>
                    <a:pt x="969" y="612"/>
                  </a:cubicBezTo>
                  <a:cubicBezTo>
                    <a:pt x="977" y="589"/>
                    <a:pt x="977" y="589"/>
                    <a:pt x="977" y="589"/>
                  </a:cubicBezTo>
                  <a:cubicBezTo>
                    <a:pt x="983" y="570"/>
                    <a:pt x="983" y="570"/>
                    <a:pt x="983" y="570"/>
                  </a:cubicBezTo>
                  <a:cubicBezTo>
                    <a:pt x="985" y="557"/>
                    <a:pt x="985" y="557"/>
                    <a:pt x="985" y="557"/>
                  </a:cubicBezTo>
                  <a:cubicBezTo>
                    <a:pt x="987" y="542"/>
                    <a:pt x="987" y="542"/>
                    <a:pt x="987" y="542"/>
                  </a:cubicBezTo>
                  <a:cubicBezTo>
                    <a:pt x="987" y="528"/>
                    <a:pt x="987" y="528"/>
                    <a:pt x="987" y="528"/>
                  </a:cubicBezTo>
                  <a:cubicBezTo>
                    <a:pt x="987" y="513"/>
                    <a:pt x="987" y="513"/>
                    <a:pt x="987" y="513"/>
                  </a:cubicBezTo>
                  <a:cubicBezTo>
                    <a:pt x="985" y="501"/>
                    <a:pt x="985" y="501"/>
                    <a:pt x="985" y="501"/>
                  </a:cubicBezTo>
                  <a:cubicBezTo>
                    <a:pt x="983" y="483"/>
                    <a:pt x="983" y="483"/>
                    <a:pt x="983" y="483"/>
                  </a:cubicBezTo>
                  <a:cubicBezTo>
                    <a:pt x="982" y="471"/>
                    <a:pt x="982" y="471"/>
                    <a:pt x="982" y="471"/>
                  </a:cubicBezTo>
                  <a:cubicBezTo>
                    <a:pt x="978" y="441"/>
                    <a:pt x="978" y="441"/>
                    <a:pt x="978" y="441"/>
                  </a:cubicBezTo>
                  <a:cubicBezTo>
                    <a:pt x="974" y="415"/>
                    <a:pt x="974" y="415"/>
                    <a:pt x="974" y="415"/>
                  </a:cubicBezTo>
                  <a:cubicBezTo>
                    <a:pt x="969" y="401"/>
                    <a:pt x="969" y="401"/>
                    <a:pt x="969" y="401"/>
                  </a:cubicBezTo>
                  <a:cubicBezTo>
                    <a:pt x="964" y="387"/>
                    <a:pt x="964" y="387"/>
                    <a:pt x="964" y="387"/>
                  </a:cubicBezTo>
                  <a:cubicBezTo>
                    <a:pt x="958" y="375"/>
                    <a:pt x="958" y="375"/>
                    <a:pt x="958" y="375"/>
                  </a:cubicBezTo>
                  <a:cubicBezTo>
                    <a:pt x="951" y="362"/>
                    <a:pt x="951" y="362"/>
                    <a:pt x="951" y="362"/>
                  </a:cubicBezTo>
                  <a:cubicBezTo>
                    <a:pt x="946" y="352"/>
                    <a:pt x="946" y="352"/>
                    <a:pt x="946" y="352"/>
                  </a:cubicBezTo>
                  <a:cubicBezTo>
                    <a:pt x="938" y="342"/>
                    <a:pt x="938" y="342"/>
                    <a:pt x="938" y="342"/>
                  </a:cubicBezTo>
                  <a:cubicBezTo>
                    <a:pt x="934" y="338"/>
                    <a:pt x="934" y="338"/>
                    <a:pt x="934" y="338"/>
                  </a:cubicBezTo>
                  <a:cubicBezTo>
                    <a:pt x="959" y="314"/>
                    <a:pt x="959" y="314"/>
                    <a:pt x="959" y="314"/>
                  </a:cubicBezTo>
                  <a:cubicBezTo>
                    <a:pt x="971" y="303"/>
                    <a:pt x="971" y="303"/>
                    <a:pt x="971" y="303"/>
                  </a:cubicBezTo>
                  <a:cubicBezTo>
                    <a:pt x="974" y="301"/>
                    <a:pt x="974" y="301"/>
                    <a:pt x="974" y="301"/>
                  </a:cubicBezTo>
                  <a:cubicBezTo>
                    <a:pt x="992" y="286"/>
                    <a:pt x="992" y="286"/>
                    <a:pt x="992" y="286"/>
                  </a:cubicBezTo>
                  <a:cubicBezTo>
                    <a:pt x="1002" y="285"/>
                    <a:pt x="1002" y="285"/>
                    <a:pt x="1002" y="285"/>
                  </a:cubicBezTo>
                  <a:cubicBezTo>
                    <a:pt x="1024" y="283"/>
                    <a:pt x="1024" y="283"/>
                    <a:pt x="1024" y="283"/>
                  </a:cubicBezTo>
                  <a:cubicBezTo>
                    <a:pt x="1029" y="282"/>
                    <a:pt x="1029" y="282"/>
                    <a:pt x="1029" y="282"/>
                  </a:cubicBezTo>
                  <a:cubicBezTo>
                    <a:pt x="1052" y="238"/>
                    <a:pt x="1052" y="238"/>
                    <a:pt x="1052" y="238"/>
                  </a:cubicBezTo>
                  <a:cubicBezTo>
                    <a:pt x="1053" y="236"/>
                    <a:pt x="1053" y="236"/>
                    <a:pt x="1053" y="236"/>
                  </a:cubicBezTo>
                  <a:cubicBezTo>
                    <a:pt x="1058" y="231"/>
                    <a:pt x="1058" y="231"/>
                    <a:pt x="1058" y="231"/>
                  </a:cubicBezTo>
                  <a:cubicBezTo>
                    <a:pt x="1120" y="197"/>
                    <a:pt x="1120" y="197"/>
                    <a:pt x="1120" y="197"/>
                  </a:cubicBezTo>
                  <a:cubicBezTo>
                    <a:pt x="1152" y="160"/>
                    <a:pt x="1152" y="160"/>
                    <a:pt x="1152" y="160"/>
                  </a:cubicBezTo>
                  <a:cubicBezTo>
                    <a:pt x="1145" y="127"/>
                    <a:pt x="1145" y="127"/>
                    <a:pt x="1145" y="127"/>
                  </a:cubicBezTo>
                  <a:cubicBezTo>
                    <a:pt x="1140" y="115"/>
                    <a:pt x="1140" y="115"/>
                    <a:pt x="1140" y="115"/>
                  </a:cubicBezTo>
                  <a:cubicBezTo>
                    <a:pt x="1140" y="115"/>
                    <a:pt x="1123" y="106"/>
                    <a:pt x="1124" y="99"/>
                  </a:cubicBezTo>
                  <a:cubicBezTo>
                    <a:pt x="1121" y="94"/>
                    <a:pt x="1121" y="94"/>
                    <a:pt x="1121" y="94"/>
                  </a:cubicBezTo>
                  <a:cubicBezTo>
                    <a:pt x="1119" y="94"/>
                    <a:pt x="1119" y="94"/>
                    <a:pt x="1119" y="94"/>
                  </a:cubicBezTo>
                  <a:cubicBezTo>
                    <a:pt x="1114" y="87"/>
                    <a:pt x="1114" y="87"/>
                    <a:pt x="1114" y="87"/>
                  </a:cubicBezTo>
                  <a:cubicBezTo>
                    <a:pt x="985" y="5"/>
                    <a:pt x="985" y="5"/>
                    <a:pt x="985" y="5"/>
                  </a:cubicBezTo>
                  <a:cubicBezTo>
                    <a:pt x="958" y="0"/>
                    <a:pt x="958" y="0"/>
                    <a:pt x="958" y="0"/>
                  </a:cubicBezTo>
                  <a:close/>
                  <a:moveTo>
                    <a:pt x="185" y="90"/>
                  </a:moveTo>
                  <a:cubicBezTo>
                    <a:pt x="170" y="91"/>
                    <a:pt x="170" y="91"/>
                    <a:pt x="170" y="91"/>
                  </a:cubicBezTo>
                  <a:cubicBezTo>
                    <a:pt x="158" y="91"/>
                    <a:pt x="158" y="91"/>
                    <a:pt x="158" y="91"/>
                  </a:cubicBezTo>
                  <a:cubicBezTo>
                    <a:pt x="146" y="92"/>
                    <a:pt x="146" y="92"/>
                    <a:pt x="146" y="92"/>
                  </a:cubicBezTo>
                  <a:cubicBezTo>
                    <a:pt x="136" y="93"/>
                    <a:pt x="136" y="93"/>
                    <a:pt x="136" y="93"/>
                  </a:cubicBezTo>
                  <a:cubicBezTo>
                    <a:pt x="127" y="95"/>
                    <a:pt x="127" y="95"/>
                    <a:pt x="127" y="95"/>
                  </a:cubicBezTo>
                  <a:cubicBezTo>
                    <a:pt x="114" y="98"/>
                    <a:pt x="114" y="98"/>
                    <a:pt x="114" y="98"/>
                  </a:cubicBezTo>
                  <a:cubicBezTo>
                    <a:pt x="101" y="101"/>
                    <a:pt x="101" y="101"/>
                    <a:pt x="101" y="101"/>
                  </a:cubicBezTo>
                  <a:cubicBezTo>
                    <a:pt x="67" y="111"/>
                    <a:pt x="67" y="111"/>
                    <a:pt x="67" y="111"/>
                  </a:cubicBezTo>
                  <a:cubicBezTo>
                    <a:pt x="0" y="136"/>
                    <a:pt x="0" y="136"/>
                    <a:pt x="0" y="136"/>
                  </a:cubicBezTo>
                  <a:cubicBezTo>
                    <a:pt x="10" y="163"/>
                    <a:pt x="10" y="163"/>
                    <a:pt x="10" y="163"/>
                  </a:cubicBezTo>
                  <a:cubicBezTo>
                    <a:pt x="41" y="242"/>
                    <a:pt x="41" y="242"/>
                    <a:pt x="41" y="242"/>
                  </a:cubicBezTo>
                  <a:cubicBezTo>
                    <a:pt x="44" y="253"/>
                    <a:pt x="44" y="253"/>
                    <a:pt x="44" y="253"/>
                  </a:cubicBezTo>
                  <a:cubicBezTo>
                    <a:pt x="45" y="279"/>
                    <a:pt x="45" y="279"/>
                    <a:pt x="45" y="279"/>
                  </a:cubicBezTo>
                  <a:cubicBezTo>
                    <a:pt x="44" y="301"/>
                    <a:pt x="44" y="301"/>
                    <a:pt x="44" y="301"/>
                  </a:cubicBezTo>
                  <a:cubicBezTo>
                    <a:pt x="60" y="294"/>
                    <a:pt x="60" y="294"/>
                    <a:pt x="60" y="294"/>
                  </a:cubicBezTo>
                  <a:cubicBezTo>
                    <a:pt x="59" y="292"/>
                    <a:pt x="59" y="292"/>
                    <a:pt x="59" y="292"/>
                  </a:cubicBezTo>
                  <a:cubicBezTo>
                    <a:pt x="63" y="291"/>
                    <a:pt x="63" y="291"/>
                    <a:pt x="63" y="291"/>
                  </a:cubicBezTo>
                  <a:cubicBezTo>
                    <a:pt x="64" y="293"/>
                    <a:pt x="64" y="293"/>
                    <a:pt x="64" y="293"/>
                  </a:cubicBezTo>
                  <a:cubicBezTo>
                    <a:pt x="127" y="266"/>
                    <a:pt x="127" y="266"/>
                    <a:pt x="127" y="266"/>
                  </a:cubicBezTo>
                  <a:cubicBezTo>
                    <a:pt x="197" y="236"/>
                    <a:pt x="197" y="236"/>
                    <a:pt x="197" y="236"/>
                  </a:cubicBezTo>
                  <a:cubicBezTo>
                    <a:pt x="206" y="128"/>
                    <a:pt x="206" y="128"/>
                    <a:pt x="206" y="128"/>
                  </a:cubicBezTo>
                  <a:cubicBezTo>
                    <a:pt x="207" y="118"/>
                    <a:pt x="207" y="118"/>
                    <a:pt x="207" y="118"/>
                  </a:cubicBezTo>
                  <a:cubicBezTo>
                    <a:pt x="210" y="107"/>
                    <a:pt x="210" y="107"/>
                    <a:pt x="210" y="107"/>
                  </a:cubicBezTo>
                  <a:cubicBezTo>
                    <a:pt x="214" y="97"/>
                    <a:pt x="214" y="97"/>
                    <a:pt x="214" y="97"/>
                  </a:cubicBezTo>
                  <a:cubicBezTo>
                    <a:pt x="216" y="92"/>
                    <a:pt x="216" y="92"/>
                    <a:pt x="216" y="92"/>
                  </a:cubicBezTo>
                  <a:cubicBezTo>
                    <a:pt x="217" y="90"/>
                    <a:pt x="217" y="90"/>
                    <a:pt x="217" y="90"/>
                  </a:cubicBezTo>
                  <a:cubicBezTo>
                    <a:pt x="204" y="90"/>
                    <a:pt x="204" y="90"/>
                    <a:pt x="204" y="90"/>
                  </a:cubicBezTo>
                  <a:cubicBezTo>
                    <a:pt x="185" y="90"/>
                    <a:pt x="185" y="90"/>
                    <a:pt x="185" y="9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1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9" name="Freeform 89"/>
            <p:cNvSpPr>
              <a:spLocks/>
            </p:cNvSpPr>
            <p:nvPr/>
          </p:nvSpPr>
          <p:spPr bwMode="auto">
            <a:xfrm>
              <a:off x="1403651" y="3110512"/>
              <a:ext cx="579329" cy="317975"/>
            </a:xfrm>
            <a:custGeom>
              <a:avLst/>
              <a:gdLst>
                <a:gd name="T0" fmla="*/ 1084 w 1583"/>
                <a:gd name="T1" fmla="*/ 844 h 976"/>
                <a:gd name="T2" fmla="*/ 1002 w 1583"/>
                <a:gd name="T3" fmla="*/ 816 h 976"/>
                <a:gd name="T4" fmla="*/ 987 w 1583"/>
                <a:gd name="T5" fmla="*/ 822 h 976"/>
                <a:gd name="T6" fmla="*/ 845 w 1583"/>
                <a:gd name="T7" fmla="*/ 976 h 976"/>
                <a:gd name="T8" fmla="*/ 0 w 1583"/>
                <a:gd name="T9" fmla="*/ 241 h 976"/>
                <a:gd name="T10" fmla="*/ 2 w 1583"/>
                <a:gd name="T11" fmla="*/ 163 h 976"/>
                <a:gd name="T12" fmla="*/ 40 w 1583"/>
                <a:gd name="T13" fmla="*/ 189 h 976"/>
                <a:gd name="T14" fmla="*/ 190 w 1583"/>
                <a:gd name="T15" fmla="*/ 177 h 976"/>
                <a:gd name="T16" fmla="*/ 250 w 1583"/>
                <a:gd name="T17" fmla="*/ 211 h 976"/>
                <a:gd name="T18" fmla="*/ 468 w 1583"/>
                <a:gd name="T19" fmla="*/ 196 h 976"/>
                <a:gd name="T20" fmla="*/ 605 w 1583"/>
                <a:gd name="T21" fmla="*/ 167 h 976"/>
                <a:gd name="T22" fmla="*/ 674 w 1583"/>
                <a:gd name="T23" fmla="*/ 58 h 976"/>
                <a:gd name="T24" fmla="*/ 1037 w 1583"/>
                <a:gd name="T25" fmla="*/ 110 h 976"/>
                <a:gd name="T26" fmla="*/ 1217 w 1583"/>
                <a:gd name="T27" fmla="*/ 36 h 976"/>
                <a:gd name="T28" fmla="*/ 1374 w 1583"/>
                <a:gd name="T29" fmla="*/ 30 h 976"/>
                <a:gd name="T30" fmla="*/ 1583 w 1583"/>
                <a:gd name="T31" fmla="*/ 381 h 976"/>
                <a:gd name="T32" fmla="*/ 1526 w 1583"/>
                <a:gd name="T33" fmla="*/ 500 h 976"/>
                <a:gd name="T34" fmla="*/ 1419 w 1583"/>
                <a:gd name="T35" fmla="*/ 670 h 976"/>
                <a:gd name="T36" fmla="*/ 1320 w 1583"/>
                <a:gd name="T37" fmla="*/ 734 h 976"/>
                <a:gd name="T38" fmla="*/ 1186 w 1583"/>
                <a:gd name="T39" fmla="*/ 769 h 976"/>
                <a:gd name="T40" fmla="*/ 1093 w 1583"/>
                <a:gd name="T41" fmla="*/ 829 h 976"/>
                <a:gd name="T42" fmla="*/ 1084 w 1583"/>
                <a:gd name="T43" fmla="*/ 844 h 976"/>
                <a:gd name="T44" fmla="*/ 1084 w 1583"/>
                <a:gd name="T45" fmla="*/ 844 h 9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</a:cxnLst>
              <a:rect l="0" t="0" r="r" b="b"/>
              <a:pathLst>
                <a:path w="1583" h="976">
                  <a:moveTo>
                    <a:pt x="1084" y="844"/>
                  </a:moveTo>
                  <a:cubicBezTo>
                    <a:pt x="1002" y="816"/>
                    <a:pt x="1002" y="816"/>
                    <a:pt x="1002" y="816"/>
                  </a:cubicBezTo>
                  <a:cubicBezTo>
                    <a:pt x="987" y="822"/>
                    <a:pt x="987" y="822"/>
                    <a:pt x="987" y="822"/>
                  </a:cubicBezTo>
                  <a:cubicBezTo>
                    <a:pt x="845" y="976"/>
                    <a:pt x="845" y="976"/>
                    <a:pt x="845" y="976"/>
                  </a:cubicBezTo>
                  <a:cubicBezTo>
                    <a:pt x="0" y="241"/>
                    <a:pt x="0" y="241"/>
                    <a:pt x="0" y="241"/>
                  </a:cubicBezTo>
                  <a:cubicBezTo>
                    <a:pt x="2" y="163"/>
                    <a:pt x="2" y="163"/>
                    <a:pt x="2" y="163"/>
                  </a:cubicBezTo>
                  <a:cubicBezTo>
                    <a:pt x="40" y="189"/>
                    <a:pt x="40" y="189"/>
                    <a:pt x="40" y="189"/>
                  </a:cubicBezTo>
                  <a:cubicBezTo>
                    <a:pt x="190" y="177"/>
                    <a:pt x="190" y="177"/>
                    <a:pt x="190" y="177"/>
                  </a:cubicBezTo>
                  <a:cubicBezTo>
                    <a:pt x="250" y="211"/>
                    <a:pt x="250" y="211"/>
                    <a:pt x="250" y="211"/>
                  </a:cubicBezTo>
                  <a:cubicBezTo>
                    <a:pt x="468" y="196"/>
                    <a:pt x="468" y="196"/>
                    <a:pt x="468" y="196"/>
                  </a:cubicBezTo>
                  <a:cubicBezTo>
                    <a:pt x="605" y="167"/>
                    <a:pt x="605" y="167"/>
                    <a:pt x="605" y="167"/>
                  </a:cubicBezTo>
                  <a:cubicBezTo>
                    <a:pt x="674" y="58"/>
                    <a:pt x="674" y="58"/>
                    <a:pt x="674" y="58"/>
                  </a:cubicBezTo>
                  <a:cubicBezTo>
                    <a:pt x="674" y="58"/>
                    <a:pt x="955" y="108"/>
                    <a:pt x="1037" y="110"/>
                  </a:cubicBezTo>
                  <a:cubicBezTo>
                    <a:pt x="1126" y="80"/>
                    <a:pt x="1217" y="36"/>
                    <a:pt x="1217" y="36"/>
                  </a:cubicBezTo>
                  <a:cubicBezTo>
                    <a:pt x="1217" y="36"/>
                    <a:pt x="1293" y="0"/>
                    <a:pt x="1374" y="30"/>
                  </a:cubicBezTo>
                  <a:cubicBezTo>
                    <a:pt x="1455" y="60"/>
                    <a:pt x="1558" y="334"/>
                    <a:pt x="1583" y="381"/>
                  </a:cubicBezTo>
                  <a:cubicBezTo>
                    <a:pt x="1570" y="409"/>
                    <a:pt x="1542" y="465"/>
                    <a:pt x="1526" y="500"/>
                  </a:cubicBezTo>
                  <a:cubicBezTo>
                    <a:pt x="1498" y="560"/>
                    <a:pt x="1464" y="620"/>
                    <a:pt x="1419" y="670"/>
                  </a:cubicBezTo>
                  <a:cubicBezTo>
                    <a:pt x="1393" y="699"/>
                    <a:pt x="1356" y="718"/>
                    <a:pt x="1320" y="734"/>
                  </a:cubicBezTo>
                  <a:cubicBezTo>
                    <a:pt x="1277" y="752"/>
                    <a:pt x="1228" y="751"/>
                    <a:pt x="1186" y="769"/>
                  </a:cubicBezTo>
                  <a:cubicBezTo>
                    <a:pt x="1152" y="783"/>
                    <a:pt x="1116" y="800"/>
                    <a:pt x="1093" y="829"/>
                  </a:cubicBezTo>
                  <a:cubicBezTo>
                    <a:pt x="1090" y="834"/>
                    <a:pt x="1087" y="839"/>
                    <a:pt x="1084" y="844"/>
                  </a:cubicBezTo>
                  <a:cubicBezTo>
                    <a:pt x="1084" y="844"/>
                    <a:pt x="1084" y="844"/>
                    <a:pt x="1084" y="84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0" name="Freeform 90"/>
            <p:cNvSpPr>
              <a:spLocks/>
            </p:cNvSpPr>
            <p:nvPr/>
          </p:nvSpPr>
          <p:spPr bwMode="auto">
            <a:xfrm>
              <a:off x="1166203" y="2238773"/>
              <a:ext cx="384754" cy="460818"/>
            </a:xfrm>
            <a:custGeom>
              <a:avLst/>
              <a:gdLst>
                <a:gd name="T0" fmla="*/ 709 w 1050"/>
                <a:gd name="T1" fmla="*/ 363 h 1413"/>
                <a:gd name="T2" fmla="*/ 763 w 1050"/>
                <a:gd name="T3" fmla="*/ 261 h 1413"/>
                <a:gd name="T4" fmla="*/ 770 w 1050"/>
                <a:gd name="T5" fmla="*/ 208 h 1413"/>
                <a:gd name="T6" fmla="*/ 782 w 1050"/>
                <a:gd name="T7" fmla="*/ 149 h 1413"/>
                <a:gd name="T8" fmla="*/ 763 w 1050"/>
                <a:gd name="T9" fmla="*/ 92 h 1413"/>
                <a:gd name="T10" fmla="*/ 776 w 1050"/>
                <a:gd name="T11" fmla="*/ 29 h 1413"/>
                <a:gd name="T12" fmla="*/ 737 w 1050"/>
                <a:gd name="T13" fmla="*/ 0 h 1413"/>
                <a:gd name="T14" fmla="*/ 639 w 1050"/>
                <a:gd name="T15" fmla="*/ 20 h 1413"/>
                <a:gd name="T16" fmla="*/ 541 w 1050"/>
                <a:gd name="T17" fmla="*/ 10 h 1413"/>
                <a:gd name="T18" fmla="*/ 457 w 1050"/>
                <a:gd name="T19" fmla="*/ 32 h 1413"/>
                <a:gd name="T20" fmla="*/ 169 w 1050"/>
                <a:gd name="T21" fmla="*/ 234 h 1413"/>
                <a:gd name="T22" fmla="*/ 133 w 1050"/>
                <a:gd name="T23" fmla="*/ 305 h 1413"/>
                <a:gd name="T24" fmla="*/ 119 w 1050"/>
                <a:gd name="T25" fmla="*/ 413 h 1413"/>
                <a:gd name="T26" fmla="*/ 124 w 1050"/>
                <a:gd name="T27" fmla="*/ 498 h 1413"/>
                <a:gd name="T28" fmla="*/ 69 w 1050"/>
                <a:gd name="T29" fmla="*/ 583 h 1413"/>
                <a:gd name="T30" fmla="*/ 0 w 1050"/>
                <a:gd name="T31" fmla="*/ 631 h 1413"/>
                <a:gd name="T32" fmla="*/ 45 w 1050"/>
                <a:gd name="T33" fmla="*/ 668 h 1413"/>
                <a:gd name="T34" fmla="*/ 277 w 1050"/>
                <a:gd name="T35" fmla="*/ 724 h 1413"/>
                <a:gd name="T36" fmla="*/ 239 w 1050"/>
                <a:gd name="T37" fmla="*/ 821 h 1413"/>
                <a:gd name="T38" fmla="*/ 132 w 1050"/>
                <a:gd name="T39" fmla="*/ 824 h 1413"/>
                <a:gd name="T40" fmla="*/ 155 w 1050"/>
                <a:gd name="T41" fmla="*/ 887 h 1413"/>
                <a:gd name="T42" fmla="*/ 206 w 1050"/>
                <a:gd name="T43" fmla="*/ 933 h 1413"/>
                <a:gd name="T44" fmla="*/ 167 w 1050"/>
                <a:gd name="T45" fmla="*/ 981 h 1413"/>
                <a:gd name="T46" fmla="*/ 258 w 1050"/>
                <a:gd name="T47" fmla="*/ 1104 h 1413"/>
                <a:gd name="T48" fmla="*/ 233 w 1050"/>
                <a:gd name="T49" fmla="*/ 1188 h 1413"/>
                <a:gd name="T50" fmla="*/ 300 w 1050"/>
                <a:gd name="T51" fmla="*/ 1413 h 1413"/>
                <a:gd name="T52" fmla="*/ 403 w 1050"/>
                <a:gd name="T53" fmla="*/ 1362 h 1413"/>
                <a:gd name="T54" fmla="*/ 358 w 1050"/>
                <a:gd name="T55" fmla="*/ 1268 h 1413"/>
                <a:gd name="T56" fmla="*/ 420 w 1050"/>
                <a:gd name="T57" fmla="*/ 1275 h 1413"/>
                <a:gd name="T58" fmla="*/ 435 w 1050"/>
                <a:gd name="T59" fmla="*/ 1340 h 1413"/>
                <a:gd name="T60" fmla="*/ 488 w 1050"/>
                <a:gd name="T61" fmla="*/ 1371 h 1413"/>
                <a:gd name="T62" fmla="*/ 560 w 1050"/>
                <a:gd name="T63" fmla="*/ 1220 h 1413"/>
                <a:gd name="T64" fmla="*/ 625 w 1050"/>
                <a:gd name="T65" fmla="*/ 1178 h 1413"/>
                <a:gd name="T66" fmla="*/ 754 w 1050"/>
                <a:gd name="T67" fmla="*/ 1114 h 1413"/>
                <a:gd name="T68" fmla="*/ 944 w 1050"/>
                <a:gd name="T69" fmla="*/ 1126 h 1413"/>
                <a:gd name="T70" fmla="*/ 1026 w 1050"/>
                <a:gd name="T71" fmla="*/ 1152 h 1413"/>
                <a:gd name="T72" fmla="*/ 1040 w 1050"/>
                <a:gd name="T73" fmla="*/ 1045 h 1413"/>
                <a:gd name="T74" fmla="*/ 1050 w 1050"/>
                <a:gd name="T75" fmla="*/ 893 h 1413"/>
                <a:gd name="T76" fmla="*/ 979 w 1050"/>
                <a:gd name="T77" fmla="*/ 656 h 1413"/>
                <a:gd name="T78" fmla="*/ 1006 w 1050"/>
                <a:gd name="T79" fmla="*/ 501 h 1413"/>
                <a:gd name="T80" fmla="*/ 1038 w 1050"/>
                <a:gd name="T81" fmla="*/ 411 h 1413"/>
                <a:gd name="T82" fmla="*/ 979 w 1050"/>
                <a:gd name="T83" fmla="*/ 397 h 1413"/>
                <a:gd name="T84" fmla="*/ 925 w 1050"/>
                <a:gd name="T85" fmla="*/ 386 h 1413"/>
                <a:gd name="T86" fmla="*/ 880 w 1050"/>
                <a:gd name="T87" fmla="*/ 382 h 1413"/>
                <a:gd name="T88" fmla="*/ 796 w 1050"/>
                <a:gd name="T89" fmla="*/ 417 h 1413"/>
                <a:gd name="T90" fmla="*/ 742 w 1050"/>
                <a:gd name="T91" fmla="*/ 401 h 1413"/>
                <a:gd name="T92" fmla="*/ 709 w 1050"/>
                <a:gd name="T93" fmla="*/ 370 h 1413"/>
                <a:gd name="T94" fmla="*/ 709 w 1050"/>
                <a:gd name="T95" fmla="*/ 366 h 1413"/>
                <a:gd name="T96" fmla="*/ 709 w 1050"/>
                <a:gd name="T97" fmla="*/ 363 h 14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050" h="1413">
                  <a:moveTo>
                    <a:pt x="709" y="363"/>
                  </a:moveTo>
                  <a:cubicBezTo>
                    <a:pt x="727" y="330"/>
                    <a:pt x="743" y="293"/>
                    <a:pt x="763" y="261"/>
                  </a:cubicBezTo>
                  <a:cubicBezTo>
                    <a:pt x="793" y="251"/>
                    <a:pt x="782" y="230"/>
                    <a:pt x="770" y="208"/>
                  </a:cubicBezTo>
                  <a:cubicBezTo>
                    <a:pt x="752" y="187"/>
                    <a:pt x="772" y="168"/>
                    <a:pt x="782" y="149"/>
                  </a:cubicBezTo>
                  <a:cubicBezTo>
                    <a:pt x="800" y="129"/>
                    <a:pt x="769" y="111"/>
                    <a:pt x="763" y="92"/>
                  </a:cubicBezTo>
                  <a:cubicBezTo>
                    <a:pt x="751" y="73"/>
                    <a:pt x="773" y="50"/>
                    <a:pt x="776" y="29"/>
                  </a:cubicBezTo>
                  <a:cubicBezTo>
                    <a:pt x="796" y="0"/>
                    <a:pt x="755" y="7"/>
                    <a:pt x="737" y="0"/>
                  </a:cubicBezTo>
                  <a:cubicBezTo>
                    <a:pt x="704" y="4"/>
                    <a:pt x="673" y="34"/>
                    <a:pt x="639" y="20"/>
                  </a:cubicBezTo>
                  <a:cubicBezTo>
                    <a:pt x="607" y="12"/>
                    <a:pt x="574" y="2"/>
                    <a:pt x="541" y="10"/>
                  </a:cubicBezTo>
                  <a:cubicBezTo>
                    <a:pt x="512" y="14"/>
                    <a:pt x="479" y="9"/>
                    <a:pt x="457" y="32"/>
                  </a:cubicBezTo>
                  <a:cubicBezTo>
                    <a:pt x="361" y="100"/>
                    <a:pt x="264" y="166"/>
                    <a:pt x="169" y="234"/>
                  </a:cubicBezTo>
                  <a:cubicBezTo>
                    <a:pt x="151" y="255"/>
                    <a:pt x="136" y="277"/>
                    <a:pt x="133" y="305"/>
                  </a:cubicBezTo>
                  <a:cubicBezTo>
                    <a:pt x="125" y="340"/>
                    <a:pt x="111" y="376"/>
                    <a:pt x="119" y="413"/>
                  </a:cubicBezTo>
                  <a:cubicBezTo>
                    <a:pt x="120" y="441"/>
                    <a:pt x="127" y="471"/>
                    <a:pt x="124" y="498"/>
                  </a:cubicBezTo>
                  <a:cubicBezTo>
                    <a:pt x="105" y="526"/>
                    <a:pt x="91" y="559"/>
                    <a:pt x="69" y="583"/>
                  </a:cubicBezTo>
                  <a:cubicBezTo>
                    <a:pt x="46" y="599"/>
                    <a:pt x="23" y="615"/>
                    <a:pt x="0" y="631"/>
                  </a:cubicBezTo>
                  <a:cubicBezTo>
                    <a:pt x="2" y="658"/>
                    <a:pt x="21" y="666"/>
                    <a:pt x="45" y="668"/>
                  </a:cubicBezTo>
                  <a:cubicBezTo>
                    <a:pt x="122" y="687"/>
                    <a:pt x="200" y="705"/>
                    <a:pt x="277" y="724"/>
                  </a:cubicBezTo>
                  <a:cubicBezTo>
                    <a:pt x="264" y="756"/>
                    <a:pt x="252" y="789"/>
                    <a:pt x="239" y="821"/>
                  </a:cubicBezTo>
                  <a:cubicBezTo>
                    <a:pt x="203" y="822"/>
                    <a:pt x="168" y="823"/>
                    <a:pt x="132" y="824"/>
                  </a:cubicBezTo>
                  <a:cubicBezTo>
                    <a:pt x="138" y="846"/>
                    <a:pt x="131" y="874"/>
                    <a:pt x="155" y="887"/>
                  </a:cubicBezTo>
                  <a:cubicBezTo>
                    <a:pt x="172" y="902"/>
                    <a:pt x="189" y="918"/>
                    <a:pt x="206" y="933"/>
                  </a:cubicBezTo>
                  <a:cubicBezTo>
                    <a:pt x="195" y="950"/>
                    <a:pt x="170" y="965"/>
                    <a:pt x="167" y="981"/>
                  </a:cubicBezTo>
                  <a:cubicBezTo>
                    <a:pt x="197" y="1022"/>
                    <a:pt x="228" y="1063"/>
                    <a:pt x="258" y="1104"/>
                  </a:cubicBezTo>
                  <a:cubicBezTo>
                    <a:pt x="251" y="1132"/>
                    <a:pt x="237" y="1160"/>
                    <a:pt x="233" y="1188"/>
                  </a:cubicBezTo>
                  <a:cubicBezTo>
                    <a:pt x="255" y="1263"/>
                    <a:pt x="278" y="1338"/>
                    <a:pt x="300" y="1413"/>
                  </a:cubicBezTo>
                  <a:cubicBezTo>
                    <a:pt x="334" y="1396"/>
                    <a:pt x="369" y="1379"/>
                    <a:pt x="403" y="1362"/>
                  </a:cubicBezTo>
                  <a:cubicBezTo>
                    <a:pt x="388" y="1331"/>
                    <a:pt x="373" y="1299"/>
                    <a:pt x="358" y="1268"/>
                  </a:cubicBezTo>
                  <a:cubicBezTo>
                    <a:pt x="377" y="1273"/>
                    <a:pt x="411" y="1260"/>
                    <a:pt x="420" y="1275"/>
                  </a:cubicBezTo>
                  <a:cubicBezTo>
                    <a:pt x="426" y="1296"/>
                    <a:pt x="420" y="1324"/>
                    <a:pt x="435" y="1340"/>
                  </a:cubicBezTo>
                  <a:cubicBezTo>
                    <a:pt x="452" y="1348"/>
                    <a:pt x="474" y="1372"/>
                    <a:pt x="488" y="1371"/>
                  </a:cubicBezTo>
                  <a:cubicBezTo>
                    <a:pt x="497" y="1315"/>
                    <a:pt x="535" y="1270"/>
                    <a:pt x="560" y="1220"/>
                  </a:cubicBezTo>
                  <a:cubicBezTo>
                    <a:pt x="572" y="1195"/>
                    <a:pt x="604" y="1193"/>
                    <a:pt x="625" y="1178"/>
                  </a:cubicBezTo>
                  <a:cubicBezTo>
                    <a:pt x="668" y="1157"/>
                    <a:pt x="710" y="1132"/>
                    <a:pt x="754" y="1114"/>
                  </a:cubicBezTo>
                  <a:cubicBezTo>
                    <a:pt x="818" y="1118"/>
                    <a:pt x="882" y="1118"/>
                    <a:pt x="944" y="1126"/>
                  </a:cubicBezTo>
                  <a:cubicBezTo>
                    <a:pt x="972" y="1134"/>
                    <a:pt x="999" y="1145"/>
                    <a:pt x="1026" y="1152"/>
                  </a:cubicBezTo>
                  <a:cubicBezTo>
                    <a:pt x="1026" y="1119"/>
                    <a:pt x="1036" y="1080"/>
                    <a:pt x="1040" y="1045"/>
                  </a:cubicBezTo>
                  <a:cubicBezTo>
                    <a:pt x="1045" y="995"/>
                    <a:pt x="1048" y="943"/>
                    <a:pt x="1050" y="893"/>
                  </a:cubicBezTo>
                  <a:cubicBezTo>
                    <a:pt x="1027" y="814"/>
                    <a:pt x="1000" y="735"/>
                    <a:pt x="979" y="656"/>
                  </a:cubicBezTo>
                  <a:cubicBezTo>
                    <a:pt x="986" y="604"/>
                    <a:pt x="983" y="550"/>
                    <a:pt x="1006" y="501"/>
                  </a:cubicBezTo>
                  <a:cubicBezTo>
                    <a:pt x="1019" y="474"/>
                    <a:pt x="1027" y="441"/>
                    <a:pt x="1038" y="411"/>
                  </a:cubicBezTo>
                  <a:cubicBezTo>
                    <a:pt x="1018" y="405"/>
                    <a:pt x="999" y="379"/>
                    <a:pt x="979" y="397"/>
                  </a:cubicBezTo>
                  <a:cubicBezTo>
                    <a:pt x="958" y="416"/>
                    <a:pt x="940" y="408"/>
                    <a:pt x="925" y="386"/>
                  </a:cubicBezTo>
                  <a:cubicBezTo>
                    <a:pt x="909" y="366"/>
                    <a:pt x="894" y="352"/>
                    <a:pt x="880" y="382"/>
                  </a:cubicBezTo>
                  <a:cubicBezTo>
                    <a:pt x="864" y="414"/>
                    <a:pt x="821" y="396"/>
                    <a:pt x="796" y="417"/>
                  </a:cubicBezTo>
                  <a:cubicBezTo>
                    <a:pt x="776" y="439"/>
                    <a:pt x="760" y="413"/>
                    <a:pt x="742" y="401"/>
                  </a:cubicBezTo>
                  <a:cubicBezTo>
                    <a:pt x="719" y="397"/>
                    <a:pt x="704" y="405"/>
                    <a:pt x="709" y="370"/>
                  </a:cubicBezTo>
                  <a:cubicBezTo>
                    <a:pt x="709" y="366"/>
                    <a:pt x="709" y="366"/>
                    <a:pt x="709" y="366"/>
                  </a:cubicBezTo>
                  <a:cubicBezTo>
                    <a:pt x="709" y="363"/>
                    <a:pt x="709" y="363"/>
                    <a:pt x="709" y="363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1" name="Freeform 91"/>
            <p:cNvSpPr>
              <a:spLocks/>
            </p:cNvSpPr>
            <p:nvPr/>
          </p:nvSpPr>
          <p:spPr bwMode="auto">
            <a:xfrm>
              <a:off x="1345390" y="1794586"/>
              <a:ext cx="379257" cy="442229"/>
            </a:xfrm>
            <a:custGeom>
              <a:avLst/>
              <a:gdLst>
                <a:gd name="T0" fmla="*/ 616 w 1035"/>
                <a:gd name="T1" fmla="*/ 406 h 1356"/>
                <a:gd name="T2" fmla="*/ 482 w 1035"/>
                <a:gd name="T3" fmla="*/ 363 h 1356"/>
                <a:gd name="T4" fmla="*/ 450 w 1035"/>
                <a:gd name="T5" fmla="*/ 45 h 1356"/>
                <a:gd name="T6" fmla="*/ 344 w 1035"/>
                <a:gd name="T7" fmla="*/ 56 h 1356"/>
                <a:gd name="T8" fmla="*/ 347 w 1035"/>
                <a:gd name="T9" fmla="*/ 2 h 1356"/>
                <a:gd name="T10" fmla="*/ 270 w 1035"/>
                <a:gd name="T11" fmla="*/ 48 h 1356"/>
                <a:gd name="T12" fmla="*/ 239 w 1035"/>
                <a:gd name="T13" fmla="*/ 101 h 1356"/>
                <a:gd name="T14" fmla="*/ 80 w 1035"/>
                <a:gd name="T15" fmla="*/ 222 h 1356"/>
                <a:gd name="T16" fmla="*/ 141 w 1035"/>
                <a:gd name="T17" fmla="*/ 314 h 1356"/>
                <a:gd name="T18" fmla="*/ 53 w 1035"/>
                <a:gd name="T19" fmla="*/ 364 h 1356"/>
                <a:gd name="T20" fmla="*/ 0 w 1035"/>
                <a:gd name="T21" fmla="*/ 391 h 1356"/>
                <a:gd name="T22" fmla="*/ 92 w 1035"/>
                <a:gd name="T23" fmla="*/ 475 h 1356"/>
                <a:gd name="T24" fmla="*/ 68 w 1035"/>
                <a:gd name="T25" fmla="*/ 555 h 1356"/>
                <a:gd name="T26" fmla="*/ 110 w 1035"/>
                <a:gd name="T27" fmla="*/ 587 h 1356"/>
                <a:gd name="T28" fmla="*/ 209 w 1035"/>
                <a:gd name="T29" fmla="*/ 563 h 1356"/>
                <a:gd name="T30" fmla="*/ 261 w 1035"/>
                <a:gd name="T31" fmla="*/ 644 h 1356"/>
                <a:gd name="T32" fmla="*/ 178 w 1035"/>
                <a:gd name="T33" fmla="*/ 695 h 1356"/>
                <a:gd name="T34" fmla="*/ 182 w 1035"/>
                <a:gd name="T35" fmla="*/ 755 h 1356"/>
                <a:gd name="T36" fmla="*/ 209 w 1035"/>
                <a:gd name="T37" fmla="*/ 806 h 1356"/>
                <a:gd name="T38" fmla="*/ 180 w 1035"/>
                <a:gd name="T39" fmla="*/ 860 h 1356"/>
                <a:gd name="T40" fmla="*/ 157 w 1035"/>
                <a:gd name="T41" fmla="*/ 914 h 1356"/>
                <a:gd name="T42" fmla="*/ 192 w 1035"/>
                <a:gd name="T43" fmla="*/ 979 h 1356"/>
                <a:gd name="T44" fmla="*/ 259 w 1035"/>
                <a:gd name="T45" fmla="*/ 991 h 1356"/>
                <a:gd name="T46" fmla="*/ 336 w 1035"/>
                <a:gd name="T47" fmla="*/ 1081 h 1356"/>
                <a:gd name="T48" fmla="*/ 416 w 1035"/>
                <a:gd name="T49" fmla="*/ 1145 h 1356"/>
                <a:gd name="T50" fmla="*/ 543 w 1035"/>
                <a:gd name="T51" fmla="*/ 1219 h 1356"/>
                <a:gd name="T52" fmla="*/ 615 w 1035"/>
                <a:gd name="T53" fmla="*/ 1252 h 1356"/>
                <a:gd name="T54" fmla="*/ 750 w 1035"/>
                <a:gd name="T55" fmla="*/ 1356 h 1356"/>
                <a:gd name="T56" fmla="*/ 948 w 1035"/>
                <a:gd name="T57" fmla="*/ 1204 h 1356"/>
                <a:gd name="T58" fmla="*/ 1035 w 1035"/>
                <a:gd name="T59" fmla="*/ 1147 h 1356"/>
                <a:gd name="T60" fmla="*/ 986 w 1035"/>
                <a:gd name="T61" fmla="*/ 1081 h 1356"/>
                <a:gd name="T62" fmla="*/ 871 w 1035"/>
                <a:gd name="T63" fmla="*/ 1043 h 1356"/>
                <a:gd name="T64" fmla="*/ 760 w 1035"/>
                <a:gd name="T65" fmla="*/ 1013 h 1356"/>
                <a:gd name="T66" fmla="*/ 785 w 1035"/>
                <a:gd name="T67" fmla="*/ 893 h 1356"/>
                <a:gd name="T68" fmla="*/ 795 w 1035"/>
                <a:gd name="T69" fmla="*/ 863 h 1356"/>
                <a:gd name="T70" fmla="*/ 738 w 1035"/>
                <a:gd name="T71" fmla="*/ 830 h 1356"/>
                <a:gd name="T72" fmla="*/ 712 w 1035"/>
                <a:gd name="T73" fmla="*/ 726 h 1356"/>
                <a:gd name="T74" fmla="*/ 696 w 1035"/>
                <a:gd name="T75" fmla="*/ 635 h 1356"/>
                <a:gd name="T76" fmla="*/ 616 w 1035"/>
                <a:gd name="T77" fmla="*/ 406 h 13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035" h="1356">
                  <a:moveTo>
                    <a:pt x="616" y="406"/>
                  </a:moveTo>
                  <a:cubicBezTo>
                    <a:pt x="571" y="393"/>
                    <a:pt x="522" y="390"/>
                    <a:pt x="482" y="363"/>
                  </a:cubicBezTo>
                  <a:cubicBezTo>
                    <a:pt x="471" y="257"/>
                    <a:pt x="461" y="151"/>
                    <a:pt x="450" y="45"/>
                  </a:cubicBezTo>
                  <a:cubicBezTo>
                    <a:pt x="415" y="49"/>
                    <a:pt x="379" y="52"/>
                    <a:pt x="344" y="56"/>
                  </a:cubicBezTo>
                  <a:cubicBezTo>
                    <a:pt x="343" y="41"/>
                    <a:pt x="359" y="0"/>
                    <a:pt x="347" y="2"/>
                  </a:cubicBezTo>
                  <a:cubicBezTo>
                    <a:pt x="321" y="18"/>
                    <a:pt x="295" y="33"/>
                    <a:pt x="270" y="48"/>
                  </a:cubicBezTo>
                  <a:cubicBezTo>
                    <a:pt x="269" y="71"/>
                    <a:pt x="261" y="91"/>
                    <a:pt x="239" y="101"/>
                  </a:cubicBezTo>
                  <a:cubicBezTo>
                    <a:pt x="186" y="142"/>
                    <a:pt x="133" y="182"/>
                    <a:pt x="80" y="222"/>
                  </a:cubicBezTo>
                  <a:cubicBezTo>
                    <a:pt x="101" y="253"/>
                    <a:pt x="121" y="284"/>
                    <a:pt x="141" y="314"/>
                  </a:cubicBezTo>
                  <a:cubicBezTo>
                    <a:pt x="121" y="343"/>
                    <a:pt x="82" y="347"/>
                    <a:pt x="53" y="364"/>
                  </a:cubicBezTo>
                  <a:cubicBezTo>
                    <a:pt x="37" y="373"/>
                    <a:pt x="6" y="380"/>
                    <a:pt x="0" y="391"/>
                  </a:cubicBezTo>
                  <a:cubicBezTo>
                    <a:pt x="31" y="419"/>
                    <a:pt x="61" y="447"/>
                    <a:pt x="92" y="475"/>
                  </a:cubicBezTo>
                  <a:cubicBezTo>
                    <a:pt x="85" y="501"/>
                    <a:pt x="70" y="529"/>
                    <a:pt x="68" y="555"/>
                  </a:cubicBezTo>
                  <a:cubicBezTo>
                    <a:pt x="78" y="574"/>
                    <a:pt x="83" y="603"/>
                    <a:pt x="110" y="587"/>
                  </a:cubicBezTo>
                  <a:cubicBezTo>
                    <a:pt x="143" y="579"/>
                    <a:pt x="176" y="571"/>
                    <a:pt x="209" y="563"/>
                  </a:cubicBezTo>
                  <a:cubicBezTo>
                    <a:pt x="227" y="590"/>
                    <a:pt x="244" y="617"/>
                    <a:pt x="261" y="644"/>
                  </a:cubicBezTo>
                  <a:cubicBezTo>
                    <a:pt x="233" y="661"/>
                    <a:pt x="206" y="678"/>
                    <a:pt x="178" y="695"/>
                  </a:cubicBezTo>
                  <a:cubicBezTo>
                    <a:pt x="197" y="713"/>
                    <a:pt x="189" y="734"/>
                    <a:pt x="182" y="755"/>
                  </a:cubicBezTo>
                  <a:cubicBezTo>
                    <a:pt x="169" y="778"/>
                    <a:pt x="198" y="790"/>
                    <a:pt x="209" y="806"/>
                  </a:cubicBezTo>
                  <a:cubicBezTo>
                    <a:pt x="212" y="823"/>
                    <a:pt x="188" y="842"/>
                    <a:pt x="180" y="860"/>
                  </a:cubicBezTo>
                  <a:cubicBezTo>
                    <a:pt x="175" y="878"/>
                    <a:pt x="146" y="895"/>
                    <a:pt x="157" y="914"/>
                  </a:cubicBezTo>
                  <a:cubicBezTo>
                    <a:pt x="169" y="935"/>
                    <a:pt x="181" y="957"/>
                    <a:pt x="192" y="979"/>
                  </a:cubicBezTo>
                  <a:cubicBezTo>
                    <a:pt x="215" y="981"/>
                    <a:pt x="244" y="966"/>
                    <a:pt x="259" y="991"/>
                  </a:cubicBezTo>
                  <a:cubicBezTo>
                    <a:pt x="287" y="1019"/>
                    <a:pt x="321" y="1043"/>
                    <a:pt x="336" y="1081"/>
                  </a:cubicBezTo>
                  <a:cubicBezTo>
                    <a:pt x="349" y="1116"/>
                    <a:pt x="388" y="1124"/>
                    <a:pt x="416" y="1145"/>
                  </a:cubicBezTo>
                  <a:cubicBezTo>
                    <a:pt x="458" y="1169"/>
                    <a:pt x="499" y="1197"/>
                    <a:pt x="543" y="1219"/>
                  </a:cubicBezTo>
                  <a:cubicBezTo>
                    <a:pt x="570" y="1225"/>
                    <a:pt x="596" y="1232"/>
                    <a:pt x="615" y="1252"/>
                  </a:cubicBezTo>
                  <a:cubicBezTo>
                    <a:pt x="660" y="1287"/>
                    <a:pt x="705" y="1322"/>
                    <a:pt x="750" y="1356"/>
                  </a:cubicBezTo>
                  <a:cubicBezTo>
                    <a:pt x="815" y="1304"/>
                    <a:pt x="876" y="1247"/>
                    <a:pt x="948" y="1204"/>
                  </a:cubicBezTo>
                  <a:cubicBezTo>
                    <a:pt x="977" y="1185"/>
                    <a:pt x="1006" y="1166"/>
                    <a:pt x="1035" y="1147"/>
                  </a:cubicBezTo>
                  <a:cubicBezTo>
                    <a:pt x="1021" y="1123"/>
                    <a:pt x="1014" y="1092"/>
                    <a:pt x="986" y="1081"/>
                  </a:cubicBezTo>
                  <a:cubicBezTo>
                    <a:pt x="953" y="1057"/>
                    <a:pt x="909" y="1056"/>
                    <a:pt x="871" y="1043"/>
                  </a:cubicBezTo>
                  <a:cubicBezTo>
                    <a:pt x="834" y="1033"/>
                    <a:pt x="797" y="1023"/>
                    <a:pt x="760" y="1013"/>
                  </a:cubicBezTo>
                  <a:cubicBezTo>
                    <a:pt x="768" y="973"/>
                    <a:pt x="777" y="933"/>
                    <a:pt x="785" y="893"/>
                  </a:cubicBezTo>
                  <a:cubicBezTo>
                    <a:pt x="809" y="883"/>
                    <a:pt x="831" y="873"/>
                    <a:pt x="795" y="863"/>
                  </a:cubicBezTo>
                  <a:cubicBezTo>
                    <a:pt x="777" y="851"/>
                    <a:pt x="753" y="844"/>
                    <a:pt x="738" y="830"/>
                  </a:cubicBezTo>
                  <a:cubicBezTo>
                    <a:pt x="726" y="796"/>
                    <a:pt x="708" y="763"/>
                    <a:pt x="712" y="726"/>
                  </a:cubicBezTo>
                  <a:cubicBezTo>
                    <a:pt x="714" y="694"/>
                    <a:pt x="709" y="664"/>
                    <a:pt x="696" y="635"/>
                  </a:cubicBezTo>
                  <a:cubicBezTo>
                    <a:pt x="669" y="559"/>
                    <a:pt x="643" y="482"/>
                    <a:pt x="616" y="406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2" name="Freeform 92"/>
            <p:cNvSpPr>
              <a:spLocks/>
            </p:cNvSpPr>
            <p:nvPr/>
          </p:nvSpPr>
          <p:spPr bwMode="auto">
            <a:xfrm>
              <a:off x="1804894" y="2091035"/>
              <a:ext cx="361669" cy="346348"/>
            </a:xfrm>
            <a:custGeom>
              <a:avLst/>
              <a:gdLst>
                <a:gd name="T0" fmla="*/ 0 w 986"/>
                <a:gd name="T1" fmla="*/ 125 h 1064"/>
                <a:gd name="T2" fmla="*/ 62 w 986"/>
                <a:gd name="T3" fmla="*/ 81 h 1064"/>
                <a:gd name="T4" fmla="*/ 88 w 986"/>
                <a:gd name="T5" fmla="*/ 0 h 1064"/>
                <a:gd name="T6" fmla="*/ 209 w 986"/>
                <a:gd name="T7" fmla="*/ 29 h 1064"/>
                <a:gd name="T8" fmla="*/ 308 w 986"/>
                <a:gd name="T9" fmla="*/ 13 h 1064"/>
                <a:gd name="T10" fmla="*/ 361 w 986"/>
                <a:gd name="T11" fmla="*/ 15 h 1064"/>
                <a:gd name="T12" fmla="*/ 444 w 986"/>
                <a:gd name="T13" fmla="*/ 84 h 1064"/>
                <a:gd name="T14" fmla="*/ 494 w 986"/>
                <a:gd name="T15" fmla="*/ 146 h 1064"/>
                <a:gd name="T16" fmla="*/ 839 w 986"/>
                <a:gd name="T17" fmla="*/ 743 h 1064"/>
                <a:gd name="T18" fmla="*/ 863 w 986"/>
                <a:gd name="T19" fmla="*/ 730 h 1064"/>
                <a:gd name="T20" fmla="*/ 986 w 986"/>
                <a:gd name="T21" fmla="*/ 923 h 1064"/>
                <a:gd name="T22" fmla="*/ 899 w 986"/>
                <a:gd name="T23" fmla="*/ 971 h 1064"/>
                <a:gd name="T24" fmla="*/ 648 w 986"/>
                <a:gd name="T25" fmla="*/ 992 h 1064"/>
                <a:gd name="T26" fmla="*/ 475 w 986"/>
                <a:gd name="T27" fmla="*/ 1064 h 1064"/>
                <a:gd name="T28" fmla="*/ 287 w 986"/>
                <a:gd name="T29" fmla="*/ 528 h 1064"/>
                <a:gd name="T30" fmla="*/ 281 w 986"/>
                <a:gd name="T31" fmla="*/ 396 h 1064"/>
                <a:gd name="T32" fmla="*/ 204 w 986"/>
                <a:gd name="T33" fmla="*/ 355 h 1064"/>
                <a:gd name="T34" fmla="*/ 36 w 986"/>
                <a:gd name="T35" fmla="*/ 210 h 1064"/>
                <a:gd name="T36" fmla="*/ 0 w 986"/>
                <a:gd name="T37" fmla="*/ 125 h 1064"/>
                <a:gd name="T38" fmla="*/ 0 w 986"/>
                <a:gd name="T39" fmla="*/ 125 h 10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986" h="1064">
                  <a:moveTo>
                    <a:pt x="0" y="125"/>
                  </a:moveTo>
                  <a:cubicBezTo>
                    <a:pt x="62" y="81"/>
                    <a:pt x="62" y="81"/>
                    <a:pt x="62" y="81"/>
                  </a:cubicBezTo>
                  <a:cubicBezTo>
                    <a:pt x="88" y="0"/>
                    <a:pt x="88" y="0"/>
                    <a:pt x="88" y="0"/>
                  </a:cubicBezTo>
                  <a:cubicBezTo>
                    <a:pt x="209" y="29"/>
                    <a:pt x="209" y="29"/>
                    <a:pt x="209" y="29"/>
                  </a:cubicBezTo>
                  <a:cubicBezTo>
                    <a:pt x="308" y="13"/>
                    <a:pt x="308" y="13"/>
                    <a:pt x="308" y="13"/>
                  </a:cubicBezTo>
                  <a:cubicBezTo>
                    <a:pt x="361" y="15"/>
                    <a:pt x="361" y="15"/>
                    <a:pt x="361" y="15"/>
                  </a:cubicBezTo>
                  <a:cubicBezTo>
                    <a:pt x="444" y="84"/>
                    <a:pt x="444" y="84"/>
                    <a:pt x="444" y="84"/>
                  </a:cubicBezTo>
                  <a:cubicBezTo>
                    <a:pt x="494" y="146"/>
                    <a:pt x="494" y="146"/>
                    <a:pt x="494" y="146"/>
                  </a:cubicBezTo>
                  <a:cubicBezTo>
                    <a:pt x="839" y="743"/>
                    <a:pt x="839" y="743"/>
                    <a:pt x="839" y="743"/>
                  </a:cubicBezTo>
                  <a:cubicBezTo>
                    <a:pt x="863" y="730"/>
                    <a:pt x="863" y="730"/>
                    <a:pt x="863" y="730"/>
                  </a:cubicBezTo>
                  <a:cubicBezTo>
                    <a:pt x="986" y="923"/>
                    <a:pt x="986" y="923"/>
                    <a:pt x="986" y="923"/>
                  </a:cubicBezTo>
                  <a:cubicBezTo>
                    <a:pt x="899" y="971"/>
                    <a:pt x="899" y="971"/>
                    <a:pt x="899" y="971"/>
                  </a:cubicBezTo>
                  <a:cubicBezTo>
                    <a:pt x="648" y="992"/>
                    <a:pt x="648" y="992"/>
                    <a:pt x="648" y="992"/>
                  </a:cubicBezTo>
                  <a:cubicBezTo>
                    <a:pt x="475" y="1064"/>
                    <a:pt x="475" y="1064"/>
                    <a:pt x="475" y="1064"/>
                  </a:cubicBezTo>
                  <a:cubicBezTo>
                    <a:pt x="405" y="884"/>
                    <a:pt x="349" y="715"/>
                    <a:pt x="287" y="528"/>
                  </a:cubicBezTo>
                  <a:cubicBezTo>
                    <a:pt x="281" y="396"/>
                    <a:pt x="281" y="396"/>
                    <a:pt x="281" y="396"/>
                  </a:cubicBezTo>
                  <a:cubicBezTo>
                    <a:pt x="204" y="355"/>
                    <a:pt x="204" y="355"/>
                    <a:pt x="204" y="355"/>
                  </a:cubicBezTo>
                  <a:cubicBezTo>
                    <a:pt x="36" y="210"/>
                    <a:pt x="36" y="210"/>
                    <a:pt x="36" y="210"/>
                  </a:cubicBezTo>
                  <a:cubicBezTo>
                    <a:pt x="0" y="125"/>
                    <a:pt x="0" y="125"/>
                    <a:pt x="0" y="125"/>
                  </a:cubicBezTo>
                  <a:cubicBezTo>
                    <a:pt x="0" y="125"/>
                    <a:pt x="0" y="125"/>
                    <a:pt x="0" y="125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3" name="Freeform 93"/>
            <p:cNvSpPr>
              <a:spLocks/>
            </p:cNvSpPr>
            <p:nvPr/>
          </p:nvSpPr>
          <p:spPr bwMode="auto">
            <a:xfrm>
              <a:off x="1936809" y="2075382"/>
              <a:ext cx="340783" cy="316016"/>
            </a:xfrm>
            <a:custGeom>
              <a:avLst/>
              <a:gdLst>
                <a:gd name="T0" fmla="*/ 134 w 929"/>
                <a:gd name="T1" fmla="*/ 193 h 969"/>
                <a:gd name="T2" fmla="*/ 52 w 929"/>
                <a:gd name="T3" fmla="*/ 104 h 969"/>
                <a:gd name="T4" fmla="*/ 0 w 929"/>
                <a:gd name="T5" fmla="*/ 62 h 969"/>
                <a:gd name="T6" fmla="*/ 157 w 929"/>
                <a:gd name="T7" fmla="*/ 37 h 969"/>
                <a:gd name="T8" fmla="*/ 250 w 929"/>
                <a:gd name="T9" fmla="*/ 0 h 969"/>
                <a:gd name="T10" fmla="*/ 929 w 929"/>
                <a:gd name="T11" fmla="*/ 523 h 969"/>
                <a:gd name="T12" fmla="*/ 767 w 929"/>
                <a:gd name="T13" fmla="*/ 680 h 969"/>
                <a:gd name="T14" fmla="*/ 872 w 929"/>
                <a:gd name="T15" fmla="*/ 816 h 969"/>
                <a:gd name="T16" fmla="*/ 626 w 929"/>
                <a:gd name="T17" fmla="*/ 969 h 969"/>
                <a:gd name="T18" fmla="*/ 503 w 929"/>
                <a:gd name="T19" fmla="*/ 777 h 969"/>
                <a:gd name="T20" fmla="*/ 467 w 929"/>
                <a:gd name="T21" fmla="*/ 768 h 969"/>
                <a:gd name="T22" fmla="*/ 134 w 929"/>
                <a:gd name="T23" fmla="*/ 193 h 9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929" h="969">
                  <a:moveTo>
                    <a:pt x="134" y="193"/>
                  </a:moveTo>
                  <a:cubicBezTo>
                    <a:pt x="108" y="162"/>
                    <a:pt x="86" y="127"/>
                    <a:pt x="52" y="104"/>
                  </a:cubicBezTo>
                  <a:cubicBezTo>
                    <a:pt x="35" y="90"/>
                    <a:pt x="18" y="76"/>
                    <a:pt x="0" y="62"/>
                  </a:cubicBezTo>
                  <a:cubicBezTo>
                    <a:pt x="53" y="53"/>
                    <a:pt x="106" y="48"/>
                    <a:pt x="157" y="37"/>
                  </a:cubicBezTo>
                  <a:cubicBezTo>
                    <a:pt x="188" y="25"/>
                    <a:pt x="219" y="12"/>
                    <a:pt x="250" y="0"/>
                  </a:cubicBezTo>
                  <a:cubicBezTo>
                    <a:pt x="477" y="174"/>
                    <a:pt x="703" y="349"/>
                    <a:pt x="929" y="523"/>
                  </a:cubicBezTo>
                  <a:cubicBezTo>
                    <a:pt x="875" y="575"/>
                    <a:pt x="821" y="628"/>
                    <a:pt x="767" y="680"/>
                  </a:cubicBezTo>
                  <a:cubicBezTo>
                    <a:pt x="802" y="725"/>
                    <a:pt x="837" y="771"/>
                    <a:pt x="872" y="816"/>
                  </a:cubicBezTo>
                  <a:cubicBezTo>
                    <a:pt x="790" y="867"/>
                    <a:pt x="708" y="918"/>
                    <a:pt x="626" y="969"/>
                  </a:cubicBezTo>
                  <a:cubicBezTo>
                    <a:pt x="585" y="905"/>
                    <a:pt x="544" y="841"/>
                    <a:pt x="503" y="777"/>
                  </a:cubicBezTo>
                  <a:cubicBezTo>
                    <a:pt x="486" y="791"/>
                    <a:pt x="473" y="791"/>
                    <a:pt x="467" y="768"/>
                  </a:cubicBezTo>
                  <a:cubicBezTo>
                    <a:pt x="356" y="577"/>
                    <a:pt x="245" y="385"/>
                    <a:pt x="134" y="193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4" name="Freeform 94"/>
            <p:cNvSpPr>
              <a:spLocks noEditPoints="1"/>
            </p:cNvSpPr>
            <p:nvPr/>
          </p:nvSpPr>
          <p:spPr bwMode="auto">
            <a:xfrm>
              <a:off x="1965391" y="2245622"/>
              <a:ext cx="555145" cy="294494"/>
            </a:xfrm>
            <a:custGeom>
              <a:avLst/>
              <a:gdLst>
                <a:gd name="T0" fmla="*/ 852 w 1517"/>
                <a:gd name="T1" fmla="*/ 0 h 901"/>
                <a:gd name="T2" fmla="*/ 1308 w 1517"/>
                <a:gd name="T3" fmla="*/ 346 h 901"/>
                <a:gd name="T4" fmla="*/ 1517 w 1517"/>
                <a:gd name="T5" fmla="*/ 569 h 901"/>
                <a:gd name="T6" fmla="*/ 1404 w 1517"/>
                <a:gd name="T7" fmla="*/ 625 h 901"/>
                <a:gd name="T8" fmla="*/ 981 w 1517"/>
                <a:gd name="T9" fmla="*/ 788 h 901"/>
                <a:gd name="T10" fmla="*/ 971 w 1517"/>
                <a:gd name="T11" fmla="*/ 771 h 901"/>
                <a:gd name="T12" fmla="*/ 895 w 1517"/>
                <a:gd name="T13" fmla="*/ 788 h 901"/>
                <a:gd name="T14" fmla="*/ 856 w 1517"/>
                <a:gd name="T15" fmla="*/ 879 h 901"/>
                <a:gd name="T16" fmla="*/ 688 w 1517"/>
                <a:gd name="T17" fmla="*/ 901 h 901"/>
                <a:gd name="T18" fmla="*/ 503 w 1517"/>
                <a:gd name="T19" fmla="*/ 839 h 901"/>
                <a:gd name="T20" fmla="*/ 296 w 1517"/>
                <a:gd name="T21" fmla="*/ 839 h 901"/>
                <a:gd name="T22" fmla="*/ 267 w 1517"/>
                <a:gd name="T23" fmla="*/ 778 h 901"/>
                <a:gd name="T24" fmla="*/ 130 w 1517"/>
                <a:gd name="T25" fmla="*/ 834 h 901"/>
                <a:gd name="T26" fmla="*/ 101 w 1517"/>
                <a:gd name="T27" fmla="*/ 810 h 901"/>
                <a:gd name="T28" fmla="*/ 122 w 1517"/>
                <a:gd name="T29" fmla="*/ 779 h 901"/>
                <a:gd name="T30" fmla="*/ 40 w 1517"/>
                <a:gd name="T31" fmla="*/ 593 h 901"/>
                <a:gd name="T32" fmla="*/ 38 w 1517"/>
                <a:gd name="T33" fmla="*/ 588 h 901"/>
                <a:gd name="T34" fmla="*/ 211 w 1517"/>
                <a:gd name="T35" fmla="*/ 516 h 901"/>
                <a:gd name="T36" fmla="*/ 462 w 1517"/>
                <a:gd name="T37" fmla="*/ 495 h 901"/>
                <a:gd name="T38" fmla="*/ 549 w 1517"/>
                <a:gd name="T39" fmla="*/ 447 h 901"/>
                <a:gd name="T40" fmla="*/ 549 w 1517"/>
                <a:gd name="T41" fmla="*/ 446 h 901"/>
                <a:gd name="T42" fmla="*/ 795 w 1517"/>
                <a:gd name="T43" fmla="*/ 293 h 901"/>
                <a:gd name="T44" fmla="*/ 690 w 1517"/>
                <a:gd name="T45" fmla="*/ 157 h 901"/>
                <a:gd name="T46" fmla="*/ 852 w 1517"/>
                <a:gd name="T47" fmla="*/ 0 h 901"/>
                <a:gd name="T48" fmla="*/ 852 w 1517"/>
                <a:gd name="T49" fmla="*/ 0 h 901"/>
                <a:gd name="T50" fmla="*/ 0 w 1517"/>
                <a:gd name="T51" fmla="*/ 489 h 901"/>
                <a:gd name="T52" fmla="*/ 0 w 1517"/>
                <a:gd name="T53" fmla="*/ 489 h 901"/>
                <a:gd name="T54" fmla="*/ 38 w 1517"/>
                <a:gd name="T55" fmla="*/ 587 h 901"/>
                <a:gd name="T56" fmla="*/ 0 w 1517"/>
                <a:gd name="T57" fmla="*/ 489 h 901"/>
                <a:gd name="T58" fmla="*/ 0 w 1517"/>
                <a:gd name="T59" fmla="*/ 489 h 9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</a:cxnLst>
              <a:rect l="0" t="0" r="r" b="b"/>
              <a:pathLst>
                <a:path w="1517" h="901">
                  <a:moveTo>
                    <a:pt x="852" y="0"/>
                  </a:moveTo>
                  <a:cubicBezTo>
                    <a:pt x="1308" y="346"/>
                    <a:pt x="1308" y="346"/>
                    <a:pt x="1308" y="346"/>
                  </a:cubicBezTo>
                  <a:cubicBezTo>
                    <a:pt x="1517" y="569"/>
                    <a:pt x="1517" y="569"/>
                    <a:pt x="1517" y="569"/>
                  </a:cubicBezTo>
                  <a:cubicBezTo>
                    <a:pt x="1404" y="625"/>
                    <a:pt x="1404" y="625"/>
                    <a:pt x="1404" y="625"/>
                  </a:cubicBezTo>
                  <a:cubicBezTo>
                    <a:pt x="981" y="788"/>
                    <a:pt x="981" y="788"/>
                    <a:pt x="981" y="788"/>
                  </a:cubicBezTo>
                  <a:cubicBezTo>
                    <a:pt x="971" y="771"/>
                    <a:pt x="971" y="771"/>
                    <a:pt x="971" y="771"/>
                  </a:cubicBezTo>
                  <a:cubicBezTo>
                    <a:pt x="895" y="788"/>
                    <a:pt x="895" y="788"/>
                    <a:pt x="895" y="788"/>
                  </a:cubicBezTo>
                  <a:cubicBezTo>
                    <a:pt x="856" y="879"/>
                    <a:pt x="856" y="879"/>
                    <a:pt x="856" y="879"/>
                  </a:cubicBezTo>
                  <a:cubicBezTo>
                    <a:pt x="688" y="901"/>
                    <a:pt x="688" y="901"/>
                    <a:pt x="688" y="901"/>
                  </a:cubicBezTo>
                  <a:cubicBezTo>
                    <a:pt x="503" y="839"/>
                    <a:pt x="503" y="839"/>
                    <a:pt x="503" y="839"/>
                  </a:cubicBezTo>
                  <a:cubicBezTo>
                    <a:pt x="296" y="839"/>
                    <a:pt x="296" y="839"/>
                    <a:pt x="296" y="839"/>
                  </a:cubicBezTo>
                  <a:cubicBezTo>
                    <a:pt x="267" y="778"/>
                    <a:pt x="267" y="778"/>
                    <a:pt x="267" y="778"/>
                  </a:cubicBezTo>
                  <a:cubicBezTo>
                    <a:pt x="130" y="834"/>
                    <a:pt x="130" y="834"/>
                    <a:pt x="130" y="834"/>
                  </a:cubicBezTo>
                  <a:cubicBezTo>
                    <a:pt x="101" y="810"/>
                    <a:pt x="101" y="810"/>
                    <a:pt x="101" y="810"/>
                  </a:cubicBezTo>
                  <a:cubicBezTo>
                    <a:pt x="122" y="779"/>
                    <a:pt x="122" y="779"/>
                    <a:pt x="122" y="779"/>
                  </a:cubicBezTo>
                  <a:cubicBezTo>
                    <a:pt x="40" y="593"/>
                    <a:pt x="40" y="593"/>
                    <a:pt x="40" y="593"/>
                  </a:cubicBezTo>
                  <a:cubicBezTo>
                    <a:pt x="38" y="588"/>
                    <a:pt x="38" y="588"/>
                    <a:pt x="38" y="588"/>
                  </a:cubicBezTo>
                  <a:cubicBezTo>
                    <a:pt x="211" y="516"/>
                    <a:pt x="211" y="516"/>
                    <a:pt x="211" y="516"/>
                  </a:cubicBezTo>
                  <a:cubicBezTo>
                    <a:pt x="462" y="495"/>
                    <a:pt x="462" y="495"/>
                    <a:pt x="462" y="495"/>
                  </a:cubicBezTo>
                  <a:cubicBezTo>
                    <a:pt x="549" y="447"/>
                    <a:pt x="549" y="447"/>
                    <a:pt x="549" y="447"/>
                  </a:cubicBezTo>
                  <a:cubicBezTo>
                    <a:pt x="549" y="446"/>
                    <a:pt x="549" y="446"/>
                    <a:pt x="549" y="446"/>
                  </a:cubicBezTo>
                  <a:cubicBezTo>
                    <a:pt x="795" y="293"/>
                    <a:pt x="795" y="293"/>
                    <a:pt x="795" y="293"/>
                  </a:cubicBezTo>
                  <a:cubicBezTo>
                    <a:pt x="690" y="157"/>
                    <a:pt x="690" y="157"/>
                    <a:pt x="690" y="157"/>
                  </a:cubicBezTo>
                  <a:cubicBezTo>
                    <a:pt x="852" y="0"/>
                    <a:pt x="852" y="0"/>
                    <a:pt x="852" y="0"/>
                  </a:cubicBezTo>
                  <a:cubicBezTo>
                    <a:pt x="852" y="0"/>
                    <a:pt x="852" y="0"/>
                    <a:pt x="852" y="0"/>
                  </a:cubicBezTo>
                  <a:close/>
                  <a:moveTo>
                    <a:pt x="0" y="489"/>
                  </a:moveTo>
                  <a:cubicBezTo>
                    <a:pt x="0" y="489"/>
                    <a:pt x="0" y="489"/>
                    <a:pt x="0" y="489"/>
                  </a:cubicBezTo>
                  <a:cubicBezTo>
                    <a:pt x="13" y="521"/>
                    <a:pt x="25" y="554"/>
                    <a:pt x="38" y="587"/>
                  </a:cubicBezTo>
                  <a:cubicBezTo>
                    <a:pt x="0" y="489"/>
                    <a:pt x="0" y="489"/>
                    <a:pt x="0" y="489"/>
                  </a:cubicBezTo>
                  <a:cubicBezTo>
                    <a:pt x="0" y="489"/>
                    <a:pt x="0" y="489"/>
                    <a:pt x="0" y="489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5" name="Freeform 95"/>
            <p:cNvSpPr>
              <a:spLocks/>
            </p:cNvSpPr>
            <p:nvPr/>
          </p:nvSpPr>
          <p:spPr bwMode="auto">
            <a:xfrm>
              <a:off x="2018157" y="2500000"/>
              <a:ext cx="306702" cy="253400"/>
            </a:xfrm>
            <a:custGeom>
              <a:avLst/>
              <a:gdLst>
                <a:gd name="T0" fmla="*/ 717 w 835"/>
                <a:gd name="T1" fmla="*/ 779 h 779"/>
                <a:gd name="T2" fmla="*/ 241 w 835"/>
                <a:gd name="T3" fmla="*/ 765 h 779"/>
                <a:gd name="T4" fmla="*/ 237 w 835"/>
                <a:gd name="T5" fmla="*/ 714 h 779"/>
                <a:gd name="T6" fmla="*/ 244 w 835"/>
                <a:gd name="T7" fmla="*/ 665 h 779"/>
                <a:gd name="T8" fmla="*/ 294 w 835"/>
                <a:gd name="T9" fmla="*/ 550 h 779"/>
                <a:gd name="T10" fmla="*/ 349 w 835"/>
                <a:gd name="T11" fmla="*/ 496 h 779"/>
                <a:gd name="T12" fmla="*/ 311 w 835"/>
                <a:gd name="T13" fmla="*/ 412 h 779"/>
                <a:gd name="T14" fmla="*/ 227 w 835"/>
                <a:gd name="T15" fmla="*/ 427 h 779"/>
                <a:gd name="T16" fmla="*/ 94 w 835"/>
                <a:gd name="T17" fmla="*/ 435 h 779"/>
                <a:gd name="T18" fmla="*/ 47 w 835"/>
                <a:gd name="T19" fmla="*/ 374 h 779"/>
                <a:gd name="T20" fmla="*/ 109 w 835"/>
                <a:gd name="T21" fmla="*/ 353 h 779"/>
                <a:gd name="T22" fmla="*/ 109 w 835"/>
                <a:gd name="T23" fmla="*/ 291 h 779"/>
                <a:gd name="T24" fmla="*/ 0 w 835"/>
                <a:gd name="T25" fmla="*/ 49 h 779"/>
                <a:gd name="T26" fmla="*/ 121 w 835"/>
                <a:gd name="T27" fmla="*/ 0 h 779"/>
                <a:gd name="T28" fmla="*/ 150 w 835"/>
                <a:gd name="T29" fmla="*/ 61 h 779"/>
                <a:gd name="T30" fmla="*/ 359 w 835"/>
                <a:gd name="T31" fmla="*/ 61 h 779"/>
                <a:gd name="T32" fmla="*/ 542 w 835"/>
                <a:gd name="T33" fmla="*/ 123 h 779"/>
                <a:gd name="T34" fmla="*/ 565 w 835"/>
                <a:gd name="T35" fmla="*/ 158 h 779"/>
                <a:gd name="T36" fmla="*/ 609 w 835"/>
                <a:gd name="T37" fmla="*/ 243 h 779"/>
                <a:gd name="T38" fmla="*/ 591 w 835"/>
                <a:gd name="T39" fmla="*/ 278 h 779"/>
                <a:gd name="T40" fmla="*/ 703 w 835"/>
                <a:gd name="T41" fmla="*/ 395 h 779"/>
                <a:gd name="T42" fmla="*/ 782 w 835"/>
                <a:gd name="T43" fmla="*/ 594 h 779"/>
                <a:gd name="T44" fmla="*/ 753 w 835"/>
                <a:gd name="T45" fmla="*/ 666 h 779"/>
                <a:gd name="T46" fmla="*/ 835 w 835"/>
                <a:gd name="T47" fmla="*/ 705 h 779"/>
                <a:gd name="T48" fmla="*/ 794 w 835"/>
                <a:gd name="T49" fmla="*/ 767 h 779"/>
                <a:gd name="T50" fmla="*/ 717 w 835"/>
                <a:gd name="T51" fmla="*/ 779 h 7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835" h="779">
                  <a:moveTo>
                    <a:pt x="717" y="779"/>
                  </a:moveTo>
                  <a:cubicBezTo>
                    <a:pt x="559" y="774"/>
                    <a:pt x="400" y="770"/>
                    <a:pt x="241" y="765"/>
                  </a:cubicBezTo>
                  <a:cubicBezTo>
                    <a:pt x="236" y="750"/>
                    <a:pt x="239" y="730"/>
                    <a:pt x="237" y="714"/>
                  </a:cubicBezTo>
                  <a:cubicBezTo>
                    <a:pt x="235" y="697"/>
                    <a:pt x="234" y="680"/>
                    <a:pt x="244" y="665"/>
                  </a:cubicBezTo>
                  <a:cubicBezTo>
                    <a:pt x="261" y="626"/>
                    <a:pt x="276" y="587"/>
                    <a:pt x="294" y="550"/>
                  </a:cubicBezTo>
                  <a:cubicBezTo>
                    <a:pt x="313" y="532"/>
                    <a:pt x="331" y="514"/>
                    <a:pt x="349" y="496"/>
                  </a:cubicBezTo>
                  <a:cubicBezTo>
                    <a:pt x="337" y="468"/>
                    <a:pt x="324" y="440"/>
                    <a:pt x="311" y="412"/>
                  </a:cubicBezTo>
                  <a:cubicBezTo>
                    <a:pt x="284" y="420"/>
                    <a:pt x="256" y="427"/>
                    <a:pt x="227" y="427"/>
                  </a:cubicBezTo>
                  <a:cubicBezTo>
                    <a:pt x="183" y="430"/>
                    <a:pt x="138" y="432"/>
                    <a:pt x="94" y="435"/>
                  </a:cubicBezTo>
                  <a:cubicBezTo>
                    <a:pt x="78" y="415"/>
                    <a:pt x="63" y="394"/>
                    <a:pt x="47" y="374"/>
                  </a:cubicBezTo>
                  <a:cubicBezTo>
                    <a:pt x="68" y="367"/>
                    <a:pt x="88" y="360"/>
                    <a:pt x="109" y="353"/>
                  </a:cubicBezTo>
                  <a:cubicBezTo>
                    <a:pt x="108" y="332"/>
                    <a:pt x="113" y="311"/>
                    <a:pt x="109" y="291"/>
                  </a:cubicBezTo>
                  <a:cubicBezTo>
                    <a:pt x="73" y="211"/>
                    <a:pt x="36" y="130"/>
                    <a:pt x="0" y="49"/>
                  </a:cubicBezTo>
                  <a:cubicBezTo>
                    <a:pt x="40" y="33"/>
                    <a:pt x="81" y="17"/>
                    <a:pt x="121" y="0"/>
                  </a:cubicBezTo>
                  <a:cubicBezTo>
                    <a:pt x="131" y="20"/>
                    <a:pt x="140" y="41"/>
                    <a:pt x="150" y="61"/>
                  </a:cubicBezTo>
                  <a:cubicBezTo>
                    <a:pt x="220" y="61"/>
                    <a:pt x="290" y="60"/>
                    <a:pt x="359" y="61"/>
                  </a:cubicBezTo>
                  <a:cubicBezTo>
                    <a:pt x="420" y="82"/>
                    <a:pt x="481" y="102"/>
                    <a:pt x="542" y="123"/>
                  </a:cubicBezTo>
                  <a:cubicBezTo>
                    <a:pt x="554" y="126"/>
                    <a:pt x="557" y="148"/>
                    <a:pt x="565" y="158"/>
                  </a:cubicBezTo>
                  <a:cubicBezTo>
                    <a:pt x="580" y="186"/>
                    <a:pt x="594" y="215"/>
                    <a:pt x="609" y="243"/>
                  </a:cubicBezTo>
                  <a:cubicBezTo>
                    <a:pt x="605" y="255"/>
                    <a:pt x="585" y="267"/>
                    <a:pt x="591" y="278"/>
                  </a:cubicBezTo>
                  <a:cubicBezTo>
                    <a:pt x="628" y="317"/>
                    <a:pt x="662" y="359"/>
                    <a:pt x="703" y="395"/>
                  </a:cubicBezTo>
                  <a:cubicBezTo>
                    <a:pt x="729" y="461"/>
                    <a:pt x="756" y="528"/>
                    <a:pt x="782" y="594"/>
                  </a:cubicBezTo>
                  <a:cubicBezTo>
                    <a:pt x="773" y="618"/>
                    <a:pt x="763" y="642"/>
                    <a:pt x="753" y="666"/>
                  </a:cubicBezTo>
                  <a:cubicBezTo>
                    <a:pt x="781" y="679"/>
                    <a:pt x="808" y="692"/>
                    <a:pt x="835" y="705"/>
                  </a:cubicBezTo>
                  <a:cubicBezTo>
                    <a:pt x="821" y="726"/>
                    <a:pt x="808" y="746"/>
                    <a:pt x="794" y="767"/>
                  </a:cubicBezTo>
                  <a:cubicBezTo>
                    <a:pt x="769" y="771"/>
                    <a:pt x="743" y="775"/>
                    <a:pt x="717" y="779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6" name="Freeform 96"/>
            <p:cNvSpPr>
              <a:spLocks noEditPoints="1"/>
            </p:cNvSpPr>
            <p:nvPr/>
          </p:nvSpPr>
          <p:spPr bwMode="auto">
            <a:xfrm>
              <a:off x="2253407" y="2749488"/>
              <a:ext cx="395744" cy="287645"/>
            </a:xfrm>
            <a:custGeom>
              <a:avLst/>
              <a:gdLst>
                <a:gd name="T0" fmla="*/ 51 w 360"/>
                <a:gd name="T1" fmla="*/ 0 h 294"/>
                <a:gd name="T2" fmla="*/ 52 w 360"/>
                <a:gd name="T3" fmla="*/ 0 h 294"/>
                <a:gd name="T4" fmla="*/ 51 w 360"/>
                <a:gd name="T5" fmla="*/ 0 h 294"/>
                <a:gd name="T6" fmla="*/ 50 w 360"/>
                <a:gd name="T7" fmla="*/ 1 h 294"/>
                <a:gd name="T8" fmla="*/ 51 w 360"/>
                <a:gd name="T9" fmla="*/ 0 h 294"/>
                <a:gd name="T10" fmla="*/ 51 w 360"/>
                <a:gd name="T11" fmla="*/ 0 h 294"/>
                <a:gd name="T12" fmla="*/ 51 w 360"/>
                <a:gd name="T13" fmla="*/ 0 h 294"/>
                <a:gd name="T14" fmla="*/ 52 w 360"/>
                <a:gd name="T15" fmla="*/ 0 h 294"/>
                <a:gd name="T16" fmla="*/ 118 w 360"/>
                <a:gd name="T17" fmla="*/ 0 h 294"/>
                <a:gd name="T18" fmla="*/ 132 w 360"/>
                <a:gd name="T19" fmla="*/ 3 h 294"/>
                <a:gd name="T20" fmla="*/ 215 w 360"/>
                <a:gd name="T21" fmla="*/ 79 h 294"/>
                <a:gd name="T22" fmla="*/ 208 w 360"/>
                <a:gd name="T23" fmla="*/ 87 h 294"/>
                <a:gd name="T24" fmla="*/ 291 w 360"/>
                <a:gd name="T25" fmla="*/ 213 h 294"/>
                <a:gd name="T26" fmla="*/ 327 w 360"/>
                <a:gd name="T27" fmla="*/ 235 h 294"/>
                <a:gd name="T28" fmla="*/ 360 w 360"/>
                <a:gd name="T29" fmla="*/ 234 h 294"/>
                <a:gd name="T30" fmla="*/ 348 w 360"/>
                <a:gd name="T31" fmla="*/ 238 h 294"/>
                <a:gd name="T32" fmla="*/ 305 w 360"/>
                <a:gd name="T33" fmla="*/ 294 h 294"/>
                <a:gd name="T34" fmla="*/ 113 w 360"/>
                <a:gd name="T35" fmla="*/ 143 h 294"/>
                <a:gd name="T36" fmla="*/ 53 w 360"/>
                <a:gd name="T37" fmla="*/ 118 h 294"/>
                <a:gd name="T38" fmla="*/ 53 w 360"/>
                <a:gd name="T39" fmla="*/ 117 h 294"/>
                <a:gd name="T40" fmla="*/ 0 w 360"/>
                <a:gd name="T41" fmla="*/ 94 h 294"/>
                <a:gd name="T42" fmla="*/ 27 w 360"/>
                <a:gd name="T43" fmla="*/ 39 h 294"/>
                <a:gd name="T44" fmla="*/ 52 w 360"/>
                <a:gd name="T45" fmla="*/ 0 h 294"/>
                <a:gd name="T46" fmla="*/ 52 w 360"/>
                <a:gd name="T47" fmla="*/ 0 h 294"/>
                <a:gd name="T48" fmla="*/ 52 w 360"/>
                <a:gd name="T49" fmla="*/ 0 h 2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360" h="294">
                  <a:moveTo>
                    <a:pt x="51" y="0"/>
                  </a:moveTo>
                  <a:lnTo>
                    <a:pt x="52" y="0"/>
                  </a:lnTo>
                  <a:lnTo>
                    <a:pt x="51" y="0"/>
                  </a:lnTo>
                  <a:lnTo>
                    <a:pt x="50" y="1"/>
                  </a:lnTo>
                  <a:lnTo>
                    <a:pt x="51" y="0"/>
                  </a:lnTo>
                  <a:lnTo>
                    <a:pt x="51" y="0"/>
                  </a:lnTo>
                  <a:lnTo>
                    <a:pt x="51" y="0"/>
                  </a:lnTo>
                  <a:close/>
                  <a:moveTo>
                    <a:pt x="52" y="0"/>
                  </a:moveTo>
                  <a:lnTo>
                    <a:pt x="118" y="0"/>
                  </a:lnTo>
                  <a:lnTo>
                    <a:pt x="132" y="3"/>
                  </a:lnTo>
                  <a:lnTo>
                    <a:pt x="215" y="79"/>
                  </a:lnTo>
                  <a:lnTo>
                    <a:pt x="208" y="87"/>
                  </a:lnTo>
                  <a:lnTo>
                    <a:pt x="291" y="213"/>
                  </a:lnTo>
                  <a:lnTo>
                    <a:pt x="327" y="235"/>
                  </a:lnTo>
                  <a:lnTo>
                    <a:pt x="360" y="234"/>
                  </a:lnTo>
                  <a:lnTo>
                    <a:pt x="348" y="238"/>
                  </a:lnTo>
                  <a:lnTo>
                    <a:pt x="305" y="294"/>
                  </a:lnTo>
                  <a:lnTo>
                    <a:pt x="113" y="143"/>
                  </a:lnTo>
                  <a:lnTo>
                    <a:pt x="53" y="118"/>
                  </a:lnTo>
                  <a:lnTo>
                    <a:pt x="53" y="117"/>
                  </a:lnTo>
                  <a:lnTo>
                    <a:pt x="0" y="94"/>
                  </a:lnTo>
                  <a:lnTo>
                    <a:pt x="27" y="39"/>
                  </a:lnTo>
                  <a:lnTo>
                    <a:pt x="52" y="0"/>
                  </a:lnTo>
                  <a:lnTo>
                    <a:pt x="52" y="0"/>
                  </a:lnTo>
                  <a:lnTo>
                    <a:pt x="52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7" name="Freeform 97"/>
            <p:cNvSpPr>
              <a:spLocks/>
            </p:cNvSpPr>
            <p:nvPr/>
          </p:nvSpPr>
          <p:spPr bwMode="auto">
            <a:xfrm>
              <a:off x="2217130" y="2431514"/>
              <a:ext cx="337483" cy="351240"/>
            </a:xfrm>
            <a:custGeom>
              <a:avLst/>
              <a:gdLst>
                <a:gd name="T0" fmla="*/ 494 w 919"/>
                <a:gd name="T1" fmla="*/ 834 h 1078"/>
                <a:gd name="T2" fmla="*/ 558 w 919"/>
                <a:gd name="T3" fmla="*/ 975 h 1078"/>
                <a:gd name="T4" fmla="*/ 590 w 919"/>
                <a:gd name="T5" fmla="*/ 1078 h 1078"/>
                <a:gd name="T6" fmla="*/ 491 w 919"/>
                <a:gd name="T7" fmla="*/ 983 h 1078"/>
                <a:gd name="T8" fmla="*/ 348 w 919"/>
                <a:gd name="T9" fmla="*/ 974 h 1078"/>
                <a:gd name="T10" fmla="*/ 253 w 919"/>
                <a:gd name="T11" fmla="*/ 973 h 1078"/>
                <a:gd name="T12" fmla="*/ 292 w 919"/>
                <a:gd name="T13" fmla="*/ 914 h 1078"/>
                <a:gd name="T14" fmla="*/ 210 w 919"/>
                <a:gd name="T15" fmla="*/ 875 h 1078"/>
                <a:gd name="T16" fmla="*/ 238 w 919"/>
                <a:gd name="T17" fmla="*/ 800 h 1078"/>
                <a:gd name="T18" fmla="*/ 158 w 919"/>
                <a:gd name="T19" fmla="*/ 602 h 1078"/>
                <a:gd name="T20" fmla="*/ 45 w 919"/>
                <a:gd name="T21" fmla="*/ 483 h 1078"/>
                <a:gd name="T22" fmla="*/ 59 w 919"/>
                <a:gd name="T23" fmla="*/ 439 h 1078"/>
                <a:gd name="T24" fmla="*/ 4 w 919"/>
                <a:gd name="T25" fmla="*/ 331 h 1078"/>
                <a:gd name="T26" fmla="*/ 48 w 919"/>
                <a:gd name="T27" fmla="*/ 326 h 1078"/>
                <a:gd name="T28" fmla="*/ 167 w 919"/>
                <a:gd name="T29" fmla="*/ 310 h 1078"/>
                <a:gd name="T30" fmla="*/ 206 w 919"/>
                <a:gd name="T31" fmla="*/ 219 h 1078"/>
                <a:gd name="T32" fmla="*/ 282 w 919"/>
                <a:gd name="T33" fmla="*/ 202 h 1078"/>
                <a:gd name="T34" fmla="*/ 325 w 919"/>
                <a:gd name="T35" fmla="*/ 206 h 1078"/>
                <a:gd name="T36" fmla="*/ 726 w 919"/>
                <a:gd name="T37" fmla="*/ 51 h 1078"/>
                <a:gd name="T38" fmla="*/ 828 w 919"/>
                <a:gd name="T39" fmla="*/ 0 h 1078"/>
                <a:gd name="T40" fmla="*/ 919 w 919"/>
                <a:gd name="T41" fmla="*/ 101 h 1078"/>
                <a:gd name="T42" fmla="*/ 556 w 919"/>
                <a:gd name="T43" fmla="*/ 346 h 1078"/>
                <a:gd name="T44" fmla="*/ 528 w 919"/>
                <a:gd name="T45" fmla="*/ 389 h 1078"/>
                <a:gd name="T46" fmla="*/ 559 w 919"/>
                <a:gd name="T47" fmla="*/ 423 h 1078"/>
                <a:gd name="T48" fmla="*/ 538 w 919"/>
                <a:gd name="T49" fmla="*/ 468 h 1078"/>
                <a:gd name="T50" fmla="*/ 444 w 919"/>
                <a:gd name="T51" fmla="*/ 512 h 1078"/>
                <a:gd name="T52" fmla="*/ 457 w 919"/>
                <a:gd name="T53" fmla="*/ 686 h 1078"/>
                <a:gd name="T54" fmla="*/ 451 w 919"/>
                <a:gd name="T55" fmla="*/ 798 h 1078"/>
                <a:gd name="T56" fmla="*/ 494 w 919"/>
                <a:gd name="T57" fmla="*/ 834 h 10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919" h="1078">
                  <a:moveTo>
                    <a:pt x="494" y="834"/>
                  </a:moveTo>
                  <a:cubicBezTo>
                    <a:pt x="517" y="881"/>
                    <a:pt x="547" y="924"/>
                    <a:pt x="558" y="975"/>
                  </a:cubicBezTo>
                  <a:cubicBezTo>
                    <a:pt x="569" y="1009"/>
                    <a:pt x="579" y="1043"/>
                    <a:pt x="590" y="1078"/>
                  </a:cubicBezTo>
                  <a:cubicBezTo>
                    <a:pt x="557" y="1046"/>
                    <a:pt x="526" y="1012"/>
                    <a:pt x="491" y="983"/>
                  </a:cubicBezTo>
                  <a:cubicBezTo>
                    <a:pt x="445" y="968"/>
                    <a:pt x="396" y="976"/>
                    <a:pt x="348" y="974"/>
                  </a:cubicBezTo>
                  <a:cubicBezTo>
                    <a:pt x="317" y="974"/>
                    <a:pt x="285" y="974"/>
                    <a:pt x="253" y="973"/>
                  </a:cubicBezTo>
                  <a:cubicBezTo>
                    <a:pt x="266" y="953"/>
                    <a:pt x="279" y="934"/>
                    <a:pt x="292" y="914"/>
                  </a:cubicBezTo>
                  <a:cubicBezTo>
                    <a:pt x="265" y="901"/>
                    <a:pt x="238" y="888"/>
                    <a:pt x="210" y="875"/>
                  </a:cubicBezTo>
                  <a:cubicBezTo>
                    <a:pt x="219" y="850"/>
                    <a:pt x="233" y="825"/>
                    <a:pt x="238" y="800"/>
                  </a:cubicBezTo>
                  <a:cubicBezTo>
                    <a:pt x="211" y="734"/>
                    <a:pt x="187" y="666"/>
                    <a:pt x="158" y="602"/>
                  </a:cubicBezTo>
                  <a:cubicBezTo>
                    <a:pt x="117" y="566"/>
                    <a:pt x="82" y="523"/>
                    <a:pt x="45" y="483"/>
                  </a:cubicBezTo>
                  <a:cubicBezTo>
                    <a:pt x="51" y="469"/>
                    <a:pt x="75" y="455"/>
                    <a:pt x="59" y="439"/>
                  </a:cubicBezTo>
                  <a:cubicBezTo>
                    <a:pt x="41" y="403"/>
                    <a:pt x="22" y="367"/>
                    <a:pt x="4" y="331"/>
                  </a:cubicBezTo>
                  <a:cubicBezTo>
                    <a:pt x="0" y="332"/>
                    <a:pt x="36" y="327"/>
                    <a:pt x="48" y="326"/>
                  </a:cubicBezTo>
                  <a:cubicBezTo>
                    <a:pt x="88" y="321"/>
                    <a:pt x="127" y="316"/>
                    <a:pt x="167" y="310"/>
                  </a:cubicBezTo>
                  <a:cubicBezTo>
                    <a:pt x="180" y="280"/>
                    <a:pt x="193" y="250"/>
                    <a:pt x="206" y="219"/>
                  </a:cubicBezTo>
                  <a:cubicBezTo>
                    <a:pt x="231" y="213"/>
                    <a:pt x="257" y="208"/>
                    <a:pt x="282" y="202"/>
                  </a:cubicBezTo>
                  <a:cubicBezTo>
                    <a:pt x="288" y="228"/>
                    <a:pt x="308" y="212"/>
                    <a:pt x="325" y="206"/>
                  </a:cubicBezTo>
                  <a:cubicBezTo>
                    <a:pt x="458" y="154"/>
                    <a:pt x="593" y="104"/>
                    <a:pt x="726" y="51"/>
                  </a:cubicBezTo>
                  <a:cubicBezTo>
                    <a:pt x="760" y="34"/>
                    <a:pt x="794" y="17"/>
                    <a:pt x="828" y="0"/>
                  </a:cubicBezTo>
                  <a:cubicBezTo>
                    <a:pt x="859" y="34"/>
                    <a:pt x="889" y="68"/>
                    <a:pt x="919" y="101"/>
                  </a:cubicBezTo>
                  <a:cubicBezTo>
                    <a:pt x="798" y="183"/>
                    <a:pt x="677" y="265"/>
                    <a:pt x="556" y="346"/>
                  </a:cubicBezTo>
                  <a:cubicBezTo>
                    <a:pt x="548" y="360"/>
                    <a:pt x="529" y="376"/>
                    <a:pt x="528" y="389"/>
                  </a:cubicBezTo>
                  <a:cubicBezTo>
                    <a:pt x="539" y="400"/>
                    <a:pt x="569" y="402"/>
                    <a:pt x="559" y="423"/>
                  </a:cubicBezTo>
                  <a:cubicBezTo>
                    <a:pt x="553" y="439"/>
                    <a:pt x="560" y="464"/>
                    <a:pt x="538" y="468"/>
                  </a:cubicBezTo>
                  <a:cubicBezTo>
                    <a:pt x="507" y="483"/>
                    <a:pt x="475" y="498"/>
                    <a:pt x="444" y="512"/>
                  </a:cubicBezTo>
                  <a:cubicBezTo>
                    <a:pt x="447" y="570"/>
                    <a:pt x="457" y="628"/>
                    <a:pt x="457" y="686"/>
                  </a:cubicBezTo>
                  <a:cubicBezTo>
                    <a:pt x="455" y="723"/>
                    <a:pt x="453" y="761"/>
                    <a:pt x="451" y="798"/>
                  </a:cubicBezTo>
                  <a:cubicBezTo>
                    <a:pt x="465" y="810"/>
                    <a:pt x="480" y="822"/>
                    <a:pt x="494" y="834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8" name="Freeform 98"/>
            <p:cNvSpPr>
              <a:spLocks/>
            </p:cNvSpPr>
            <p:nvPr/>
          </p:nvSpPr>
          <p:spPr bwMode="auto">
            <a:xfrm>
              <a:off x="2029148" y="2005917"/>
              <a:ext cx="561740" cy="425597"/>
            </a:xfrm>
            <a:custGeom>
              <a:avLst/>
              <a:gdLst>
                <a:gd name="T0" fmla="*/ 865 w 1533"/>
                <a:gd name="T1" fmla="*/ 517 h 1305"/>
                <a:gd name="T2" fmla="*/ 1427 w 1533"/>
                <a:gd name="T3" fmla="*/ 1039 h 1305"/>
                <a:gd name="T4" fmla="*/ 1533 w 1533"/>
                <a:gd name="T5" fmla="*/ 1269 h 1305"/>
                <a:gd name="T6" fmla="*/ 1414 w 1533"/>
                <a:gd name="T7" fmla="*/ 1278 h 1305"/>
                <a:gd name="T8" fmla="*/ 1343 w 1533"/>
                <a:gd name="T9" fmla="*/ 1305 h 1305"/>
                <a:gd name="T10" fmla="*/ 1124 w 1533"/>
                <a:gd name="T11" fmla="*/ 1074 h 1305"/>
                <a:gd name="T12" fmla="*/ 0 w 1533"/>
                <a:gd name="T13" fmla="*/ 213 h 1305"/>
                <a:gd name="T14" fmla="*/ 61 w 1533"/>
                <a:gd name="T15" fmla="*/ 184 h 1305"/>
                <a:gd name="T16" fmla="*/ 132 w 1533"/>
                <a:gd name="T17" fmla="*/ 154 h 1305"/>
                <a:gd name="T18" fmla="*/ 168 w 1533"/>
                <a:gd name="T19" fmla="*/ 96 h 1305"/>
                <a:gd name="T20" fmla="*/ 215 w 1533"/>
                <a:gd name="T21" fmla="*/ 110 h 1305"/>
                <a:gd name="T22" fmla="*/ 372 w 1533"/>
                <a:gd name="T23" fmla="*/ 0 h 1305"/>
                <a:gd name="T24" fmla="*/ 540 w 1533"/>
                <a:gd name="T25" fmla="*/ 171 h 1305"/>
                <a:gd name="T26" fmla="*/ 627 w 1533"/>
                <a:gd name="T27" fmla="*/ 92 h 1305"/>
                <a:gd name="T28" fmla="*/ 865 w 1533"/>
                <a:gd name="T29" fmla="*/ 517 h 13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1533" h="1305">
                  <a:moveTo>
                    <a:pt x="865" y="517"/>
                  </a:moveTo>
                  <a:cubicBezTo>
                    <a:pt x="1052" y="691"/>
                    <a:pt x="1240" y="865"/>
                    <a:pt x="1427" y="1039"/>
                  </a:cubicBezTo>
                  <a:cubicBezTo>
                    <a:pt x="1462" y="1115"/>
                    <a:pt x="1498" y="1192"/>
                    <a:pt x="1533" y="1269"/>
                  </a:cubicBezTo>
                  <a:cubicBezTo>
                    <a:pt x="1493" y="1269"/>
                    <a:pt x="1451" y="1256"/>
                    <a:pt x="1414" y="1278"/>
                  </a:cubicBezTo>
                  <a:cubicBezTo>
                    <a:pt x="1391" y="1287"/>
                    <a:pt x="1367" y="1296"/>
                    <a:pt x="1343" y="1305"/>
                  </a:cubicBezTo>
                  <a:cubicBezTo>
                    <a:pt x="1270" y="1229"/>
                    <a:pt x="1200" y="1148"/>
                    <a:pt x="1124" y="1074"/>
                  </a:cubicBezTo>
                  <a:cubicBezTo>
                    <a:pt x="747" y="790"/>
                    <a:pt x="374" y="501"/>
                    <a:pt x="0" y="213"/>
                  </a:cubicBezTo>
                  <a:cubicBezTo>
                    <a:pt x="7" y="205"/>
                    <a:pt x="43" y="194"/>
                    <a:pt x="61" y="184"/>
                  </a:cubicBezTo>
                  <a:cubicBezTo>
                    <a:pt x="85" y="174"/>
                    <a:pt x="108" y="164"/>
                    <a:pt x="132" y="154"/>
                  </a:cubicBezTo>
                  <a:cubicBezTo>
                    <a:pt x="126" y="125"/>
                    <a:pt x="149" y="112"/>
                    <a:pt x="168" y="96"/>
                  </a:cubicBezTo>
                  <a:cubicBezTo>
                    <a:pt x="175" y="120"/>
                    <a:pt x="188" y="136"/>
                    <a:pt x="215" y="110"/>
                  </a:cubicBezTo>
                  <a:cubicBezTo>
                    <a:pt x="275" y="85"/>
                    <a:pt x="322" y="40"/>
                    <a:pt x="372" y="0"/>
                  </a:cubicBezTo>
                  <a:cubicBezTo>
                    <a:pt x="428" y="57"/>
                    <a:pt x="484" y="114"/>
                    <a:pt x="540" y="171"/>
                  </a:cubicBezTo>
                  <a:cubicBezTo>
                    <a:pt x="569" y="144"/>
                    <a:pt x="598" y="118"/>
                    <a:pt x="627" y="92"/>
                  </a:cubicBezTo>
                  <a:cubicBezTo>
                    <a:pt x="706" y="233"/>
                    <a:pt x="785" y="375"/>
                    <a:pt x="865" y="517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69" name="Freeform 99"/>
            <p:cNvSpPr>
              <a:spLocks/>
            </p:cNvSpPr>
            <p:nvPr/>
          </p:nvSpPr>
          <p:spPr bwMode="auto">
            <a:xfrm>
              <a:off x="2165463" y="1862096"/>
              <a:ext cx="339682" cy="332651"/>
            </a:xfrm>
            <a:custGeom>
              <a:avLst/>
              <a:gdLst>
                <a:gd name="T0" fmla="*/ 904 w 928"/>
                <a:gd name="T1" fmla="*/ 562 h 1020"/>
                <a:gd name="T2" fmla="*/ 907 w 928"/>
                <a:gd name="T3" fmla="*/ 594 h 1020"/>
                <a:gd name="T4" fmla="*/ 774 w 928"/>
                <a:gd name="T5" fmla="*/ 596 h 1020"/>
                <a:gd name="T6" fmla="*/ 777 w 928"/>
                <a:gd name="T7" fmla="*/ 693 h 1020"/>
                <a:gd name="T8" fmla="*/ 832 w 928"/>
                <a:gd name="T9" fmla="*/ 860 h 1020"/>
                <a:gd name="T10" fmla="*/ 615 w 928"/>
                <a:gd name="T11" fmla="*/ 925 h 1020"/>
                <a:gd name="T12" fmla="*/ 623 w 928"/>
                <a:gd name="T13" fmla="*/ 968 h 1020"/>
                <a:gd name="T14" fmla="*/ 558 w 928"/>
                <a:gd name="T15" fmla="*/ 1020 h 1020"/>
                <a:gd name="T16" fmla="*/ 489 w 928"/>
                <a:gd name="T17" fmla="*/ 952 h 1020"/>
                <a:gd name="T18" fmla="*/ 255 w 928"/>
                <a:gd name="T19" fmla="*/ 534 h 1020"/>
                <a:gd name="T20" fmla="*/ 168 w 928"/>
                <a:gd name="T21" fmla="*/ 613 h 1020"/>
                <a:gd name="T22" fmla="*/ 0 w 928"/>
                <a:gd name="T23" fmla="*/ 442 h 1020"/>
                <a:gd name="T24" fmla="*/ 440 w 928"/>
                <a:gd name="T25" fmla="*/ 91 h 1020"/>
                <a:gd name="T26" fmla="*/ 550 w 928"/>
                <a:gd name="T27" fmla="*/ 35 h 1020"/>
                <a:gd name="T28" fmla="*/ 673 w 928"/>
                <a:gd name="T29" fmla="*/ 0 h 1020"/>
                <a:gd name="T30" fmla="*/ 719 w 928"/>
                <a:gd name="T31" fmla="*/ 123 h 1020"/>
                <a:gd name="T32" fmla="*/ 849 w 928"/>
                <a:gd name="T33" fmla="*/ 220 h 1020"/>
                <a:gd name="T34" fmla="*/ 928 w 928"/>
                <a:gd name="T35" fmla="*/ 264 h 1020"/>
                <a:gd name="T36" fmla="*/ 912 w 928"/>
                <a:gd name="T37" fmla="*/ 311 h 1020"/>
                <a:gd name="T38" fmla="*/ 915 w 928"/>
                <a:gd name="T39" fmla="*/ 484 h 1020"/>
                <a:gd name="T40" fmla="*/ 904 w 928"/>
                <a:gd name="T41" fmla="*/ 562 h 102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928" h="1020">
                  <a:moveTo>
                    <a:pt x="904" y="562"/>
                  </a:moveTo>
                  <a:cubicBezTo>
                    <a:pt x="918" y="556"/>
                    <a:pt x="922" y="599"/>
                    <a:pt x="907" y="594"/>
                  </a:cubicBezTo>
                  <a:cubicBezTo>
                    <a:pt x="863" y="595"/>
                    <a:pt x="818" y="595"/>
                    <a:pt x="774" y="596"/>
                  </a:cubicBezTo>
                  <a:cubicBezTo>
                    <a:pt x="776" y="628"/>
                    <a:pt x="771" y="662"/>
                    <a:pt x="777" y="693"/>
                  </a:cubicBezTo>
                  <a:cubicBezTo>
                    <a:pt x="795" y="749"/>
                    <a:pt x="813" y="805"/>
                    <a:pt x="832" y="860"/>
                  </a:cubicBezTo>
                  <a:cubicBezTo>
                    <a:pt x="760" y="882"/>
                    <a:pt x="687" y="904"/>
                    <a:pt x="615" y="925"/>
                  </a:cubicBezTo>
                  <a:cubicBezTo>
                    <a:pt x="617" y="940"/>
                    <a:pt x="643" y="959"/>
                    <a:pt x="623" y="968"/>
                  </a:cubicBezTo>
                  <a:cubicBezTo>
                    <a:pt x="602" y="986"/>
                    <a:pt x="580" y="1003"/>
                    <a:pt x="558" y="1020"/>
                  </a:cubicBezTo>
                  <a:cubicBezTo>
                    <a:pt x="536" y="997"/>
                    <a:pt x="508" y="978"/>
                    <a:pt x="489" y="952"/>
                  </a:cubicBezTo>
                  <a:cubicBezTo>
                    <a:pt x="411" y="812"/>
                    <a:pt x="333" y="673"/>
                    <a:pt x="255" y="534"/>
                  </a:cubicBezTo>
                  <a:cubicBezTo>
                    <a:pt x="226" y="560"/>
                    <a:pt x="197" y="586"/>
                    <a:pt x="168" y="613"/>
                  </a:cubicBezTo>
                  <a:cubicBezTo>
                    <a:pt x="112" y="556"/>
                    <a:pt x="56" y="499"/>
                    <a:pt x="0" y="442"/>
                  </a:cubicBezTo>
                  <a:cubicBezTo>
                    <a:pt x="147" y="325"/>
                    <a:pt x="292" y="207"/>
                    <a:pt x="440" y="91"/>
                  </a:cubicBezTo>
                  <a:cubicBezTo>
                    <a:pt x="476" y="71"/>
                    <a:pt x="508" y="43"/>
                    <a:pt x="550" y="35"/>
                  </a:cubicBezTo>
                  <a:cubicBezTo>
                    <a:pt x="591" y="24"/>
                    <a:pt x="632" y="12"/>
                    <a:pt x="673" y="0"/>
                  </a:cubicBezTo>
                  <a:cubicBezTo>
                    <a:pt x="688" y="41"/>
                    <a:pt x="703" y="82"/>
                    <a:pt x="719" y="123"/>
                  </a:cubicBezTo>
                  <a:cubicBezTo>
                    <a:pt x="762" y="154"/>
                    <a:pt x="803" y="191"/>
                    <a:pt x="849" y="220"/>
                  </a:cubicBezTo>
                  <a:cubicBezTo>
                    <a:pt x="875" y="235"/>
                    <a:pt x="902" y="250"/>
                    <a:pt x="928" y="264"/>
                  </a:cubicBezTo>
                  <a:cubicBezTo>
                    <a:pt x="916" y="278"/>
                    <a:pt x="907" y="292"/>
                    <a:pt x="912" y="311"/>
                  </a:cubicBezTo>
                  <a:cubicBezTo>
                    <a:pt x="912" y="369"/>
                    <a:pt x="916" y="427"/>
                    <a:pt x="915" y="484"/>
                  </a:cubicBezTo>
                  <a:cubicBezTo>
                    <a:pt x="911" y="510"/>
                    <a:pt x="907" y="536"/>
                    <a:pt x="904" y="562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1" name="Freeform 101"/>
            <p:cNvSpPr>
              <a:spLocks/>
            </p:cNvSpPr>
            <p:nvPr/>
          </p:nvSpPr>
          <p:spPr bwMode="auto">
            <a:xfrm>
              <a:off x="2211633" y="2863960"/>
              <a:ext cx="307802" cy="419725"/>
            </a:xfrm>
            <a:custGeom>
              <a:avLst/>
              <a:gdLst>
                <a:gd name="T0" fmla="*/ 837 w 840"/>
                <a:gd name="T1" fmla="*/ 881 h 1287"/>
                <a:gd name="T2" fmla="*/ 729 w 840"/>
                <a:gd name="T3" fmla="*/ 898 h 1287"/>
                <a:gd name="T4" fmla="*/ 582 w 840"/>
                <a:gd name="T5" fmla="*/ 992 h 1287"/>
                <a:gd name="T6" fmla="*/ 459 w 840"/>
                <a:gd name="T7" fmla="*/ 1200 h 1287"/>
                <a:gd name="T8" fmla="*/ 337 w 840"/>
                <a:gd name="T9" fmla="*/ 1287 h 1287"/>
                <a:gd name="T10" fmla="*/ 309 w 840"/>
                <a:gd name="T11" fmla="*/ 1231 h 1287"/>
                <a:gd name="T12" fmla="*/ 268 w 840"/>
                <a:gd name="T13" fmla="*/ 1201 h 1287"/>
                <a:gd name="T14" fmla="*/ 184 w 840"/>
                <a:gd name="T15" fmla="*/ 1065 h 1287"/>
                <a:gd name="T16" fmla="*/ 50 w 840"/>
                <a:gd name="T17" fmla="*/ 749 h 1287"/>
                <a:gd name="T18" fmla="*/ 0 w 840"/>
                <a:gd name="T19" fmla="*/ 373 h 1287"/>
                <a:gd name="T20" fmla="*/ 237 w 840"/>
                <a:gd name="T21" fmla="*/ 291 h 1287"/>
                <a:gd name="T22" fmla="*/ 252 w 840"/>
                <a:gd name="T23" fmla="*/ 105 h 1287"/>
                <a:gd name="T24" fmla="*/ 275 w 840"/>
                <a:gd name="T25" fmla="*/ 0 h 1287"/>
                <a:gd name="T26" fmla="*/ 324 w 840"/>
                <a:gd name="T27" fmla="*/ 24 h 1287"/>
                <a:gd name="T28" fmla="*/ 458 w 840"/>
                <a:gd name="T29" fmla="*/ 83 h 1287"/>
                <a:gd name="T30" fmla="*/ 653 w 840"/>
                <a:gd name="T31" fmla="*/ 235 h 1287"/>
                <a:gd name="T32" fmla="*/ 565 w 840"/>
                <a:gd name="T33" fmla="*/ 334 h 1287"/>
                <a:gd name="T34" fmla="*/ 665 w 840"/>
                <a:gd name="T35" fmla="*/ 411 h 1287"/>
                <a:gd name="T36" fmla="*/ 756 w 840"/>
                <a:gd name="T37" fmla="*/ 450 h 1287"/>
                <a:gd name="T38" fmla="*/ 837 w 840"/>
                <a:gd name="T39" fmla="*/ 548 h 1287"/>
                <a:gd name="T40" fmla="*/ 726 w 840"/>
                <a:gd name="T41" fmla="*/ 660 h 1287"/>
                <a:gd name="T42" fmla="*/ 719 w 840"/>
                <a:gd name="T43" fmla="*/ 697 h 1287"/>
                <a:gd name="T44" fmla="*/ 792 w 840"/>
                <a:gd name="T45" fmla="*/ 782 h 1287"/>
                <a:gd name="T46" fmla="*/ 840 w 840"/>
                <a:gd name="T47" fmla="*/ 812 h 1287"/>
                <a:gd name="T48" fmla="*/ 837 w 840"/>
                <a:gd name="T49" fmla="*/ 881 h 12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840" h="1287">
                  <a:moveTo>
                    <a:pt x="837" y="881"/>
                  </a:moveTo>
                  <a:cubicBezTo>
                    <a:pt x="801" y="888"/>
                    <a:pt x="763" y="888"/>
                    <a:pt x="729" y="898"/>
                  </a:cubicBezTo>
                  <a:cubicBezTo>
                    <a:pt x="680" y="930"/>
                    <a:pt x="629" y="959"/>
                    <a:pt x="582" y="992"/>
                  </a:cubicBezTo>
                  <a:cubicBezTo>
                    <a:pt x="541" y="1061"/>
                    <a:pt x="502" y="1132"/>
                    <a:pt x="459" y="1200"/>
                  </a:cubicBezTo>
                  <a:cubicBezTo>
                    <a:pt x="418" y="1229"/>
                    <a:pt x="378" y="1258"/>
                    <a:pt x="337" y="1287"/>
                  </a:cubicBezTo>
                  <a:cubicBezTo>
                    <a:pt x="328" y="1268"/>
                    <a:pt x="318" y="1250"/>
                    <a:pt x="309" y="1231"/>
                  </a:cubicBezTo>
                  <a:cubicBezTo>
                    <a:pt x="291" y="1246"/>
                    <a:pt x="282" y="1211"/>
                    <a:pt x="268" y="1201"/>
                  </a:cubicBezTo>
                  <a:cubicBezTo>
                    <a:pt x="232" y="1161"/>
                    <a:pt x="212" y="1111"/>
                    <a:pt x="184" y="1065"/>
                  </a:cubicBezTo>
                  <a:cubicBezTo>
                    <a:pt x="140" y="960"/>
                    <a:pt x="93" y="855"/>
                    <a:pt x="50" y="749"/>
                  </a:cubicBezTo>
                  <a:cubicBezTo>
                    <a:pt x="34" y="624"/>
                    <a:pt x="17" y="498"/>
                    <a:pt x="0" y="373"/>
                  </a:cubicBezTo>
                  <a:cubicBezTo>
                    <a:pt x="79" y="345"/>
                    <a:pt x="158" y="318"/>
                    <a:pt x="237" y="291"/>
                  </a:cubicBezTo>
                  <a:cubicBezTo>
                    <a:pt x="243" y="229"/>
                    <a:pt x="243" y="166"/>
                    <a:pt x="252" y="105"/>
                  </a:cubicBezTo>
                  <a:cubicBezTo>
                    <a:pt x="260" y="70"/>
                    <a:pt x="268" y="35"/>
                    <a:pt x="275" y="0"/>
                  </a:cubicBezTo>
                  <a:cubicBezTo>
                    <a:pt x="284" y="12"/>
                    <a:pt x="309" y="15"/>
                    <a:pt x="324" y="24"/>
                  </a:cubicBezTo>
                  <a:cubicBezTo>
                    <a:pt x="369" y="44"/>
                    <a:pt x="415" y="60"/>
                    <a:pt x="458" y="83"/>
                  </a:cubicBezTo>
                  <a:cubicBezTo>
                    <a:pt x="523" y="134"/>
                    <a:pt x="588" y="185"/>
                    <a:pt x="653" y="235"/>
                  </a:cubicBezTo>
                  <a:cubicBezTo>
                    <a:pt x="623" y="268"/>
                    <a:pt x="594" y="301"/>
                    <a:pt x="565" y="334"/>
                  </a:cubicBezTo>
                  <a:cubicBezTo>
                    <a:pt x="598" y="359"/>
                    <a:pt x="630" y="389"/>
                    <a:pt x="665" y="411"/>
                  </a:cubicBezTo>
                  <a:cubicBezTo>
                    <a:pt x="695" y="425"/>
                    <a:pt x="727" y="435"/>
                    <a:pt x="756" y="450"/>
                  </a:cubicBezTo>
                  <a:cubicBezTo>
                    <a:pt x="783" y="483"/>
                    <a:pt x="810" y="515"/>
                    <a:pt x="837" y="548"/>
                  </a:cubicBezTo>
                  <a:cubicBezTo>
                    <a:pt x="800" y="585"/>
                    <a:pt x="765" y="625"/>
                    <a:pt x="726" y="660"/>
                  </a:cubicBezTo>
                  <a:cubicBezTo>
                    <a:pt x="702" y="669"/>
                    <a:pt x="697" y="681"/>
                    <a:pt x="719" y="697"/>
                  </a:cubicBezTo>
                  <a:cubicBezTo>
                    <a:pt x="744" y="725"/>
                    <a:pt x="765" y="757"/>
                    <a:pt x="792" y="782"/>
                  </a:cubicBezTo>
                  <a:cubicBezTo>
                    <a:pt x="807" y="792"/>
                    <a:pt x="830" y="799"/>
                    <a:pt x="840" y="812"/>
                  </a:cubicBezTo>
                  <a:cubicBezTo>
                    <a:pt x="839" y="835"/>
                    <a:pt x="838" y="858"/>
                    <a:pt x="837" y="881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2" name="Freeform 102"/>
            <p:cNvSpPr>
              <a:spLocks/>
            </p:cNvSpPr>
            <p:nvPr/>
          </p:nvSpPr>
          <p:spPr bwMode="auto">
            <a:xfrm>
              <a:off x="2407306" y="2909942"/>
              <a:ext cx="319894" cy="240681"/>
            </a:xfrm>
            <a:custGeom>
              <a:avLst/>
              <a:gdLst>
                <a:gd name="T0" fmla="*/ 167 w 873"/>
                <a:gd name="T1" fmla="*/ 534 h 738"/>
                <a:gd name="T2" fmla="*/ 225 w 873"/>
                <a:gd name="T3" fmla="*/ 485 h 738"/>
                <a:gd name="T4" fmla="*/ 303 w 873"/>
                <a:gd name="T5" fmla="*/ 406 h 738"/>
                <a:gd name="T6" fmla="*/ 217 w 873"/>
                <a:gd name="T7" fmla="*/ 305 h 738"/>
                <a:gd name="T8" fmla="*/ 121 w 873"/>
                <a:gd name="T9" fmla="*/ 264 h 738"/>
                <a:gd name="T10" fmla="*/ 31 w 873"/>
                <a:gd name="T11" fmla="*/ 192 h 738"/>
                <a:gd name="T12" fmla="*/ 119 w 873"/>
                <a:gd name="T13" fmla="*/ 93 h 738"/>
                <a:gd name="T14" fmla="*/ 0 w 873"/>
                <a:gd name="T15" fmla="*/ 0 h 738"/>
                <a:gd name="T16" fmla="*/ 496 w 873"/>
                <a:gd name="T17" fmla="*/ 389 h 738"/>
                <a:gd name="T18" fmla="*/ 624 w 873"/>
                <a:gd name="T19" fmla="*/ 221 h 738"/>
                <a:gd name="T20" fmla="*/ 695 w 873"/>
                <a:gd name="T21" fmla="*/ 207 h 738"/>
                <a:gd name="T22" fmla="*/ 873 w 873"/>
                <a:gd name="T23" fmla="*/ 195 h 738"/>
                <a:gd name="T24" fmla="*/ 815 w 873"/>
                <a:gd name="T25" fmla="*/ 541 h 738"/>
                <a:gd name="T26" fmla="*/ 757 w 873"/>
                <a:gd name="T27" fmla="*/ 626 h 738"/>
                <a:gd name="T28" fmla="*/ 683 w 873"/>
                <a:gd name="T29" fmla="*/ 678 h 738"/>
                <a:gd name="T30" fmla="*/ 303 w 873"/>
                <a:gd name="T31" fmla="*/ 738 h 738"/>
                <a:gd name="T32" fmla="*/ 305 w 873"/>
                <a:gd name="T33" fmla="*/ 697 h 738"/>
                <a:gd name="T34" fmla="*/ 293 w 873"/>
                <a:gd name="T35" fmla="*/ 660 h 738"/>
                <a:gd name="T36" fmla="*/ 236 w 873"/>
                <a:gd name="T37" fmla="*/ 616 h 738"/>
                <a:gd name="T38" fmla="*/ 167 w 873"/>
                <a:gd name="T39" fmla="*/ 534 h 73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873" h="738">
                  <a:moveTo>
                    <a:pt x="167" y="534"/>
                  </a:moveTo>
                  <a:cubicBezTo>
                    <a:pt x="190" y="522"/>
                    <a:pt x="208" y="505"/>
                    <a:pt x="225" y="485"/>
                  </a:cubicBezTo>
                  <a:cubicBezTo>
                    <a:pt x="251" y="459"/>
                    <a:pt x="277" y="432"/>
                    <a:pt x="303" y="406"/>
                  </a:cubicBezTo>
                  <a:cubicBezTo>
                    <a:pt x="274" y="373"/>
                    <a:pt x="247" y="337"/>
                    <a:pt x="217" y="305"/>
                  </a:cubicBezTo>
                  <a:cubicBezTo>
                    <a:pt x="186" y="291"/>
                    <a:pt x="152" y="280"/>
                    <a:pt x="121" y="264"/>
                  </a:cubicBezTo>
                  <a:cubicBezTo>
                    <a:pt x="91" y="240"/>
                    <a:pt x="61" y="216"/>
                    <a:pt x="31" y="192"/>
                  </a:cubicBezTo>
                  <a:cubicBezTo>
                    <a:pt x="60" y="159"/>
                    <a:pt x="89" y="126"/>
                    <a:pt x="119" y="93"/>
                  </a:cubicBezTo>
                  <a:cubicBezTo>
                    <a:pt x="79" y="62"/>
                    <a:pt x="39" y="31"/>
                    <a:pt x="0" y="0"/>
                  </a:cubicBezTo>
                  <a:cubicBezTo>
                    <a:pt x="165" y="130"/>
                    <a:pt x="331" y="259"/>
                    <a:pt x="496" y="389"/>
                  </a:cubicBezTo>
                  <a:cubicBezTo>
                    <a:pt x="539" y="333"/>
                    <a:pt x="581" y="277"/>
                    <a:pt x="624" y="221"/>
                  </a:cubicBezTo>
                  <a:cubicBezTo>
                    <a:pt x="647" y="212"/>
                    <a:pt x="670" y="206"/>
                    <a:pt x="695" y="207"/>
                  </a:cubicBezTo>
                  <a:cubicBezTo>
                    <a:pt x="754" y="203"/>
                    <a:pt x="814" y="199"/>
                    <a:pt x="873" y="195"/>
                  </a:cubicBezTo>
                  <a:cubicBezTo>
                    <a:pt x="854" y="311"/>
                    <a:pt x="834" y="426"/>
                    <a:pt x="815" y="541"/>
                  </a:cubicBezTo>
                  <a:cubicBezTo>
                    <a:pt x="795" y="569"/>
                    <a:pt x="778" y="599"/>
                    <a:pt x="757" y="626"/>
                  </a:cubicBezTo>
                  <a:cubicBezTo>
                    <a:pt x="733" y="643"/>
                    <a:pt x="709" y="663"/>
                    <a:pt x="683" y="678"/>
                  </a:cubicBezTo>
                  <a:cubicBezTo>
                    <a:pt x="556" y="698"/>
                    <a:pt x="430" y="719"/>
                    <a:pt x="303" y="738"/>
                  </a:cubicBezTo>
                  <a:cubicBezTo>
                    <a:pt x="303" y="729"/>
                    <a:pt x="304" y="710"/>
                    <a:pt x="305" y="697"/>
                  </a:cubicBezTo>
                  <a:cubicBezTo>
                    <a:pt x="304" y="683"/>
                    <a:pt x="312" y="664"/>
                    <a:pt x="293" y="660"/>
                  </a:cubicBezTo>
                  <a:cubicBezTo>
                    <a:pt x="273" y="647"/>
                    <a:pt x="249" y="638"/>
                    <a:pt x="236" y="616"/>
                  </a:cubicBezTo>
                  <a:cubicBezTo>
                    <a:pt x="213" y="589"/>
                    <a:pt x="190" y="561"/>
                    <a:pt x="167" y="534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3" name="Freeform 103"/>
            <p:cNvSpPr>
              <a:spLocks/>
            </p:cNvSpPr>
            <p:nvPr/>
          </p:nvSpPr>
          <p:spPr bwMode="auto">
            <a:xfrm>
              <a:off x="2482060" y="2818953"/>
              <a:ext cx="248439" cy="160454"/>
            </a:xfrm>
            <a:custGeom>
              <a:avLst/>
              <a:gdLst>
                <a:gd name="T0" fmla="*/ 441 w 677"/>
                <a:gd name="T1" fmla="*/ 488 h 492"/>
                <a:gd name="T2" fmla="*/ 356 w 677"/>
                <a:gd name="T3" fmla="*/ 492 h 492"/>
                <a:gd name="T4" fmla="*/ 247 w 677"/>
                <a:gd name="T5" fmla="*/ 424 h 492"/>
                <a:gd name="T6" fmla="*/ 0 w 677"/>
                <a:gd name="T7" fmla="*/ 48 h 492"/>
                <a:gd name="T8" fmla="*/ 26 w 677"/>
                <a:gd name="T9" fmla="*/ 43 h 492"/>
                <a:gd name="T10" fmla="*/ 85 w 677"/>
                <a:gd name="T11" fmla="*/ 79 h 492"/>
                <a:gd name="T12" fmla="*/ 128 w 677"/>
                <a:gd name="T13" fmla="*/ 90 h 492"/>
                <a:gd name="T14" fmla="*/ 207 w 677"/>
                <a:gd name="T15" fmla="*/ 87 h 492"/>
                <a:gd name="T16" fmla="*/ 534 w 677"/>
                <a:gd name="T17" fmla="*/ 0 h 492"/>
                <a:gd name="T18" fmla="*/ 586 w 677"/>
                <a:gd name="T19" fmla="*/ 200 h 492"/>
                <a:gd name="T20" fmla="*/ 594 w 677"/>
                <a:gd name="T21" fmla="*/ 391 h 492"/>
                <a:gd name="T22" fmla="*/ 661 w 677"/>
                <a:gd name="T23" fmla="*/ 471 h 492"/>
                <a:gd name="T24" fmla="*/ 643 w 677"/>
                <a:gd name="T25" fmla="*/ 476 h 492"/>
                <a:gd name="T26" fmla="*/ 441 w 677"/>
                <a:gd name="T27" fmla="*/ 488 h 4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677" h="492">
                  <a:moveTo>
                    <a:pt x="441" y="488"/>
                  </a:moveTo>
                  <a:cubicBezTo>
                    <a:pt x="413" y="490"/>
                    <a:pt x="384" y="491"/>
                    <a:pt x="356" y="492"/>
                  </a:cubicBezTo>
                  <a:cubicBezTo>
                    <a:pt x="320" y="469"/>
                    <a:pt x="282" y="448"/>
                    <a:pt x="247" y="424"/>
                  </a:cubicBezTo>
                  <a:cubicBezTo>
                    <a:pt x="165" y="298"/>
                    <a:pt x="83" y="173"/>
                    <a:pt x="0" y="48"/>
                  </a:cubicBezTo>
                  <a:cubicBezTo>
                    <a:pt x="9" y="41"/>
                    <a:pt x="18" y="31"/>
                    <a:pt x="26" y="43"/>
                  </a:cubicBezTo>
                  <a:cubicBezTo>
                    <a:pt x="45" y="57"/>
                    <a:pt x="62" y="72"/>
                    <a:pt x="85" y="79"/>
                  </a:cubicBezTo>
                  <a:cubicBezTo>
                    <a:pt x="99" y="84"/>
                    <a:pt x="112" y="94"/>
                    <a:pt x="128" y="90"/>
                  </a:cubicBezTo>
                  <a:cubicBezTo>
                    <a:pt x="154" y="89"/>
                    <a:pt x="181" y="90"/>
                    <a:pt x="207" y="87"/>
                  </a:cubicBezTo>
                  <a:cubicBezTo>
                    <a:pt x="316" y="58"/>
                    <a:pt x="425" y="29"/>
                    <a:pt x="534" y="0"/>
                  </a:cubicBezTo>
                  <a:cubicBezTo>
                    <a:pt x="552" y="67"/>
                    <a:pt x="570" y="133"/>
                    <a:pt x="586" y="200"/>
                  </a:cubicBezTo>
                  <a:cubicBezTo>
                    <a:pt x="589" y="264"/>
                    <a:pt x="591" y="327"/>
                    <a:pt x="594" y="391"/>
                  </a:cubicBezTo>
                  <a:cubicBezTo>
                    <a:pt x="616" y="417"/>
                    <a:pt x="638" y="446"/>
                    <a:pt x="661" y="471"/>
                  </a:cubicBezTo>
                  <a:cubicBezTo>
                    <a:pt x="677" y="477"/>
                    <a:pt x="649" y="474"/>
                    <a:pt x="643" y="476"/>
                  </a:cubicBezTo>
                  <a:cubicBezTo>
                    <a:pt x="576" y="480"/>
                    <a:pt x="509" y="484"/>
                    <a:pt x="441" y="488"/>
                  </a:cubicBezTo>
                  <a:close/>
                </a:path>
              </a:pathLst>
            </a:custGeom>
            <a:solidFill>
              <a:srgbClr val="E9F3FD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4" name="Freeform 104"/>
            <p:cNvSpPr>
              <a:spLocks/>
            </p:cNvSpPr>
            <p:nvPr/>
          </p:nvSpPr>
          <p:spPr bwMode="auto">
            <a:xfrm>
              <a:off x="1154111" y="1384643"/>
              <a:ext cx="556242" cy="467666"/>
            </a:xfrm>
            <a:custGeom>
              <a:avLst/>
              <a:gdLst>
                <a:gd name="T0" fmla="*/ 384 w 506"/>
                <a:gd name="T1" fmla="*/ 401 h 478"/>
                <a:gd name="T2" fmla="*/ 355 w 506"/>
                <a:gd name="T3" fmla="*/ 338 h 478"/>
                <a:gd name="T4" fmla="*/ 429 w 506"/>
                <a:gd name="T5" fmla="*/ 273 h 478"/>
                <a:gd name="T6" fmla="*/ 444 w 506"/>
                <a:gd name="T7" fmla="*/ 256 h 478"/>
                <a:gd name="T8" fmla="*/ 424 w 506"/>
                <a:gd name="T9" fmla="*/ 198 h 478"/>
                <a:gd name="T10" fmla="*/ 441 w 506"/>
                <a:gd name="T11" fmla="*/ 114 h 478"/>
                <a:gd name="T12" fmla="*/ 501 w 506"/>
                <a:gd name="T13" fmla="*/ 87 h 478"/>
                <a:gd name="T14" fmla="*/ 506 w 506"/>
                <a:gd name="T15" fmla="*/ 64 h 478"/>
                <a:gd name="T16" fmla="*/ 492 w 506"/>
                <a:gd name="T17" fmla="*/ 38 h 478"/>
                <a:gd name="T18" fmla="*/ 471 w 506"/>
                <a:gd name="T19" fmla="*/ 22 h 478"/>
                <a:gd name="T20" fmla="*/ 445 w 506"/>
                <a:gd name="T21" fmla="*/ 28 h 478"/>
                <a:gd name="T22" fmla="*/ 432 w 506"/>
                <a:gd name="T23" fmla="*/ 42 h 478"/>
                <a:gd name="T24" fmla="*/ 347 w 506"/>
                <a:gd name="T25" fmla="*/ 81 h 478"/>
                <a:gd name="T26" fmla="*/ 346 w 506"/>
                <a:gd name="T27" fmla="*/ 47 h 478"/>
                <a:gd name="T28" fmla="*/ 322 w 506"/>
                <a:gd name="T29" fmla="*/ 35 h 478"/>
                <a:gd name="T30" fmla="*/ 293 w 506"/>
                <a:gd name="T31" fmla="*/ 56 h 478"/>
                <a:gd name="T32" fmla="*/ 249 w 506"/>
                <a:gd name="T33" fmla="*/ 29 h 478"/>
                <a:gd name="T34" fmla="*/ 161 w 506"/>
                <a:gd name="T35" fmla="*/ 9 h 478"/>
                <a:gd name="T36" fmla="*/ 158 w 506"/>
                <a:gd name="T37" fmla="*/ 22 h 478"/>
                <a:gd name="T38" fmla="*/ 131 w 506"/>
                <a:gd name="T39" fmla="*/ 59 h 478"/>
                <a:gd name="T40" fmla="*/ 101 w 506"/>
                <a:gd name="T41" fmla="*/ 45 h 478"/>
                <a:gd name="T42" fmla="*/ 92 w 506"/>
                <a:gd name="T43" fmla="*/ 16 h 478"/>
                <a:gd name="T44" fmla="*/ 67 w 506"/>
                <a:gd name="T45" fmla="*/ 6 h 478"/>
                <a:gd name="T46" fmla="*/ 37 w 506"/>
                <a:gd name="T47" fmla="*/ 30 h 478"/>
                <a:gd name="T48" fmla="*/ 35 w 506"/>
                <a:gd name="T49" fmla="*/ 54 h 478"/>
                <a:gd name="T50" fmla="*/ 133 w 506"/>
                <a:gd name="T51" fmla="*/ 175 h 478"/>
                <a:gd name="T52" fmla="*/ 76 w 506"/>
                <a:gd name="T53" fmla="*/ 171 h 478"/>
                <a:gd name="T54" fmla="*/ 0 w 506"/>
                <a:gd name="T55" fmla="*/ 225 h 478"/>
                <a:gd name="T56" fmla="*/ 61 w 506"/>
                <a:gd name="T57" fmla="*/ 273 h 478"/>
                <a:gd name="T58" fmla="*/ 79 w 506"/>
                <a:gd name="T59" fmla="*/ 324 h 478"/>
                <a:gd name="T60" fmla="*/ 113 w 506"/>
                <a:gd name="T61" fmla="*/ 321 h 478"/>
                <a:gd name="T62" fmla="*/ 148 w 506"/>
                <a:gd name="T63" fmla="*/ 266 h 478"/>
                <a:gd name="T64" fmla="*/ 228 w 506"/>
                <a:gd name="T65" fmla="*/ 368 h 478"/>
                <a:gd name="T66" fmla="*/ 188 w 506"/>
                <a:gd name="T67" fmla="*/ 412 h 478"/>
                <a:gd name="T68" fmla="*/ 221 w 506"/>
                <a:gd name="T69" fmla="*/ 478 h 478"/>
                <a:gd name="T70" fmla="*/ 264 w 506"/>
                <a:gd name="T71" fmla="*/ 435 h 478"/>
                <a:gd name="T72" fmla="*/ 289 w 506"/>
                <a:gd name="T73" fmla="*/ 438 h 478"/>
                <a:gd name="T74" fmla="*/ 325 w 506"/>
                <a:gd name="T75" fmla="*/ 442 h 4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506" h="478">
                  <a:moveTo>
                    <a:pt x="325" y="442"/>
                  </a:moveTo>
                  <a:lnTo>
                    <a:pt x="384" y="401"/>
                  </a:lnTo>
                  <a:lnTo>
                    <a:pt x="358" y="369"/>
                  </a:lnTo>
                  <a:lnTo>
                    <a:pt x="355" y="338"/>
                  </a:lnTo>
                  <a:lnTo>
                    <a:pt x="387" y="251"/>
                  </a:lnTo>
                  <a:lnTo>
                    <a:pt x="429" y="273"/>
                  </a:lnTo>
                  <a:lnTo>
                    <a:pt x="439" y="269"/>
                  </a:lnTo>
                  <a:lnTo>
                    <a:pt x="444" y="256"/>
                  </a:lnTo>
                  <a:lnTo>
                    <a:pt x="439" y="254"/>
                  </a:lnTo>
                  <a:lnTo>
                    <a:pt x="424" y="198"/>
                  </a:lnTo>
                  <a:lnTo>
                    <a:pt x="411" y="186"/>
                  </a:lnTo>
                  <a:lnTo>
                    <a:pt x="441" y="114"/>
                  </a:lnTo>
                  <a:lnTo>
                    <a:pt x="494" y="112"/>
                  </a:lnTo>
                  <a:lnTo>
                    <a:pt x="501" y="87"/>
                  </a:lnTo>
                  <a:lnTo>
                    <a:pt x="500" y="73"/>
                  </a:lnTo>
                  <a:lnTo>
                    <a:pt x="506" y="64"/>
                  </a:lnTo>
                  <a:lnTo>
                    <a:pt x="497" y="58"/>
                  </a:lnTo>
                  <a:lnTo>
                    <a:pt x="492" y="38"/>
                  </a:lnTo>
                  <a:lnTo>
                    <a:pt x="476" y="37"/>
                  </a:lnTo>
                  <a:lnTo>
                    <a:pt x="471" y="22"/>
                  </a:lnTo>
                  <a:lnTo>
                    <a:pt x="445" y="38"/>
                  </a:lnTo>
                  <a:lnTo>
                    <a:pt x="445" y="28"/>
                  </a:lnTo>
                  <a:lnTo>
                    <a:pt x="429" y="34"/>
                  </a:lnTo>
                  <a:lnTo>
                    <a:pt x="432" y="42"/>
                  </a:lnTo>
                  <a:lnTo>
                    <a:pt x="427" y="56"/>
                  </a:lnTo>
                  <a:lnTo>
                    <a:pt x="347" y="81"/>
                  </a:lnTo>
                  <a:lnTo>
                    <a:pt x="339" y="69"/>
                  </a:lnTo>
                  <a:lnTo>
                    <a:pt x="346" y="47"/>
                  </a:lnTo>
                  <a:lnTo>
                    <a:pt x="329" y="44"/>
                  </a:lnTo>
                  <a:lnTo>
                    <a:pt x="322" y="35"/>
                  </a:lnTo>
                  <a:lnTo>
                    <a:pt x="292" y="39"/>
                  </a:lnTo>
                  <a:lnTo>
                    <a:pt x="293" y="56"/>
                  </a:lnTo>
                  <a:lnTo>
                    <a:pt x="279" y="55"/>
                  </a:lnTo>
                  <a:lnTo>
                    <a:pt x="249" y="29"/>
                  </a:lnTo>
                  <a:lnTo>
                    <a:pt x="256" y="14"/>
                  </a:lnTo>
                  <a:lnTo>
                    <a:pt x="161" y="9"/>
                  </a:lnTo>
                  <a:lnTo>
                    <a:pt x="154" y="13"/>
                  </a:lnTo>
                  <a:lnTo>
                    <a:pt x="158" y="22"/>
                  </a:lnTo>
                  <a:lnTo>
                    <a:pt x="149" y="24"/>
                  </a:lnTo>
                  <a:lnTo>
                    <a:pt x="131" y="59"/>
                  </a:lnTo>
                  <a:lnTo>
                    <a:pt x="110" y="39"/>
                  </a:lnTo>
                  <a:lnTo>
                    <a:pt x="101" y="45"/>
                  </a:lnTo>
                  <a:lnTo>
                    <a:pt x="88" y="23"/>
                  </a:lnTo>
                  <a:lnTo>
                    <a:pt x="92" y="16"/>
                  </a:lnTo>
                  <a:lnTo>
                    <a:pt x="88" y="6"/>
                  </a:lnTo>
                  <a:lnTo>
                    <a:pt x="67" y="6"/>
                  </a:lnTo>
                  <a:lnTo>
                    <a:pt x="65" y="0"/>
                  </a:lnTo>
                  <a:lnTo>
                    <a:pt x="37" y="30"/>
                  </a:lnTo>
                  <a:lnTo>
                    <a:pt x="40" y="40"/>
                  </a:lnTo>
                  <a:lnTo>
                    <a:pt x="35" y="54"/>
                  </a:lnTo>
                  <a:lnTo>
                    <a:pt x="79" y="124"/>
                  </a:lnTo>
                  <a:lnTo>
                    <a:pt x="133" y="175"/>
                  </a:lnTo>
                  <a:lnTo>
                    <a:pt x="115" y="196"/>
                  </a:lnTo>
                  <a:lnTo>
                    <a:pt x="76" y="171"/>
                  </a:lnTo>
                  <a:lnTo>
                    <a:pt x="41" y="203"/>
                  </a:lnTo>
                  <a:lnTo>
                    <a:pt x="0" y="225"/>
                  </a:lnTo>
                  <a:lnTo>
                    <a:pt x="35" y="233"/>
                  </a:lnTo>
                  <a:lnTo>
                    <a:pt x="61" y="273"/>
                  </a:lnTo>
                  <a:lnTo>
                    <a:pt x="78" y="302"/>
                  </a:lnTo>
                  <a:lnTo>
                    <a:pt x="79" y="324"/>
                  </a:lnTo>
                  <a:lnTo>
                    <a:pt x="102" y="333"/>
                  </a:lnTo>
                  <a:lnTo>
                    <a:pt x="113" y="321"/>
                  </a:lnTo>
                  <a:lnTo>
                    <a:pt x="108" y="297"/>
                  </a:lnTo>
                  <a:lnTo>
                    <a:pt x="148" y="266"/>
                  </a:lnTo>
                  <a:lnTo>
                    <a:pt x="262" y="355"/>
                  </a:lnTo>
                  <a:lnTo>
                    <a:pt x="228" y="368"/>
                  </a:lnTo>
                  <a:lnTo>
                    <a:pt x="202" y="404"/>
                  </a:lnTo>
                  <a:lnTo>
                    <a:pt x="188" y="412"/>
                  </a:lnTo>
                  <a:lnTo>
                    <a:pt x="212" y="446"/>
                  </a:lnTo>
                  <a:lnTo>
                    <a:pt x="221" y="478"/>
                  </a:lnTo>
                  <a:lnTo>
                    <a:pt x="262" y="446"/>
                  </a:lnTo>
                  <a:lnTo>
                    <a:pt x="264" y="435"/>
                  </a:lnTo>
                  <a:lnTo>
                    <a:pt x="292" y="419"/>
                  </a:lnTo>
                  <a:lnTo>
                    <a:pt x="289" y="438"/>
                  </a:lnTo>
                  <a:lnTo>
                    <a:pt x="324" y="434"/>
                  </a:lnTo>
                  <a:lnTo>
                    <a:pt x="325" y="442"/>
                  </a:lnTo>
                  <a:lnTo>
                    <a:pt x="325" y="442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5" name="Freeform 105"/>
            <p:cNvSpPr>
              <a:spLocks noEditPoints="1"/>
            </p:cNvSpPr>
            <p:nvPr/>
          </p:nvSpPr>
          <p:spPr bwMode="auto">
            <a:xfrm>
              <a:off x="2106100" y="2748511"/>
              <a:ext cx="205569" cy="236768"/>
            </a:xfrm>
            <a:custGeom>
              <a:avLst/>
              <a:gdLst>
                <a:gd name="T0" fmla="*/ 186 w 187"/>
                <a:gd name="T1" fmla="*/ 1 h 242"/>
                <a:gd name="T2" fmla="*/ 161 w 187"/>
                <a:gd name="T3" fmla="*/ 40 h 242"/>
                <a:gd name="T4" fmla="*/ 134 w 187"/>
                <a:gd name="T5" fmla="*/ 95 h 242"/>
                <a:gd name="T6" fmla="*/ 187 w 187"/>
                <a:gd name="T7" fmla="*/ 118 h 242"/>
                <a:gd name="T8" fmla="*/ 179 w 187"/>
                <a:gd name="T9" fmla="*/ 157 h 242"/>
                <a:gd name="T10" fmla="*/ 175 w 187"/>
                <a:gd name="T11" fmla="*/ 215 h 242"/>
                <a:gd name="T12" fmla="*/ 96 w 187"/>
                <a:gd name="T13" fmla="*/ 242 h 242"/>
                <a:gd name="T14" fmla="*/ 95 w 187"/>
                <a:gd name="T15" fmla="*/ 235 h 242"/>
                <a:gd name="T16" fmla="*/ 93 w 187"/>
                <a:gd name="T17" fmla="*/ 235 h 242"/>
                <a:gd name="T18" fmla="*/ 92 w 187"/>
                <a:gd name="T19" fmla="*/ 219 h 242"/>
                <a:gd name="T20" fmla="*/ 46 w 187"/>
                <a:gd name="T21" fmla="*/ 120 h 242"/>
                <a:gd name="T22" fmla="*/ 2 w 187"/>
                <a:gd name="T23" fmla="*/ 28 h 242"/>
                <a:gd name="T24" fmla="*/ 1 w 187"/>
                <a:gd name="T25" fmla="*/ 1 h 242"/>
                <a:gd name="T26" fmla="*/ 0 w 187"/>
                <a:gd name="T27" fmla="*/ 0 h 242"/>
                <a:gd name="T28" fmla="*/ 1 w 187"/>
                <a:gd name="T29" fmla="*/ 1 h 242"/>
                <a:gd name="T30" fmla="*/ 159 w 187"/>
                <a:gd name="T31" fmla="*/ 5 h 242"/>
                <a:gd name="T32" fmla="*/ 185 w 187"/>
                <a:gd name="T33" fmla="*/ 1 h 242"/>
                <a:gd name="T34" fmla="*/ 186 w 187"/>
                <a:gd name="T35" fmla="*/ 0 h 242"/>
                <a:gd name="T36" fmla="*/ 186 w 187"/>
                <a:gd name="T37" fmla="*/ 1 h 242"/>
                <a:gd name="T38" fmla="*/ 186 w 187"/>
                <a:gd name="T39" fmla="*/ 1 h 242"/>
                <a:gd name="T40" fmla="*/ 186 w 187"/>
                <a:gd name="T41" fmla="*/ 1 h 242"/>
                <a:gd name="T42" fmla="*/ 0 w 187"/>
                <a:gd name="T43" fmla="*/ 0 h 242"/>
                <a:gd name="T44" fmla="*/ 0 w 187"/>
                <a:gd name="T45" fmla="*/ 0 h 242"/>
                <a:gd name="T46" fmla="*/ 0 w 187"/>
                <a:gd name="T47" fmla="*/ 0 h 242"/>
                <a:gd name="T48" fmla="*/ 0 w 187"/>
                <a:gd name="T49" fmla="*/ 0 h 242"/>
                <a:gd name="T50" fmla="*/ 0 w 187"/>
                <a:gd name="T51" fmla="*/ 0 h 242"/>
                <a:gd name="T52" fmla="*/ 0 w 187"/>
                <a:gd name="T53" fmla="*/ 0 h 2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187" h="242">
                  <a:moveTo>
                    <a:pt x="186" y="1"/>
                  </a:moveTo>
                  <a:lnTo>
                    <a:pt x="161" y="40"/>
                  </a:lnTo>
                  <a:lnTo>
                    <a:pt x="134" y="95"/>
                  </a:lnTo>
                  <a:lnTo>
                    <a:pt x="187" y="118"/>
                  </a:lnTo>
                  <a:lnTo>
                    <a:pt x="179" y="157"/>
                  </a:lnTo>
                  <a:lnTo>
                    <a:pt x="175" y="215"/>
                  </a:lnTo>
                  <a:lnTo>
                    <a:pt x="96" y="242"/>
                  </a:lnTo>
                  <a:lnTo>
                    <a:pt x="95" y="235"/>
                  </a:lnTo>
                  <a:lnTo>
                    <a:pt x="93" y="235"/>
                  </a:lnTo>
                  <a:lnTo>
                    <a:pt x="92" y="219"/>
                  </a:lnTo>
                  <a:lnTo>
                    <a:pt x="46" y="120"/>
                  </a:lnTo>
                  <a:lnTo>
                    <a:pt x="2" y="28"/>
                  </a:lnTo>
                  <a:lnTo>
                    <a:pt x="1" y="1"/>
                  </a:lnTo>
                  <a:lnTo>
                    <a:pt x="0" y="0"/>
                  </a:lnTo>
                  <a:lnTo>
                    <a:pt x="1" y="1"/>
                  </a:lnTo>
                  <a:lnTo>
                    <a:pt x="159" y="5"/>
                  </a:lnTo>
                  <a:lnTo>
                    <a:pt x="185" y="1"/>
                  </a:lnTo>
                  <a:lnTo>
                    <a:pt x="186" y="0"/>
                  </a:lnTo>
                  <a:lnTo>
                    <a:pt x="186" y="1"/>
                  </a:lnTo>
                  <a:lnTo>
                    <a:pt x="186" y="1"/>
                  </a:lnTo>
                  <a:lnTo>
                    <a:pt x="186" y="1"/>
                  </a:lnTo>
                  <a:close/>
                  <a:moveTo>
                    <a:pt x="0" y="0"/>
                  </a:move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6" name="Freeform 116"/>
            <p:cNvSpPr>
              <a:spLocks noEditPoints="1"/>
            </p:cNvSpPr>
            <p:nvPr/>
          </p:nvSpPr>
          <p:spPr bwMode="auto">
            <a:xfrm>
              <a:off x="2682131" y="3637859"/>
              <a:ext cx="291314" cy="326779"/>
            </a:xfrm>
            <a:custGeom>
              <a:avLst/>
              <a:gdLst>
                <a:gd name="T0" fmla="*/ 116 w 265"/>
                <a:gd name="T1" fmla="*/ 309 h 334"/>
                <a:gd name="T2" fmla="*/ 116 w 265"/>
                <a:gd name="T3" fmla="*/ 310 h 334"/>
                <a:gd name="T4" fmla="*/ 119 w 265"/>
                <a:gd name="T5" fmla="*/ 311 h 334"/>
                <a:gd name="T6" fmla="*/ 116 w 265"/>
                <a:gd name="T7" fmla="*/ 309 h 334"/>
                <a:gd name="T8" fmla="*/ 116 w 265"/>
                <a:gd name="T9" fmla="*/ 309 h 334"/>
                <a:gd name="T10" fmla="*/ 116 w 265"/>
                <a:gd name="T11" fmla="*/ 309 h 334"/>
                <a:gd name="T12" fmla="*/ 189 w 265"/>
                <a:gd name="T13" fmla="*/ 31 h 334"/>
                <a:gd name="T14" fmla="*/ 181 w 265"/>
                <a:gd name="T15" fmla="*/ 34 h 334"/>
                <a:gd name="T16" fmla="*/ 181 w 265"/>
                <a:gd name="T17" fmla="*/ 64 h 334"/>
                <a:gd name="T18" fmla="*/ 152 w 265"/>
                <a:gd name="T19" fmla="*/ 64 h 334"/>
                <a:gd name="T20" fmla="*/ 139 w 265"/>
                <a:gd name="T21" fmla="*/ 124 h 334"/>
                <a:gd name="T22" fmla="*/ 167 w 265"/>
                <a:gd name="T23" fmla="*/ 188 h 334"/>
                <a:gd name="T24" fmla="*/ 229 w 265"/>
                <a:gd name="T25" fmla="*/ 168 h 334"/>
                <a:gd name="T26" fmla="*/ 264 w 265"/>
                <a:gd name="T27" fmla="*/ 173 h 334"/>
                <a:gd name="T28" fmla="*/ 259 w 265"/>
                <a:gd name="T29" fmla="*/ 256 h 334"/>
                <a:gd name="T30" fmla="*/ 265 w 265"/>
                <a:gd name="T31" fmla="*/ 309 h 334"/>
                <a:gd name="T32" fmla="*/ 229 w 265"/>
                <a:gd name="T33" fmla="*/ 319 h 334"/>
                <a:gd name="T34" fmla="*/ 187 w 265"/>
                <a:gd name="T35" fmla="*/ 334 h 334"/>
                <a:gd name="T36" fmla="*/ 157 w 265"/>
                <a:gd name="T37" fmla="*/ 334 h 334"/>
                <a:gd name="T38" fmla="*/ 116 w 265"/>
                <a:gd name="T39" fmla="*/ 310 h 334"/>
                <a:gd name="T40" fmla="*/ 92 w 265"/>
                <a:gd name="T41" fmla="*/ 279 h 334"/>
                <a:gd name="T42" fmla="*/ 35 w 265"/>
                <a:gd name="T43" fmla="*/ 166 h 334"/>
                <a:gd name="T44" fmla="*/ 35 w 265"/>
                <a:gd name="T45" fmla="*/ 165 h 334"/>
                <a:gd name="T46" fmla="*/ 0 w 265"/>
                <a:gd name="T47" fmla="*/ 117 h 334"/>
                <a:gd name="T48" fmla="*/ 25 w 265"/>
                <a:gd name="T49" fmla="*/ 120 h 334"/>
                <a:gd name="T50" fmla="*/ 40 w 265"/>
                <a:gd name="T51" fmla="*/ 102 h 334"/>
                <a:gd name="T52" fmla="*/ 38 w 265"/>
                <a:gd name="T53" fmla="*/ 97 h 334"/>
                <a:gd name="T54" fmla="*/ 49 w 265"/>
                <a:gd name="T55" fmla="*/ 79 h 334"/>
                <a:gd name="T56" fmla="*/ 44 w 265"/>
                <a:gd name="T57" fmla="*/ 69 h 334"/>
                <a:gd name="T58" fmla="*/ 59 w 265"/>
                <a:gd name="T59" fmla="*/ 58 h 334"/>
                <a:gd name="T60" fmla="*/ 51 w 265"/>
                <a:gd name="T61" fmla="*/ 55 h 334"/>
                <a:gd name="T62" fmla="*/ 66 w 265"/>
                <a:gd name="T63" fmla="*/ 35 h 334"/>
                <a:gd name="T64" fmla="*/ 58 w 265"/>
                <a:gd name="T65" fmla="*/ 25 h 334"/>
                <a:gd name="T66" fmla="*/ 81 w 265"/>
                <a:gd name="T67" fmla="*/ 0 h 334"/>
                <a:gd name="T68" fmla="*/ 104 w 265"/>
                <a:gd name="T69" fmla="*/ 16 h 334"/>
                <a:gd name="T70" fmla="*/ 158 w 265"/>
                <a:gd name="T71" fmla="*/ 36 h 334"/>
                <a:gd name="T72" fmla="*/ 161 w 265"/>
                <a:gd name="T73" fmla="*/ 18 h 334"/>
                <a:gd name="T74" fmla="*/ 187 w 265"/>
                <a:gd name="T75" fmla="*/ 23 h 334"/>
                <a:gd name="T76" fmla="*/ 189 w 265"/>
                <a:gd name="T77" fmla="*/ 31 h 334"/>
                <a:gd name="T78" fmla="*/ 189 w 265"/>
                <a:gd name="T79" fmla="*/ 31 h 334"/>
                <a:gd name="T80" fmla="*/ 189 w 265"/>
                <a:gd name="T81" fmla="*/ 31 h 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265" h="334">
                  <a:moveTo>
                    <a:pt x="116" y="309"/>
                  </a:moveTo>
                  <a:lnTo>
                    <a:pt x="116" y="310"/>
                  </a:lnTo>
                  <a:lnTo>
                    <a:pt x="119" y="311"/>
                  </a:lnTo>
                  <a:lnTo>
                    <a:pt x="116" y="309"/>
                  </a:lnTo>
                  <a:lnTo>
                    <a:pt x="116" y="309"/>
                  </a:lnTo>
                  <a:lnTo>
                    <a:pt x="116" y="309"/>
                  </a:lnTo>
                  <a:close/>
                  <a:moveTo>
                    <a:pt x="189" y="31"/>
                  </a:moveTo>
                  <a:lnTo>
                    <a:pt x="181" y="34"/>
                  </a:lnTo>
                  <a:lnTo>
                    <a:pt x="181" y="64"/>
                  </a:lnTo>
                  <a:lnTo>
                    <a:pt x="152" y="64"/>
                  </a:lnTo>
                  <a:lnTo>
                    <a:pt x="139" y="124"/>
                  </a:lnTo>
                  <a:lnTo>
                    <a:pt x="167" y="188"/>
                  </a:lnTo>
                  <a:lnTo>
                    <a:pt x="229" y="168"/>
                  </a:lnTo>
                  <a:lnTo>
                    <a:pt x="264" y="173"/>
                  </a:lnTo>
                  <a:lnTo>
                    <a:pt x="259" y="256"/>
                  </a:lnTo>
                  <a:lnTo>
                    <a:pt x="265" y="309"/>
                  </a:lnTo>
                  <a:lnTo>
                    <a:pt x="229" y="319"/>
                  </a:lnTo>
                  <a:lnTo>
                    <a:pt x="187" y="334"/>
                  </a:lnTo>
                  <a:lnTo>
                    <a:pt x="157" y="334"/>
                  </a:lnTo>
                  <a:lnTo>
                    <a:pt x="116" y="310"/>
                  </a:lnTo>
                  <a:lnTo>
                    <a:pt x="92" y="279"/>
                  </a:lnTo>
                  <a:lnTo>
                    <a:pt x="35" y="166"/>
                  </a:lnTo>
                  <a:lnTo>
                    <a:pt x="35" y="165"/>
                  </a:lnTo>
                  <a:lnTo>
                    <a:pt x="0" y="117"/>
                  </a:lnTo>
                  <a:lnTo>
                    <a:pt x="25" y="120"/>
                  </a:lnTo>
                  <a:lnTo>
                    <a:pt x="40" y="102"/>
                  </a:lnTo>
                  <a:lnTo>
                    <a:pt x="38" y="97"/>
                  </a:lnTo>
                  <a:lnTo>
                    <a:pt x="49" y="79"/>
                  </a:lnTo>
                  <a:lnTo>
                    <a:pt x="44" y="69"/>
                  </a:lnTo>
                  <a:lnTo>
                    <a:pt x="59" y="58"/>
                  </a:lnTo>
                  <a:lnTo>
                    <a:pt x="51" y="55"/>
                  </a:lnTo>
                  <a:lnTo>
                    <a:pt x="66" y="35"/>
                  </a:lnTo>
                  <a:lnTo>
                    <a:pt x="58" y="25"/>
                  </a:lnTo>
                  <a:lnTo>
                    <a:pt x="81" y="0"/>
                  </a:lnTo>
                  <a:lnTo>
                    <a:pt x="104" y="16"/>
                  </a:lnTo>
                  <a:lnTo>
                    <a:pt x="158" y="36"/>
                  </a:lnTo>
                  <a:lnTo>
                    <a:pt x="161" y="18"/>
                  </a:lnTo>
                  <a:lnTo>
                    <a:pt x="187" y="23"/>
                  </a:lnTo>
                  <a:lnTo>
                    <a:pt x="189" y="31"/>
                  </a:lnTo>
                  <a:lnTo>
                    <a:pt x="189" y="31"/>
                  </a:lnTo>
                  <a:lnTo>
                    <a:pt x="189" y="3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7" name="Freeform 117"/>
            <p:cNvSpPr>
              <a:spLocks/>
            </p:cNvSpPr>
            <p:nvPr/>
          </p:nvSpPr>
          <p:spPr bwMode="auto">
            <a:xfrm>
              <a:off x="3233974" y="3632967"/>
              <a:ext cx="390252" cy="761182"/>
            </a:xfrm>
            <a:custGeom>
              <a:avLst/>
              <a:gdLst>
                <a:gd name="T0" fmla="*/ 760 w 1064"/>
                <a:gd name="T1" fmla="*/ 51 h 2334"/>
                <a:gd name="T2" fmla="*/ 760 w 1064"/>
                <a:gd name="T3" fmla="*/ 52 h 2334"/>
                <a:gd name="T4" fmla="*/ 761 w 1064"/>
                <a:gd name="T5" fmla="*/ 53 h 2334"/>
                <a:gd name="T6" fmla="*/ 761 w 1064"/>
                <a:gd name="T7" fmla="*/ 53 h 2334"/>
                <a:gd name="T8" fmla="*/ 932 w 1064"/>
                <a:gd name="T9" fmla="*/ 310 h 2334"/>
                <a:gd name="T10" fmla="*/ 975 w 1064"/>
                <a:gd name="T11" fmla="*/ 499 h 2334"/>
                <a:gd name="T12" fmla="*/ 973 w 1064"/>
                <a:gd name="T13" fmla="*/ 632 h 2334"/>
                <a:gd name="T14" fmla="*/ 1001 w 1064"/>
                <a:gd name="T15" fmla="*/ 819 h 2334"/>
                <a:gd name="T16" fmla="*/ 1042 w 1064"/>
                <a:gd name="T17" fmla="*/ 964 h 2334"/>
                <a:gd name="T18" fmla="*/ 1041 w 1064"/>
                <a:gd name="T19" fmla="*/ 964 h 2334"/>
                <a:gd name="T20" fmla="*/ 1064 w 1064"/>
                <a:gd name="T21" fmla="*/ 1047 h 2334"/>
                <a:gd name="T22" fmla="*/ 977 w 1064"/>
                <a:gd name="T23" fmla="*/ 1370 h 2334"/>
                <a:gd name="T24" fmla="*/ 873 w 1064"/>
                <a:gd name="T25" fmla="*/ 1693 h 2334"/>
                <a:gd name="T26" fmla="*/ 813 w 1064"/>
                <a:gd name="T27" fmla="*/ 1782 h 2334"/>
                <a:gd name="T28" fmla="*/ 813 w 1064"/>
                <a:gd name="T29" fmla="*/ 1782 h 2334"/>
                <a:gd name="T30" fmla="*/ 508 w 1064"/>
                <a:gd name="T31" fmla="*/ 2171 h 2334"/>
                <a:gd name="T32" fmla="*/ 409 w 1064"/>
                <a:gd name="T33" fmla="*/ 2280 h 2334"/>
                <a:gd name="T34" fmla="*/ 373 w 1064"/>
                <a:gd name="T35" fmla="*/ 2334 h 2334"/>
                <a:gd name="T36" fmla="*/ 73 w 1064"/>
                <a:gd name="T37" fmla="*/ 2110 h 2334"/>
                <a:gd name="T38" fmla="*/ 0 w 1064"/>
                <a:gd name="T39" fmla="*/ 2038 h 2334"/>
                <a:gd name="T40" fmla="*/ 0 w 1064"/>
                <a:gd name="T41" fmla="*/ 2036 h 2334"/>
                <a:gd name="T42" fmla="*/ 38 w 1064"/>
                <a:gd name="T43" fmla="*/ 1683 h 2334"/>
                <a:gd name="T44" fmla="*/ 151 w 1064"/>
                <a:gd name="T45" fmla="*/ 1570 h 2334"/>
                <a:gd name="T46" fmla="*/ 316 w 1064"/>
                <a:gd name="T47" fmla="*/ 1488 h 2334"/>
                <a:gd name="T48" fmla="*/ 316 w 1064"/>
                <a:gd name="T49" fmla="*/ 1488 h 2334"/>
                <a:gd name="T50" fmla="*/ 542 w 1064"/>
                <a:gd name="T51" fmla="*/ 1369 h 2334"/>
                <a:gd name="T52" fmla="*/ 671 w 1064"/>
                <a:gd name="T53" fmla="*/ 1036 h 2334"/>
                <a:gd name="T54" fmla="*/ 563 w 1064"/>
                <a:gd name="T55" fmla="*/ 905 h 2334"/>
                <a:gd name="T56" fmla="*/ 269 w 1064"/>
                <a:gd name="T57" fmla="*/ 778 h 2334"/>
                <a:gd name="T58" fmla="*/ 222 w 1064"/>
                <a:gd name="T59" fmla="*/ 768 h 2334"/>
                <a:gd name="T60" fmla="*/ 318 w 1064"/>
                <a:gd name="T61" fmla="*/ 565 h 2334"/>
                <a:gd name="T62" fmla="*/ 263 w 1064"/>
                <a:gd name="T63" fmla="*/ 542 h 2334"/>
                <a:gd name="T64" fmla="*/ 123 w 1064"/>
                <a:gd name="T65" fmla="*/ 235 h 2334"/>
                <a:gd name="T66" fmla="*/ 470 w 1064"/>
                <a:gd name="T67" fmla="*/ 57 h 2334"/>
                <a:gd name="T68" fmla="*/ 496 w 1064"/>
                <a:gd name="T69" fmla="*/ 71 h 2334"/>
                <a:gd name="T70" fmla="*/ 530 w 1064"/>
                <a:gd name="T71" fmla="*/ 99 h 2334"/>
                <a:gd name="T72" fmla="*/ 734 w 1064"/>
                <a:gd name="T73" fmla="*/ 0 h 2334"/>
                <a:gd name="T74" fmla="*/ 760 w 1064"/>
                <a:gd name="T75" fmla="*/ 51 h 2334"/>
                <a:gd name="T76" fmla="*/ 760 w 1064"/>
                <a:gd name="T77" fmla="*/ 51 h 2334"/>
                <a:gd name="T78" fmla="*/ 760 w 1064"/>
                <a:gd name="T79" fmla="*/ 51 h 23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1064" h="2334">
                  <a:moveTo>
                    <a:pt x="760" y="51"/>
                  </a:moveTo>
                  <a:cubicBezTo>
                    <a:pt x="760" y="52"/>
                    <a:pt x="760" y="52"/>
                    <a:pt x="760" y="52"/>
                  </a:cubicBezTo>
                  <a:cubicBezTo>
                    <a:pt x="761" y="53"/>
                    <a:pt x="761" y="53"/>
                    <a:pt x="761" y="53"/>
                  </a:cubicBezTo>
                  <a:cubicBezTo>
                    <a:pt x="761" y="53"/>
                    <a:pt x="761" y="53"/>
                    <a:pt x="761" y="53"/>
                  </a:cubicBezTo>
                  <a:cubicBezTo>
                    <a:pt x="932" y="310"/>
                    <a:pt x="932" y="310"/>
                    <a:pt x="932" y="310"/>
                  </a:cubicBezTo>
                  <a:cubicBezTo>
                    <a:pt x="975" y="499"/>
                    <a:pt x="975" y="499"/>
                    <a:pt x="975" y="499"/>
                  </a:cubicBezTo>
                  <a:cubicBezTo>
                    <a:pt x="973" y="632"/>
                    <a:pt x="973" y="632"/>
                    <a:pt x="973" y="632"/>
                  </a:cubicBezTo>
                  <a:cubicBezTo>
                    <a:pt x="1001" y="819"/>
                    <a:pt x="1001" y="819"/>
                    <a:pt x="1001" y="819"/>
                  </a:cubicBezTo>
                  <a:cubicBezTo>
                    <a:pt x="1042" y="964"/>
                    <a:pt x="1042" y="964"/>
                    <a:pt x="1042" y="964"/>
                  </a:cubicBezTo>
                  <a:cubicBezTo>
                    <a:pt x="1041" y="964"/>
                    <a:pt x="1041" y="964"/>
                    <a:pt x="1041" y="964"/>
                  </a:cubicBezTo>
                  <a:cubicBezTo>
                    <a:pt x="1064" y="1047"/>
                    <a:pt x="1064" y="1047"/>
                    <a:pt x="1064" y="1047"/>
                  </a:cubicBezTo>
                  <a:cubicBezTo>
                    <a:pt x="977" y="1370"/>
                    <a:pt x="977" y="1370"/>
                    <a:pt x="977" y="1370"/>
                  </a:cubicBezTo>
                  <a:cubicBezTo>
                    <a:pt x="873" y="1693"/>
                    <a:pt x="873" y="1693"/>
                    <a:pt x="873" y="1693"/>
                  </a:cubicBezTo>
                  <a:cubicBezTo>
                    <a:pt x="813" y="1782"/>
                    <a:pt x="813" y="1782"/>
                    <a:pt x="813" y="1782"/>
                  </a:cubicBezTo>
                  <a:cubicBezTo>
                    <a:pt x="813" y="1782"/>
                    <a:pt x="813" y="1782"/>
                    <a:pt x="813" y="1782"/>
                  </a:cubicBezTo>
                  <a:cubicBezTo>
                    <a:pt x="508" y="2171"/>
                    <a:pt x="508" y="2171"/>
                    <a:pt x="508" y="2171"/>
                  </a:cubicBezTo>
                  <a:cubicBezTo>
                    <a:pt x="409" y="2280"/>
                    <a:pt x="409" y="2280"/>
                    <a:pt x="409" y="2280"/>
                  </a:cubicBezTo>
                  <a:cubicBezTo>
                    <a:pt x="373" y="2334"/>
                    <a:pt x="373" y="2334"/>
                    <a:pt x="373" y="2334"/>
                  </a:cubicBezTo>
                  <a:cubicBezTo>
                    <a:pt x="73" y="2110"/>
                    <a:pt x="73" y="2110"/>
                    <a:pt x="73" y="2110"/>
                  </a:cubicBezTo>
                  <a:cubicBezTo>
                    <a:pt x="0" y="2038"/>
                    <a:pt x="0" y="2038"/>
                    <a:pt x="0" y="2038"/>
                  </a:cubicBezTo>
                  <a:cubicBezTo>
                    <a:pt x="0" y="2036"/>
                    <a:pt x="0" y="2036"/>
                    <a:pt x="0" y="2036"/>
                  </a:cubicBezTo>
                  <a:cubicBezTo>
                    <a:pt x="38" y="1683"/>
                    <a:pt x="38" y="1683"/>
                    <a:pt x="38" y="1683"/>
                  </a:cubicBezTo>
                  <a:cubicBezTo>
                    <a:pt x="38" y="1683"/>
                    <a:pt x="92" y="1585"/>
                    <a:pt x="151" y="1570"/>
                  </a:cubicBezTo>
                  <a:cubicBezTo>
                    <a:pt x="210" y="1556"/>
                    <a:pt x="316" y="1488"/>
                    <a:pt x="316" y="1488"/>
                  </a:cubicBezTo>
                  <a:cubicBezTo>
                    <a:pt x="316" y="1488"/>
                    <a:pt x="316" y="1488"/>
                    <a:pt x="316" y="1488"/>
                  </a:cubicBezTo>
                  <a:cubicBezTo>
                    <a:pt x="542" y="1369"/>
                    <a:pt x="542" y="1369"/>
                    <a:pt x="542" y="1369"/>
                  </a:cubicBezTo>
                  <a:cubicBezTo>
                    <a:pt x="669" y="1303"/>
                    <a:pt x="722" y="1173"/>
                    <a:pt x="671" y="1036"/>
                  </a:cubicBezTo>
                  <a:cubicBezTo>
                    <a:pt x="651" y="983"/>
                    <a:pt x="611" y="935"/>
                    <a:pt x="563" y="905"/>
                  </a:cubicBezTo>
                  <a:cubicBezTo>
                    <a:pt x="473" y="847"/>
                    <a:pt x="374" y="800"/>
                    <a:pt x="269" y="778"/>
                  </a:cubicBezTo>
                  <a:cubicBezTo>
                    <a:pt x="222" y="768"/>
                    <a:pt x="222" y="768"/>
                    <a:pt x="222" y="768"/>
                  </a:cubicBezTo>
                  <a:cubicBezTo>
                    <a:pt x="318" y="565"/>
                    <a:pt x="318" y="565"/>
                    <a:pt x="318" y="565"/>
                  </a:cubicBezTo>
                  <a:cubicBezTo>
                    <a:pt x="263" y="542"/>
                    <a:pt x="263" y="542"/>
                    <a:pt x="263" y="542"/>
                  </a:cubicBezTo>
                  <a:cubicBezTo>
                    <a:pt x="123" y="235"/>
                    <a:pt x="123" y="235"/>
                    <a:pt x="123" y="235"/>
                  </a:cubicBezTo>
                  <a:cubicBezTo>
                    <a:pt x="470" y="57"/>
                    <a:pt x="470" y="57"/>
                    <a:pt x="470" y="57"/>
                  </a:cubicBezTo>
                  <a:cubicBezTo>
                    <a:pt x="496" y="71"/>
                    <a:pt x="496" y="71"/>
                    <a:pt x="496" y="71"/>
                  </a:cubicBezTo>
                  <a:cubicBezTo>
                    <a:pt x="530" y="99"/>
                    <a:pt x="530" y="99"/>
                    <a:pt x="530" y="99"/>
                  </a:cubicBezTo>
                  <a:cubicBezTo>
                    <a:pt x="734" y="0"/>
                    <a:pt x="734" y="0"/>
                    <a:pt x="734" y="0"/>
                  </a:cubicBezTo>
                  <a:cubicBezTo>
                    <a:pt x="760" y="51"/>
                    <a:pt x="760" y="51"/>
                    <a:pt x="760" y="51"/>
                  </a:cubicBezTo>
                  <a:cubicBezTo>
                    <a:pt x="760" y="51"/>
                    <a:pt x="760" y="51"/>
                    <a:pt x="760" y="51"/>
                  </a:cubicBezTo>
                  <a:cubicBezTo>
                    <a:pt x="760" y="51"/>
                    <a:pt x="760" y="51"/>
                    <a:pt x="760" y="51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8" name="Freeform 118"/>
            <p:cNvSpPr>
              <a:spLocks noEditPoints="1"/>
            </p:cNvSpPr>
            <p:nvPr/>
          </p:nvSpPr>
          <p:spPr bwMode="auto">
            <a:xfrm>
              <a:off x="3493410" y="3616336"/>
              <a:ext cx="241846" cy="343413"/>
            </a:xfrm>
            <a:custGeom>
              <a:avLst/>
              <a:gdLst>
                <a:gd name="T0" fmla="*/ 535 w 658"/>
                <a:gd name="T1" fmla="*/ 426 h 1051"/>
                <a:gd name="T2" fmla="*/ 379 w 658"/>
                <a:gd name="T3" fmla="*/ 27 h 1051"/>
                <a:gd name="T4" fmla="*/ 328 w 658"/>
                <a:gd name="T5" fmla="*/ 0 h 1051"/>
                <a:gd name="T6" fmla="*/ 1 w 658"/>
                <a:gd name="T7" fmla="*/ 102 h 1051"/>
                <a:gd name="T8" fmla="*/ 1 w 658"/>
                <a:gd name="T9" fmla="*/ 102 h 1051"/>
                <a:gd name="T10" fmla="*/ 172 w 658"/>
                <a:gd name="T11" fmla="*/ 359 h 1051"/>
                <a:gd name="T12" fmla="*/ 215 w 658"/>
                <a:gd name="T13" fmla="*/ 548 h 1051"/>
                <a:gd name="T14" fmla="*/ 213 w 658"/>
                <a:gd name="T15" fmla="*/ 681 h 1051"/>
                <a:gd name="T16" fmla="*/ 241 w 658"/>
                <a:gd name="T17" fmla="*/ 868 h 1051"/>
                <a:gd name="T18" fmla="*/ 272 w 658"/>
                <a:gd name="T19" fmla="*/ 971 h 1051"/>
                <a:gd name="T20" fmla="*/ 350 w 658"/>
                <a:gd name="T21" fmla="*/ 964 h 1051"/>
                <a:gd name="T22" fmla="*/ 418 w 658"/>
                <a:gd name="T23" fmla="*/ 1018 h 1051"/>
                <a:gd name="T24" fmla="*/ 511 w 658"/>
                <a:gd name="T25" fmla="*/ 1004 h 1051"/>
                <a:gd name="T26" fmla="*/ 624 w 658"/>
                <a:gd name="T27" fmla="*/ 1051 h 1051"/>
                <a:gd name="T28" fmla="*/ 658 w 658"/>
                <a:gd name="T29" fmla="*/ 987 h 1051"/>
                <a:gd name="T30" fmla="*/ 470 w 658"/>
                <a:gd name="T31" fmla="*/ 499 h 1051"/>
                <a:gd name="T32" fmla="*/ 490 w 658"/>
                <a:gd name="T33" fmla="*/ 445 h 1051"/>
                <a:gd name="T34" fmla="*/ 535 w 658"/>
                <a:gd name="T35" fmla="*/ 426 h 1051"/>
                <a:gd name="T36" fmla="*/ 535 w 658"/>
                <a:gd name="T37" fmla="*/ 426 h 1051"/>
                <a:gd name="T38" fmla="*/ 0 w 658"/>
                <a:gd name="T39" fmla="*/ 100 h 1051"/>
                <a:gd name="T40" fmla="*/ 0 w 658"/>
                <a:gd name="T41" fmla="*/ 100 h 1051"/>
                <a:gd name="T42" fmla="*/ 0 w 658"/>
                <a:gd name="T43" fmla="*/ 101 h 1051"/>
                <a:gd name="T44" fmla="*/ 0 w 658"/>
                <a:gd name="T45" fmla="*/ 100 h 1051"/>
                <a:gd name="T46" fmla="*/ 0 w 658"/>
                <a:gd name="T47" fmla="*/ 100 h 10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58" h="1051">
                  <a:moveTo>
                    <a:pt x="535" y="426"/>
                  </a:moveTo>
                  <a:cubicBezTo>
                    <a:pt x="379" y="27"/>
                    <a:pt x="379" y="27"/>
                    <a:pt x="379" y="27"/>
                  </a:cubicBezTo>
                  <a:cubicBezTo>
                    <a:pt x="328" y="0"/>
                    <a:pt x="328" y="0"/>
                    <a:pt x="328" y="0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" y="102"/>
                    <a:pt x="1" y="102"/>
                    <a:pt x="1" y="102"/>
                  </a:cubicBezTo>
                  <a:cubicBezTo>
                    <a:pt x="172" y="359"/>
                    <a:pt x="172" y="359"/>
                    <a:pt x="172" y="359"/>
                  </a:cubicBezTo>
                  <a:cubicBezTo>
                    <a:pt x="215" y="548"/>
                    <a:pt x="215" y="548"/>
                    <a:pt x="215" y="548"/>
                  </a:cubicBezTo>
                  <a:cubicBezTo>
                    <a:pt x="213" y="681"/>
                    <a:pt x="213" y="681"/>
                    <a:pt x="213" y="681"/>
                  </a:cubicBezTo>
                  <a:cubicBezTo>
                    <a:pt x="241" y="868"/>
                    <a:pt x="241" y="868"/>
                    <a:pt x="241" y="868"/>
                  </a:cubicBezTo>
                  <a:cubicBezTo>
                    <a:pt x="272" y="971"/>
                    <a:pt x="272" y="971"/>
                    <a:pt x="272" y="971"/>
                  </a:cubicBezTo>
                  <a:cubicBezTo>
                    <a:pt x="350" y="964"/>
                    <a:pt x="350" y="964"/>
                    <a:pt x="350" y="964"/>
                  </a:cubicBezTo>
                  <a:cubicBezTo>
                    <a:pt x="418" y="1018"/>
                    <a:pt x="418" y="1018"/>
                    <a:pt x="418" y="1018"/>
                  </a:cubicBezTo>
                  <a:cubicBezTo>
                    <a:pt x="418" y="1018"/>
                    <a:pt x="474" y="1002"/>
                    <a:pt x="511" y="1004"/>
                  </a:cubicBezTo>
                  <a:cubicBezTo>
                    <a:pt x="547" y="1006"/>
                    <a:pt x="624" y="1051"/>
                    <a:pt x="624" y="1051"/>
                  </a:cubicBezTo>
                  <a:cubicBezTo>
                    <a:pt x="658" y="987"/>
                    <a:pt x="658" y="987"/>
                    <a:pt x="658" y="987"/>
                  </a:cubicBezTo>
                  <a:cubicBezTo>
                    <a:pt x="470" y="499"/>
                    <a:pt x="470" y="499"/>
                    <a:pt x="470" y="499"/>
                  </a:cubicBezTo>
                  <a:cubicBezTo>
                    <a:pt x="490" y="445"/>
                    <a:pt x="490" y="445"/>
                    <a:pt x="490" y="445"/>
                  </a:cubicBezTo>
                  <a:cubicBezTo>
                    <a:pt x="535" y="426"/>
                    <a:pt x="535" y="426"/>
                    <a:pt x="535" y="426"/>
                  </a:cubicBezTo>
                  <a:cubicBezTo>
                    <a:pt x="535" y="426"/>
                    <a:pt x="535" y="426"/>
                    <a:pt x="535" y="426"/>
                  </a:cubicBezTo>
                  <a:close/>
                  <a:moveTo>
                    <a:pt x="0" y="100"/>
                  </a:moveTo>
                  <a:cubicBezTo>
                    <a:pt x="0" y="100"/>
                    <a:pt x="0" y="100"/>
                    <a:pt x="0" y="100"/>
                  </a:cubicBezTo>
                  <a:cubicBezTo>
                    <a:pt x="0" y="101"/>
                    <a:pt x="0" y="101"/>
                    <a:pt x="0" y="101"/>
                  </a:cubicBezTo>
                  <a:cubicBezTo>
                    <a:pt x="0" y="100"/>
                    <a:pt x="0" y="100"/>
                    <a:pt x="0" y="100"/>
                  </a:cubicBezTo>
                  <a:cubicBezTo>
                    <a:pt x="0" y="100"/>
                    <a:pt x="0" y="100"/>
                    <a:pt x="0" y="100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9" name="Freeform 119"/>
            <p:cNvSpPr>
              <a:spLocks/>
            </p:cNvSpPr>
            <p:nvPr/>
          </p:nvSpPr>
          <p:spPr bwMode="auto">
            <a:xfrm>
              <a:off x="3235075" y="2139956"/>
              <a:ext cx="682662" cy="663342"/>
            </a:xfrm>
            <a:custGeom>
              <a:avLst/>
              <a:gdLst>
                <a:gd name="T0" fmla="*/ 1212 w 1862"/>
                <a:gd name="T1" fmla="*/ 1939 h 2032"/>
                <a:gd name="T2" fmla="*/ 1057 w 1862"/>
                <a:gd name="T3" fmla="*/ 1787 h 2032"/>
                <a:gd name="T4" fmla="*/ 236 w 1862"/>
                <a:gd name="T5" fmla="*/ 1290 h 2032"/>
                <a:gd name="T6" fmla="*/ 0 w 1862"/>
                <a:gd name="T7" fmla="*/ 1188 h 2032"/>
                <a:gd name="T8" fmla="*/ 92 w 1862"/>
                <a:gd name="T9" fmla="*/ 1126 h 2032"/>
                <a:gd name="T10" fmla="*/ 180 w 1862"/>
                <a:gd name="T11" fmla="*/ 1008 h 2032"/>
                <a:gd name="T12" fmla="*/ 321 w 1862"/>
                <a:gd name="T13" fmla="*/ 866 h 2032"/>
                <a:gd name="T14" fmla="*/ 291 w 1862"/>
                <a:gd name="T15" fmla="*/ 796 h 2032"/>
                <a:gd name="T16" fmla="*/ 285 w 1862"/>
                <a:gd name="T17" fmla="*/ 729 h 2032"/>
                <a:gd name="T18" fmla="*/ 262 w 1862"/>
                <a:gd name="T19" fmla="*/ 667 h 2032"/>
                <a:gd name="T20" fmla="*/ 349 w 1862"/>
                <a:gd name="T21" fmla="*/ 685 h 2032"/>
                <a:gd name="T22" fmla="*/ 368 w 1862"/>
                <a:gd name="T23" fmla="*/ 766 h 2032"/>
                <a:gd name="T24" fmla="*/ 387 w 1862"/>
                <a:gd name="T25" fmla="*/ 838 h 2032"/>
                <a:gd name="T26" fmla="*/ 422 w 1862"/>
                <a:gd name="T27" fmla="*/ 903 h 2032"/>
                <a:gd name="T28" fmla="*/ 511 w 1862"/>
                <a:gd name="T29" fmla="*/ 916 h 2032"/>
                <a:gd name="T30" fmla="*/ 699 w 1862"/>
                <a:gd name="T31" fmla="*/ 938 h 2032"/>
                <a:gd name="T32" fmla="*/ 812 w 1862"/>
                <a:gd name="T33" fmla="*/ 761 h 2032"/>
                <a:gd name="T34" fmla="*/ 794 w 1862"/>
                <a:gd name="T35" fmla="*/ 576 h 2032"/>
                <a:gd name="T36" fmla="*/ 746 w 1862"/>
                <a:gd name="T37" fmla="*/ 514 h 2032"/>
                <a:gd name="T38" fmla="*/ 458 w 1862"/>
                <a:gd name="T39" fmla="*/ 516 h 2032"/>
                <a:gd name="T40" fmla="*/ 596 w 1862"/>
                <a:gd name="T41" fmla="*/ 394 h 2032"/>
                <a:gd name="T42" fmla="*/ 643 w 1862"/>
                <a:gd name="T43" fmla="*/ 316 h 2032"/>
                <a:gd name="T44" fmla="*/ 807 w 1862"/>
                <a:gd name="T45" fmla="*/ 150 h 2032"/>
                <a:gd name="T46" fmla="*/ 828 w 1862"/>
                <a:gd name="T47" fmla="*/ 136 h 2032"/>
                <a:gd name="T48" fmla="*/ 916 w 1862"/>
                <a:gd name="T49" fmla="*/ 134 h 2032"/>
                <a:gd name="T50" fmla="*/ 976 w 1862"/>
                <a:gd name="T51" fmla="*/ 72 h 2032"/>
                <a:gd name="T52" fmla="*/ 1031 w 1862"/>
                <a:gd name="T53" fmla="*/ 0 h 2032"/>
                <a:gd name="T54" fmla="*/ 1137 w 1862"/>
                <a:gd name="T55" fmla="*/ 91 h 2032"/>
                <a:gd name="T56" fmla="*/ 1753 w 1862"/>
                <a:gd name="T57" fmla="*/ 647 h 2032"/>
                <a:gd name="T58" fmla="*/ 1819 w 1862"/>
                <a:gd name="T59" fmla="*/ 1552 h 2032"/>
                <a:gd name="T60" fmla="*/ 1829 w 1862"/>
                <a:gd name="T61" fmla="*/ 1634 h 2032"/>
                <a:gd name="T62" fmla="*/ 1765 w 1862"/>
                <a:gd name="T63" fmla="*/ 1695 h 2032"/>
                <a:gd name="T64" fmla="*/ 1581 w 1862"/>
                <a:gd name="T65" fmla="*/ 1779 h 2032"/>
                <a:gd name="T66" fmla="*/ 1310 w 1862"/>
                <a:gd name="T67" fmla="*/ 1975 h 2032"/>
                <a:gd name="T68" fmla="*/ 1221 w 1862"/>
                <a:gd name="T69" fmla="*/ 2032 h 2032"/>
                <a:gd name="T70" fmla="*/ 1212 w 1862"/>
                <a:gd name="T71" fmla="*/ 1939 h 203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</a:cxnLst>
              <a:rect l="0" t="0" r="r" b="b"/>
              <a:pathLst>
                <a:path w="1862" h="2032">
                  <a:moveTo>
                    <a:pt x="1212" y="1939"/>
                  </a:moveTo>
                  <a:cubicBezTo>
                    <a:pt x="1159" y="1890"/>
                    <a:pt x="1115" y="1830"/>
                    <a:pt x="1057" y="1787"/>
                  </a:cubicBezTo>
                  <a:cubicBezTo>
                    <a:pt x="786" y="1616"/>
                    <a:pt x="510" y="1454"/>
                    <a:pt x="236" y="1290"/>
                  </a:cubicBezTo>
                  <a:cubicBezTo>
                    <a:pt x="157" y="1256"/>
                    <a:pt x="78" y="1222"/>
                    <a:pt x="0" y="1188"/>
                  </a:cubicBezTo>
                  <a:cubicBezTo>
                    <a:pt x="36" y="1178"/>
                    <a:pt x="90" y="1173"/>
                    <a:pt x="92" y="1126"/>
                  </a:cubicBezTo>
                  <a:cubicBezTo>
                    <a:pt x="97" y="1072"/>
                    <a:pt x="148" y="1045"/>
                    <a:pt x="180" y="1008"/>
                  </a:cubicBezTo>
                  <a:cubicBezTo>
                    <a:pt x="227" y="961"/>
                    <a:pt x="274" y="913"/>
                    <a:pt x="321" y="866"/>
                  </a:cubicBezTo>
                  <a:cubicBezTo>
                    <a:pt x="294" y="845"/>
                    <a:pt x="249" y="827"/>
                    <a:pt x="291" y="796"/>
                  </a:cubicBezTo>
                  <a:cubicBezTo>
                    <a:pt x="318" y="766"/>
                    <a:pt x="335" y="740"/>
                    <a:pt x="285" y="729"/>
                  </a:cubicBezTo>
                  <a:cubicBezTo>
                    <a:pt x="247" y="715"/>
                    <a:pt x="221" y="698"/>
                    <a:pt x="262" y="667"/>
                  </a:cubicBezTo>
                  <a:cubicBezTo>
                    <a:pt x="281" y="645"/>
                    <a:pt x="327" y="675"/>
                    <a:pt x="349" y="685"/>
                  </a:cubicBezTo>
                  <a:cubicBezTo>
                    <a:pt x="372" y="714"/>
                    <a:pt x="374" y="745"/>
                    <a:pt x="368" y="766"/>
                  </a:cubicBezTo>
                  <a:cubicBezTo>
                    <a:pt x="393" y="795"/>
                    <a:pt x="421" y="814"/>
                    <a:pt x="387" y="838"/>
                  </a:cubicBezTo>
                  <a:cubicBezTo>
                    <a:pt x="377" y="863"/>
                    <a:pt x="389" y="929"/>
                    <a:pt x="422" y="903"/>
                  </a:cubicBezTo>
                  <a:cubicBezTo>
                    <a:pt x="452" y="873"/>
                    <a:pt x="481" y="898"/>
                    <a:pt x="511" y="916"/>
                  </a:cubicBezTo>
                  <a:cubicBezTo>
                    <a:pt x="572" y="928"/>
                    <a:pt x="638" y="918"/>
                    <a:pt x="699" y="938"/>
                  </a:cubicBezTo>
                  <a:cubicBezTo>
                    <a:pt x="744" y="885"/>
                    <a:pt x="809" y="837"/>
                    <a:pt x="812" y="761"/>
                  </a:cubicBezTo>
                  <a:cubicBezTo>
                    <a:pt x="818" y="700"/>
                    <a:pt x="798" y="638"/>
                    <a:pt x="794" y="576"/>
                  </a:cubicBezTo>
                  <a:cubicBezTo>
                    <a:pt x="789" y="542"/>
                    <a:pt x="794" y="497"/>
                    <a:pt x="746" y="514"/>
                  </a:cubicBezTo>
                  <a:cubicBezTo>
                    <a:pt x="650" y="515"/>
                    <a:pt x="554" y="515"/>
                    <a:pt x="458" y="516"/>
                  </a:cubicBezTo>
                  <a:cubicBezTo>
                    <a:pt x="504" y="475"/>
                    <a:pt x="550" y="435"/>
                    <a:pt x="596" y="394"/>
                  </a:cubicBezTo>
                  <a:cubicBezTo>
                    <a:pt x="573" y="360"/>
                    <a:pt x="628" y="342"/>
                    <a:pt x="643" y="316"/>
                  </a:cubicBezTo>
                  <a:cubicBezTo>
                    <a:pt x="698" y="261"/>
                    <a:pt x="753" y="205"/>
                    <a:pt x="807" y="150"/>
                  </a:cubicBezTo>
                  <a:cubicBezTo>
                    <a:pt x="759" y="135"/>
                    <a:pt x="800" y="92"/>
                    <a:pt x="828" y="136"/>
                  </a:cubicBezTo>
                  <a:cubicBezTo>
                    <a:pt x="854" y="170"/>
                    <a:pt x="886" y="148"/>
                    <a:pt x="916" y="134"/>
                  </a:cubicBezTo>
                  <a:cubicBezTo>
                    <a:pt x="944" y="117"/>
                    <a:pt x="1000" y="116"/>
                    <a:pt x="976" y="72"/>
                  </a:cubicBezTo>
                  <a:cubicBezTo>
                    <a:pt x="959" y="36"/>
                    <a:pt x="1013" y="24"/>
                    <a:pt x="1031" y="0"/>
                  </a:cubicBezTo>
                  <a:cubicBezTo>
                    <a:pt x="1067" y="22"/>
                    <a:pt x="1102" y="62"/>
                    <a:pt x="1137" y="91"/>
                  </a:cubicBezTo>
                  <a:cubicBezTo>
                    <a:pt x="1342" y="276"/>
                    <a:pt x="1548" y="461"/>
                    <a:pt x="1753" y="647"/>
                  </a:cubicBezTo>
                  <a:cubicBezTo>
                    <a:pt x="1775" y="949"/>
                    <a:pt x="1797" y="1251"/>
                    <a:pt x="1819" y="1552"/>
                  </a:cubicBezTo>
                  <a:cubicBezTo>
                    <a:pt x="1862" y="1551"/>
                    <a:pt x="1825" y="1608"/>
                    <a:pt x="1829" y="1634"/>
                  </a:cubicBezTo>
                  <a:cubicBezTo>
                    <a:pt x="1837" y="1678"/>
                    <a:pt x="1800" y="1686"/>
                    <a:pt x="1765" y="1695"/>
                  </a:cubicBezTo>
                  <a:cubicBezTo>
                    <a:pt x="1700" y="1716"/>
                    <a:pt x="1634" y="1734"/>
                    <a:pt x="1581" y="1779"/>
                  </a:cubicBezTo>
                  <a:cubicBezTo>
                    <a:pt x="1494" y="1849"/>
                    <a:pt x="1408" y="1920"/>
                    <a:pt x="1310" y="1975"/>
                  </a:cubicBezTo>
                  <a:cubicBezTo>
                    <a:pt x="1280" y="1994"/>
                    <a:pt x="1250" y="2013"/>
                    <a:pt x="1221" y="2032"/>
                  </a:cubicBezTo>
                  <a:cubicBezTo>
                    <a:pt x="1218" y="2001"/>
                    <a:pt x="1215" y="1970"/>
                    <a:pt x="1212" y="1939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0" name="Freeform 120"/>
            <p:cNvSpPr>
              <a:spLocks/>
            </p:cNvSpPr>
            <p:nvPr/>
          </p:nvSpPr>
          <p:spPr bwMode="auto">
            <a:xfrm>
              <a:off x="3683588" y="2351286"/>
              <a:ext cx="600213" cy="528326"/>
            </a:xfrm>
            <a:custGeom>
              <a:avLst/>
              <a:gdLst>
                <a:gd name="T0" fmla="*/ 1116 w 1638"/>
                <a:gd name="T1" fmla="*/ 1345 h 1619"/>
                <a:gd name="T2" fmla="*/ 576 w 1638"/>
                <a:gd name="T3" fmla="*/ 1381 h 1619"/>
                <a:gd name="T4" fmla="*/ 121 w 1638"/>
                <a:gd name="T5" fmla="*/ 1597 h 1619"/>
                <a:gd name="T6" fmla="*/ 9 w 1638"/>
                <a:gd name="T7" fmla="*/ 1619 h 1619"/>
                <a:gd name="T8" fmla="*/ 0 w 1638"/>
                <a:gd name="T9" fmla="*/ 1382 h 1619"/>
                <a:gd name="T10" fmla="*/ 291 w 1638"/>
                <a:gd name="T11" fmla="*/ 1184 h 1619"/>
                <a:gd name="T12" fmla="*/ 491 w 1638"/>
                <a:gd name="T13" fmla="*/ 1064 h 1619"/>
                <a:gd name="T14" fmla="*/ 600 w 1638"/>
                <a:gd name="T15" fmla="*/ 1028 h 1619"/>
                <a:gd name="T16" fmla="*/ 618 w 1638"/>
                <a:gd name="T17" fmla="*/ 909 h 1619"/>
                <a:gd name="T18" fmla="*/ 591 w 1638"/>
                <a:gd name="T19" fmla="*/ 839 h 1619"/>
                <a:gd name="T20" fmla="*/ 531 w 1638"/>
                <a:gd name="T21" fmla="*/ 0 h 1619"/>
                <a:gd name="T22" fmla="*/ 1351 w 1638"/>
                <a:gd name="T23" fmla="*/ 753 h 1619"/>
                <a:gd name="T24" fmla="*/ 1407 w 1638"/>
                <a:gd name="T25" fmla="*/ 786 h 1619"/>
                <a:gd name="T26" fmla="*/ 1468 w 1638"/>
                <a:gd name="T27" fmla="*/ 880 h 1619"/>
                <a:gd name="T28" fmla="*/ 1525 w 1638"/>
                <a:gd name="T29" fmla="*/ 1023 h 1619"/>
                <a:gd name="T30" fmla="*/ 1560 w 1638"/>
                <a:gd name="T31" fmla="*/ 1185 h 1619"/>
                <a:gd name="T32" fmla="*/ 1608 w 1638"/>
                <a:gd name="T33" fmla="*/ 1223 h 1619"/>
                <a:gd name="T34" fmla="*/ 1116 w 1638"/>
                <a:gd name="T35" fmla="*/ 1345 h 16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38" h="1619">
                  <a:moveTo>
                    <a:pt x="1116" y="1345"/>
                  </a:moveTo>
                  <a:cubicBezTo>
                    <a:pt x="936" y="1357"/>
                    <a:pt x="756" y="1369"/>
                    <a:pt x="576" y="1381"/>
                  </a:cubicBezTo>
                  <a:cubicBezTo>
                    <a:pt x="424" y="1453"/>
                    <a:pt x="273" y="1527"/>
                    <a:pt x="121" y="1597"/>
                  </a:cubicBezTo>
                  <a:cubicBezTo>
                    <a:pt x="84" y="1605"/>
                    <a:pt x="47" y="1612"/>
                    <a:pt x="9" y="1619"/>
                  </a:cubicBezTo>
                  <a:cubicBezTo>
                    <a:pt x="6" y="1540"/>
                    <a:pt x="3" y="1461"/>
                    <a:pt x="0" y="1382"/>
                  </a:cubicBezTo>
                  <a:cubicBezTo>
                    <a:pt x="99" y="1319"/>
                    <a:pt x="202" y="1261"/>
                    <a:pt x="291" y="1184"/>
                  </a:cubicBezTo>
                  <a:cubicBezTo>
                    <a:pt x="352" y="1136"/>
                    <a:pt x="413" y="1082"/>
                    <a:pt x="491" y="1064"/>
                  </a:cubicBezTo>
                  <a:cubicBezTo>
                    <a:pt x="527" y="1052"/>
                    <a:pt x="564" y="1040"/>
                    <a:pt x="600" y="1028"/>
                  </a:cubicBezTo>
                  <a:cubicBezTo>
                    <a:pt x="606" y="988"/>
                    <a:pt x="612" y="948"/>
                    <a:pt x="618" y="909"/>
                  </a:cubicBezTo>
                  <a:cubicBezTo>
                    <a:pt x="580" y="911"/>
                    <a:pt x="599" y="864"/>
                    <a:pt x="591" y="839"/>
                  </a:cubicBezTo>
                  <a:cubicBezTo>
                    <a:pt x="571" y="560"/>
                    <a:pt x="549" y="280"/>
                    <a:pt x="531" y="0"/>
                  </a:cubicBezTo>
                  <a:cubicBezTo>
                    <a:pt x="804" y="251"/>
                    <a:pt x="1078" y="502"/>
                    <a:pt x="1351" y="753"/>
                  </a:cubicBezTo>
                  <a:cubicBezTo>
                    <a:pt x="1380" y="753"/>
                    <a:pt x="1415" y="744"/>
                    <a:pt x="1407" y="786"/>
                  </a:cubicBezTo>
                  <a:cubicBezTo>
                    <a:pt x="1409" y="826"/>
                    <a:pt x="1457" y="843"/>
                    <a:pt x="1468" y="880"/>
                  </a:cubicBezTo>
                  <a:cubicBezTo>
                    <a:pt x="1493" y="925"/>
                    <a:pt x="1517" y="971"/>
                    <a:pt x="1525" y="1023"/>
                  </a:cubicBezTo>
                  <a:cubicBezTo>
                    <a:pt x="1538" y="1076"/>
                    <a:pt x="1548" y="1131"/>
                    <a:pt x="1560" y="1185"/>
                  </a:cubicBezTo>
                  <a:cubicBezTo>
                    <a:pt x="1571" y="1197"/>
                    <a:pt x="1638" y="1217"/>
                    <a:pt x="1608" y="1223"/>
                  </a:cubicBezTo>
                  <a:cubicBezTo>
                    <a:pt x="1444" y="1264"/>
                    <a:pt x="1280" y="1305"/>
                    <a:pt x="1116" y="1345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1" name="Freeform 121"/>
            <p:cNvSpPr>
              <a:spLocks/>
            </p:cNvSpPr>
            <p:nvPr/>
          </p:nvSpPr>
          <p:spPr bwMode="auto">
            <a:xfrm>
              <a:off x="3729757" y="2749488"/>
              <a:ext cx="546350" cy="122298"/>
            </a:xfrm>
            <a:custGeom>
              <a:avLst/>
              <a:gdLst>
                <a:gd name="T0" fmla="*/ 1490 w 1490"/>
                <a:gd name="T1" fmla="*/ 0 h 375"/>
                <a:gd name="T2" fmla="*/ 1435 w 1490"/>
                <a:gd name="T3" fmla="*/ 86 h 375"/>
                <a:gd name="T4" fmla="*/ 1451 w 1490"/>
                <a:gd name="T5" fmla="*/ 311 h 375"/>
                <a:gd name="T6" fmla="*/ 1373 w 1490"/>
                <a:gd name="T7" fmla="*/ 352 h 375"/>
                <a:gd name="T8" fmla="*/ 985 w 1490"/>
                <a:gd name="T9" fmla="*/ 351 h 375"/>
                <a:gd name="T10" fmla="*/ 0 w 1490"/>
                <a:gd name="T11" fmla="*/ 375 h 375"/>
                <a:gd name="T12" fmla="*/ 449 w 1490"/>
                <a:gd name="T13" fmla="*/ 161 h 375"/>
                <a:gd name="T14" fmla="*/ 999 w 1490"/>
                <a:gd name="T15" fmla="*/ 123 h 375"/>
                <a:gd name="T16" fmla="*/ 1490 w 1490"/>
                <a:gd name="T17" fmla="*/ 0 h 3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1490" h="375">
                  <a:moveTo>
                    <a:pt x="1490" y="0"/>
                  </a:moveTo>
                  <a:cubicBezTo>
                    <a:pt x="1473" y="29"/>
                    <a:pt x="1447" y="56"/>
                    <a:pt x="1435" y="86"/>
                  </a:cubicBezTo>
                  <a:cubicBezTo>
                    <a:pt x="1440" y="161"/>
                    <a:pt x="1446" y="236"/>
                    <a:pt x="1451" y="311"/>
                  </a:cubicBezTo>
                  <a:cubicBezTo>
                    <a:pt x="1426" y="328"/>
                    <a:pt x="1407" y="362"/>
                    <a:pt x="1373" y="352"/>
                  </a:cubicBezTo>
                  <a:cubicBezTo>
                    <a:pt x="1244" y="346"/>
                    <a:pt x="1114" y="346"/>
                    <a:pt x="985" y="351"/>
                  </a:cubicBezTo>
                  <a:cubicBezTo>
                    <a:pt x="657" y="359"/>
                    <a:pt x="329" y="367"/>
                    <a:pt x="0" y="375"/>
                  </a:cubicBezTo>
                  <a:cubicBezTo>
                    <a:pt x="150" y="304"/>
                    <a:pt x="299" y="232"/>
                    <a:pt x="449" y="161"/>
                  </a:cubicBezTo>
                  <a:cubicBezTo>
                    <a:pt x="632" y="148"/>
                    <a:pt x="816" y="139"/>
                    <a:pt x="999" y="123"/>
                  </a:cubicBezTo>
                  <a:cubicBezTo>
                    <a:pt x="1162" y="82"/>
                    <a:pt x="1326" y="41"/>
                    <a:pt x="1490" y="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2" name="Freeform 122"/>
            <p:cNvSpPr>
              <a:spLocks/>
            </p:cNvSpPr>
            <p:nvPr/>
          </p:nvSpPr>
          <p:spPr bwMode="auto">
            <a:xfrm>
              <a:off x="4268413" y="3358041"/>
              <a:ext cx="305605" cy="212310"/>
            </a:xfrm>
            <a:custGeom>
              <a:avLst/>
              <a:gdLst>
                <a:gd name="T0" fmla="*/ 114 w 278"/>
                <a:gd name="T1" fmla="*/ 217 h 217"/>
                <a:gd name="T2" fmla="*/ 0 w 278"/>
                <a:gd name="T3" fmla="*/ 217 h 217"/>
                <a:gd name="T4" fmla="*/ 11 w 278"/>
                <a:gd name="T5" fmla="*/ 32 h 217"/>
                <a:gd name="T6" fmla="*/ 21 w 278"/>
                <a:gd name="T7" fmla="*/ 60 h 217"/>
                <a:gd name="T8" fmla="*/ 41 w 278"/>
                <a:gd name="T9" fmla="*/ 73 h 217"/>
                <a:gd name="T10" fmla="*/ 134 w 278"/>
                <a:gd name="T11" fmla="*/ 62 h 217"/>
                <a:gd name="T12" fmla="*/ 252 w 278"/>
                <a:gd name="T13" fmla="*/ 18 h 217"/>
                <a:gd name="T14" fmla="*/ 264 w 278"/>
                <a:gd name="T15" fmla="*/ 0 h 217"/>
                <a:gd name="T16" fmla="*/ 277 w 278"/>
                <a:gd name="T17" fmla="*/ 25 h 217"/>
                <a:gd name="T18" fmla="*/ 264 w 278"/>
                <a:gd name="T19" fmla="*/ 32 h 217"/>
                <a:gd name="T20" fmla="*/ 278 w 278"/>
                <a:gd name="T21" fmla="*/ 96 h 217"/>
                <a:gd name="T22" fmla="*/ 225 w 278"/>
                <a:gd name="T23" fmla="*/ 88 h 217"/>
                <a:gd name="T24" fmla="*/ 189 w 278"/>
                <a:gd name="T25" fmla="*/ 128 h 217"/>
                <a:gd name="T26" fmla="*/ 147 w 278"/>
                <a:gd name="T27" fmla="*/ 146 h 217"/>
                <a:gd name="T28" fmla="*/ 124 w 278"/>
                <a:gd name="T29" fmla="*/ 176 h 217"/>
                <a:gd name="T30" fmla="*/ 114 w 278"/>
                <a:gd name="T31" fmla="*/ 217 h 217"/>
                <a:gd name="T32" fmla="*/ 114 w 278"/>
                <a:gd name="T33" fmla="*/ 217 h 2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278" h="217">
                  <a:moveTo>
                    <a:pt x="114" y="217"/>
                  </a:moveTo>
                  <a:lnTo>
                    <a:pt x="0" y="217"/>
                  </a:lnTo>
                  <a:lnTo>
                    <a:pt x="11" y="32"/>
                  </a:lnTo>
                  <a:lnTo>
                    <a:pt x="21" y="60"/>
                  </a:lnTo>
                  <a:lnTo>
                    <a:pt x="41" y="73"/>
                  </a:lnTo>
                  <a:lnTo>
                    <a:pt x="134" y="62"/>
                  </a:lnTo>
                  <a:lnTo>
                    <a:pt x="252" y="18"/>
                  </a:lnTo>
                  <a:lnTo>
                    <a:pt x="264" y="0"/>
                  </a:lnTo>
                  <a:lnTo>
                    <a:pt x="277" y="25"/>
                  </a:lnTo>
                  <a:lnTo>
                    <a:pt x="264" y="32"/>
                  </a:lnTo>
                  <a:lnTo>
                    <a:pt x="278" y="96"/>
                  </a:lnTo>
                  <a:lnTo>
                    <a:pt x="225" y="88"/>
                  </a:lnTo>
                  <a:lnTo>
                    <a:pt x="189" y="128"/>
                  </a:lnTo>
                  <a:lnTo>
                    <a:pt x="147" y="146"/>
                  </a:lnTo>
                  <a:lnTo>
                    <a:pt x="124" y="176"/>
                  </a:lnTo>
                  <a:lnTo>
                    <a:pt x="114" y="217"/>
                  </a:lnTo>
                  <a:lnTo>
                    <a:pt x="114" y="217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3" name="Freeform 123"/>
            <p:cNvSpPr>
              <a:spLocks/>
            </p:cNvSpPr>
            <p:nvPr/>
          </p:nvSpPr>
          <p:spPr bwMode="auto">
            <a:xfrm>
              <a:off x="3823198" y="3383481"/>
              <a:ext cx="457306" cy="378635"/>
            </a:xfrm>
            <a:custGeom>
              <a:avLst/>
              <a:gdLst>
                <a:gd name="T0" fmla="*/ 1184 w 1249"/>
                <a:gd name="T1" fmla="*/ 1062 h 1162"/>
                <a:gd name="T2" fmla="*/ 1149 w 1249"/>
                <a:gd name="T3" fmla="*/ 1162 h 1162"/>
                <a:gd name="T4" fmla="*/ 167 w 1249"/>
                <a:gd name="T5" fmla="*/ 588 h 1162"/>
                <a:gd name="T6" fmla="*/ 0 w 1249"/>
                <a:gd name="T7" fmla="*/ 443 h 1162"/>
                <a:gd name="T8" fmla="*/ 1249 w 1249"/>
                <a:gd name="T9" fmla="*/ 0 h 1162"/>
                <a:gd name="T10" fmla="*/ 1192 w 1249"/>
                <a:gd name="T11" fmla="*/ 996 h 1162"/>
                <a:gd name="T12" fmla="*/ 1184 w 1249"/>
                <a:gd name="T13" fmla="*/ 1062 h 11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49" h="1162">
                  <a:moveTo>
                    <a:pt x="1184" y="1062"/>
                  </a:moveTo>
                  <a:cubicBezTo>
                    <a:pt x="1173" y="1095"/>
                    <a:pt x="1161" y="1128"/>
                    <a:pt x="1149" y="1162"/>
                  </a:cubicBezTo>
                  <a:cubicBezTo>
                    <a:pt x="822" y="970"/>
                    <a:pt x="494" y="780"/>
                    <a:pt x="167" y="588"/>
                  </a:cubicBezTo>
                  <a:cubicBezTo>
                    <a:pt x="111" y="540"/>
                    <a:pt x="56" y="491"/>
                    <a:pt x="0" y="443"/>
                  </a:cubicBezTo>
                  <a:cubicBezTo>
                    <a:pt x="416" y="295"/>
                    <a:pt x="833" y="148"/>
                    <a:pt x="1249" y="0"/>
                  </a:cubicBezTo>
                  <a:cubicBezTo>
                    <a:pt x="1230" y="332"/>
                    <a:pt x="1213" y="664"/>
                    <a:pt x="1192" y="996"/>
                  </a:cubicBezTo>
                  <a:cubicBezTo>
                    <a:pt x="1189" y="1018"/>
                    <a:pt x="1187" y="1040"/>
                    <a:pt x="1184" y="1062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4" name="Freeform 124"/>
            <p:cNvSpPr>
              <a:spLocks/>
            </p:cNvSpPr>
            <p:nvPr/>
          </p:nvSpPr>
          <p:spPr bwMode="auto">
            <a:xfrm>
              <a:off x="3222984" y="2524460"/>
              <a:ext cx="460605" cy="358090"/>
            </a:xfrm>
            <a:custGeom>
              <a:avLst/>
              <a:gdLst>
                <a:gd name="T0" fmla="*/ 1259 w 1259"/>
                <a:gd name="T1" fmla="*/ 874 h 1100"/>
                <a:gd name="T2" fmla="*/ 1040 w 1259"/>
                <a:gd name="T3" fmla="*/ 874 h 1100"/>
                <a:gd name="T4" fmla="*/ 989 w 1259"/>
                <a:gd name="T5" fmla="*/ 845 h 1100"/>
                <a:gd name="T6" fmla="*/ 919 w 1259"/>
                <a:gd name="T7" fmla="*/ 930 h 1100"/>
                <a:gd name="T8" fmla="*/ 692 w 1259"/>
                <a:gd name="T9" fmla="*/ 1013 h 1100"/>
                <a:gd name="T10" fmla="*/ 667 w 1259"/>
                <a:gd name="T11" fmla="*/ 982 h 1100"/>
                <a:gd name="T12" fmla="*/ 643 w 1259"/>
                <a:gd name="T13" fmla="*/ 1023 h 1100"/>
                <a:gd name="T14" fmla="*/ 486 w 1259"/>
                <a:gd name="T15" fmla="*/ 1100 h 1100"/>
                <a:gd name="T16" fmla="*/ 540 w 1259"/>
                <a:gd name="T17" fmla="*/ 961 h 1100"/>
                <a:gd name="T18" fmla="*/ 494 w 1259"/>
                <a:gd name="T19" fmla="*/ 843 h 1100"/>
                <a:gd name="T20" fmla="*/ 424 w 1259"/>
                <a:gd name="T21" fmla="*/ 812 h 1100"/>
                <a:gd name="T22" fmla="*/ 396 w 1259"/>
                <a:gd name="T23" fmla="*/ 830 h 1100"/>
                <a:gd name="T24" fmla="*/ 257 w 1259"/>
                <a:gd name="T25" fmla="*/ 683 h 1100"/>
                <a:gd name="T26" fmla="*/ 285 w 1259"/>
                <a:gd name="T27" fmla="*/ 644 h 1100"/>
                <a:gd name="T28" fmla="*/ 283 w 1259"/>
                <a:gd name="T29" fmla="*/ 634 h 1100"/>
                <a:gd name="T30" fmla="*/ 257 w 1259"/>
                <a:gd name="T31" fmla="*/ 642 h 1100"/>
                <a:gd name="T32" fmla="*/ 115 w 1259"/>
                <a:gd name="T33" fmla="*/ 569 h 1100"/>
                <a:gd name="T34" fmla="*/ 7 w 1259"/>
                <a:gd name="T35" fmla="*/ 414 h 1100"/>
                <a:gd name="T36" fmla="*/ 23 w 1259"/>
                <a:gd name="T37" fmla="*/ 253 h 1100"/>
                <a:gd name="T38" fmla="*/ 0 w 1259"/>
                <a:gd name="T39" fmla="*/ 0 h 1100"/>
                <a:gd name="T40" fmla="*/ 34 w 1259"/>
                <a:gd name="T41" fmla="*/ 11 h 1100"/>
                <a:gd name="T42" fmla="*/ 35 w 1259"/>
                <a:gd name="T43" fmla="*/ 11 h 1100"/>
                <a:gd name="T44" fmla="*/ 276 w 1259"/>
                <a:gd name="T45" fmla="*/ 116 h 1100"/>
                <a:gd name="T46" fmla="*/ 842 w 1259"/>
                <a:gd name="T47" fmla="*/ 455 h 1100"/>
                <a:gd name="T48" fmla="*/ 1111 w 1259"/>
                <a:gd name="T49" fmla="*/ 622 h 1100"/>
                <a:gd name="T50" fmla="*/ 1247 w 1259"/>
                <a:gd name="T51" fmla="*/ 762 h 1100"/>
                <a:gd name="T52" fmla="*/ 1259 w 1259"/>
                <a:gd name="T53" fmla="*/ 874 h 1100"/>
                <a:gd name="T54" fmla="*/ 1259 w 1259"/>
                <a:gd name="T55" fmla="*/ 874 h 1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259" h="1100">
                  <a:moveTo>
                    <a:pt x="1259" y="874"/>
                  </a:moveTo>
                  <a:cubicBezTo>
                    <a:pt x="1040" y="874"/>
                    <a:pt x="1040" y="874"/>
                    <a:pt x="1040" y="874"/>
                  </a:cubicBezTo>
                  <a:cubicBezTo>
                    <a:pt x="989" y="845"/>
                    <a:pt x="989" y="845"/>
                    <a:pt x="989" y="845"/>
                  </a:cubicBezTo>
                  <a:cubicBezTo>
                    <a:pt x="919" y="930"/>
                    <a:pt x="919" y="930"/>
                    <a:pt x="919" y="930"/>
                  </a:cubicBezTo>
                  <a:cubicBezTo>
                    <a:pt x="692" y="1013"/>
                    <a:pt x="692" y="1013"/>
                    <a:pt x="692" y="1013"/>
                  </a:cubicBezTo>
                  <a:cubicBezTo>
                    <a:pt x="667" y="982"/>
                    <a:pt x="667" y="982"/>
                    <a:pt x="667" y="982"/>
                  </a:cubicBezTo>
                  <a:cubicBezTo>
                    <a:pt x="643" y="1023"/>
                    <a:pt x="643" y="1023"/>
                    <a:pt x="643" y="1023"/>
                  </a:cubicBezTo>
                  <a:cubicBezTo>
                    <a:pt x="486" y="1100"/>
                    <a:pt x="486" y="1100"/>
                    <a:pt x="486" y="1100"/>
                  </a:cubicBezTo>
                  <a:cubicBezTo>
                    <a:pt x="540" y="961"/>
                    <a:pt x="540" y="961"/>
                    <a:pt x="540" y="961"/>
                  </a:cubicBezTo>
                  <a:cubicBezTo>
                    <a:pt x="494" y="843"/>
                    <a:pt x="494" y="843"/>
                    <a:pt x="494" y="843"/>
                  </a:cubicBezTo>
                  <a:cubicBezTo>
                    <a:pt x="424" y="812"/>
                    <a:pt x="424" y="812"/>
                    <a:pt x="424" y="812"/>
                  </a:cubicBezTo>
                  <a:cubicBezTo>
                    <a:pt x="396" y="830"/>
                    <a:pt x="396" y="830"/>
                    <a:pt x="396" y="830"/>
                  </a:cubicBezTo>
                  <a:cubicBezTo>
                    <a:pt x="257" y="683"/>
                    <a:pt x="257" y="683"/>
                    <a:pt x="257" y="683"/>
                  </a:cubicBezTo>
                  <a:cubicBezTo>
                    <a:pt x="285" y="644"/>
                    <a:pt x="285" y="644"/>
                    <a:pt x="285" y="644"/>
                  </a:cubicBezTo>
                  <a:cubicBezTo>
                    <a:pt x="283" y="634"/>
                    <a:pt x="283" y="634"/>
                    <a:pt x="283" y="634"/>
                  </a:cubicBezTo>
                  <a:cubicBezTo>
                    <a:pt x="257" y="642"/>
                    <a:pt x="257" y="642"/>
                    <a:pt x="257" y="642"/>
                  </a:cubicBezTo>
                  <a:cubicBezTo>
                    <a:pt x="115" y="569"/>
                    <a:pt x="115" y="569"/>
                    <a:pt x="115" y="569"/>
                  </a:cubicBezTo>
                  <a:cubicBezTo>
                    <a:pt x="7" y="414"/>
                    <a:pt x="7" y="414"/>
                    <a:pt x="7" y="414"/>
                  </a:cubicBezTo>
                  <a:cubicBezTo>
                    <a:pt x="23" y="253"/>
                    <a:pt x="23" y="253"/>
                    <a:pt x="23" y="25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34" y="11"/>
                    <a:pt x="34" y="11"/>
                    <a:pt x="34" y="11"/>
                  </a:cubicBezTo>
                  <a:cubicBezTo>
                    <a:pt x="35" y="11"/>
                    <a:pt x="35" y="11"/>
                    <a:pt x="35" y="11"/>
                  </a:cubicBezTo>
                  <a:cubicBezTo>
                    <a:pt x="276" y="116"/>
                    <a:pt x="276" y="116"/>
                    <a:pt x="276" y="116"/>
                  </a:cubicBezTo>
                  <a:cubicBezTo>
                    <a:pt x="842" y="455"/>
                    <a:pt x="842" y="455"/>
                    <a:pt x="842" y="455"/>
                  </a:cubicBezTo>
                  <a:cubicBezTo>
                    <a:pt x="1111" y="622"/>
                    <a:pt x="1111" y="622"/>
                    <a:pt x="1111" y="622"/>
                  </a:cubicBezTo>
                  <a:cubicBezTo>
                    <a:pt x="1247" y="762"/>
                    <a:pt x="1247" y="762"/>
                    <a:pt x="1247" y="762"/>
                  </a:cubicBezTo>
                  <a:cubicBezTo>
                    <a:pt x="1251" y="802"/>
                    <a:pt x="1257" y="839"/>
                    <a:pt x="1259" y="874"/>
                  </a:cubicBezTo>
                  <a:cubicBezTo>
                    <a:pt x="1259" y="874"/>
                    <a:pt x="1259" y="874"/>
                    <a:pt x="1259" y="874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5" name="Freeform 125"/>
            <p:cNvSpPr>
              <a:spLocks/>
            </p:cNvSpPr>
            <p:nvPr/>
          </p:nvSpPr>
          <p:spPr bwMode="auto">
            <a:xfrm>
              <a:off x="3399778" y="2799289"/>
              <a:ext cx="292413" cy="273947"/>
            </a:xfrm>
            <a:custGeom>
              <a:avLst/>
              <a:gdLst>
                <a:gd name="T0" fmla="*/ 120 w 799"/>
                <a:gd name="T1" fmla="*/ 840 h 840"/>
                <a:gd name="T2" fmla="*/ 14 w 799"/>
                <a:gd name="T3" fmla="*/ 828 h 840"/>
                <a:gd name="T4" fmla="*/ 11 w 799"/>
                <a:gd name="T5" fmla="*/ 637 h 840"/>
                <a:gd name="T6" fmla="*/ 114 w 799"/>
                <a:gd name="T7" fmla="*/ 511 h 840"/>
                <a:gd name="T8" fmla="*/ 4 w 799"/>
                <a:gd name="T9" fmla="*/ 294 h 840"/>
                <a:gd name="T10" fmla="*/ 10 w 799"/>
                <a:gd name="T11" fmla="*/ 253 h 840"/>
                <a:gd name="T12" fmla="*/ 163 w 799"/>
                <a:gd name="T13" fmla="*/ 178 h 840"/>
                <a:gd name="T14" fmla="*/ 187 w 799"/>
                <a:gd name="T15" fmla="*/ 137 h 840"/>
                <a:gd name="T16" fmla="*/ 217 w 799"/>
                <a:gd name="T17" fmla="*/ 166 h 840"/>
                <a:gd name="T18" fmla="*/ 439 w 799"/>
                <a:gd name="T19" fmla="*/ 85 h 840"/>
                <a:gd name="T20" fmla="*/ 509 w 799"/>
                <a:gd name="T21" fmla="*/ 0 h 840"/>
                <a:gd name="T22" fmla="*/ 565 w 799"/>
                <a:gd name="T23" fmla="*/ 29 h 840"/>
                <a:gd name="T24" fmla="*/ 779 w 799"/>
                <a:gd name="T25" fmla="*/ 29 h 840"/>
                <a:gd name="T26" fmla="*/ 787 w 799"/>
                <a:gd name="T27" fmla="*/ 245 h 840"/>
                <a:gd name="T28" fmla="*/ 790 w 799"/>
                <a:gd name="T29" fmla="*/ 282 h 840"/>
                <a:gd name="T30" fmla="*/ 776 w 799"/>
                <a:gd name="T31" fmla="*/ 439 h 840"/>
                <a:gd name="T32" fmla="*/ 767 w 799"/>
                <a:gd name="T33" fmla="*/ 503 h 840"/>
                <a:gd name="T34" fmla="*/ 715 w 799"/>
                <a:gd name="T35" fmla="*/ 464 h 840"/>
                <a:gd name="T36" fmla="*/ 594 w 799"/>
                <a:gd name="T37" fmla="*/ 472 h 840"/>
                <a:gd name="T38" fmla="*/ 513 w 799"/>
                <a:gd name="T39" fmla="*/ 590 h 840"/>
                <a:gd name="T40" fmla="*/ 450 w 799"/>
                <a:gd name="T41" fmla="*/ 657 h 840"/>
                <a:gd name="T42" fmla="*/ 339 w 799"/>
                <a:gd name="T43" fmla="*/ 669 h 840"/>
                <a:gd name="T44" fmla="*/ 306 w 799"/>
                <a:gd name="T45" fmla="*/ 662 h 840"/>
                <a:gd name="T46" fmla="*/ 316 w 799"/>
                <a:gd name="T47" fmla="*/ 719 h 840"/>
                <a:gd name="T48" fmla="*/ 145 w 799"/>
                <a:gd name="T49" fmla="*/ 750 h 840"/>
                <a:gd name="T50" fmla="*/ 120 w 799"/>
                <a:gd name="T51" fmla="*/ 840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799" h="840">
                  <a:moveTo>
                    <a:pt x="120" y="840"/>
                  </a:moveTo>
                  <a:cubicBezTo>
                    <a:pt x="84" y="836"/>
                    <a:pt x="49" y="832"/>
                    <a:pt x="14" y="828"/>
                  </a:cubicBezTo>
                  <a:cubicBezTo>
                    <a:pt x="13" y="764"/>
                    <a:pt x="12" y="700"/>
                    <a:pt x="11" y="637"/>
                  </a:cubicBezTo>
                  <a:cubicBezTo>
                    <a:pt x="46" y="595"/>
                    <a:pt x="80" y="553"/>
                    <a:pt x="114" y="511"/>
                  </a:cubicBezTo>
                  <a:cubicBezTo>
                    <a:pt x="78" y="438"/>
                    <a:pt x="41" y="366"/>
                    <a:pt x="4" y="294"/>
                  </a:cubicBezTo>
                  <a:cubicBezTo>
                    <a:pt x="7" y="281"/>
                    <a:pt x="0" y="261"/>
                    <a:pt x="10" y="253"/>
                  </a:cubicBezTo>
                  <a:cubicBezTo>
                    <a:pt x="61" y="228"/>
                    <a:pt x="112" y="203"/>
                    <a:pt x="163" y="178"/>
                  </a:cubicBezTo>
                  <a:cubicBezTo>
                    <a:pt x="171" y="164"/>
                    <a:pt x="179" y="151"/>
                    <a:pt x="187" y="137"/>
                  </a:cubicBezTo>
                  <a:cubicBezTo>
                    <a:pt x="197" y="145"/>
                    <a:pt x="204" y="166"/>
                    <a:pt x="217" y="166"/>
                  </a:cubicBezTo>
                  <a:cubicBezTo>
                    <a:pt x="291" y="139"/>
                    <a:pt x="365" y="112"/>
                    <a:pt x="439" y="85"/>
                  </a:cubicBezTo>
                  <a:cubicBezTo>
                    <a:pt x="462" y="57"/>
                    <a:pt x="486" y="29"/>
                    <a:pt x="509" y="0"/>
                  </a:cubicBezTo>
                  <a:cubicBezTo>
                    <a:pt x="528" y="9"/>
                    <a:pt x="545" y="24"/>
                    <a:pt x="565" y="29"/>
                  </a:cubicBezTo>
                  <a:cubicBezTo>
                    <a:pt x="636" y="29"/>
                    <a:pt x="708" y="29"/>
                    <a:pt x="779" y="29"/>
                  </a:cubicBezTo>
                  <a:cubicBezTo>
                    <a:pt x="782" y="101"/>
                    <a:pt x="785" y="173"/>
                    <a:pt x="787" y="245"/>
                  </a:cubicBezTo>
                  <a:cubicBezTo>
                    <a:pt x="799" y="245"/>
                    <a:pt x="788" y="272"/>
                    <a:pt x="790" y="282"/>
                  </a:cubicBezTo>
                  <a:cubicBezTo>
                    <a:pt x="788" y="334"/>
                    <a:pt x="787" y="387"/>
                    <a:pt x="776" y="439"/>
                  </a:cubicBezTo>
                  <a:cubicBezTo>
                    <a:pt x="773" y="460"/>
                    <a:pt x="770" y="482"/>
                    <a:pt x="767" y="503"/>
                  </a:cubicBezTo>
                  <a:cubicBezTo>
                    <a:pt x="749" y="491"/>
                    <a:pt x="733" y="474"/>
                    <a:pt x="715" y="464"/>
                  </a:cubicBezTo>
                  <a:cubicBezTo>
                    <a:pt x="675" y="467"/>
                    <a:pt x="634" y="469"/>
                    <a:pt x="594" y="472"/>
                  </a:cubicBezTo>
                  <a:cubicBezTo>
                    <a:pt x="566" y="511"/>
                    <a:pt x="542" y="552"/>
                    <a:pt x="513" y="590"/>
                  </a:cubicBezTo>
                  <a:cubicBezTo>
                    <a:pt x="492" y="612"/>
                    <a:pt x="471" y="635"/>
                    <a:pt x="450" y="657"/>
                  </a:cubicBezTo>
                  <a:cubicBezTo>
                    <a:pt x="413" y="661"/>
                    <a:pt x="376" y="668"/>
                    <a:pt x="339" y="669"/>
                  </a:cubicBezTo>
                  <a:cubicBezTo>
                    <a:pt x="330" y="669"/>
                    <a:pt x="304" y="647"/>
                    <a:pt x="306" y="662"/>
                  </a:cubicBezTo>
                  <a:cubicBezTo>
                    <a:pt x="309" y="681"/>
                    <a:pt x="312" y="700"/>
                    <a:pt x="316" y="719"/>
                  </a:cubicBezTo>
                  <a:cubicBezTo>
                    <a:pt x="259" y="730"/>
                    <a:pt x="202" y="740"/>
                    <a:pt x="145" y="750"/>
                  </a:cubicBezTo>
                  <a:cubicBezTo>
                    <a:pt x="137" y="780"/>
                    <a:pt x="128" y="810"/>
                    <a:pt x="120" y="840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6" name="Freeform 126"/>
            <p:cNvSpPr>
              <a:spLocks noEditPoints="1"/>
            </p:cNvSpPr>
            <p:nvPr/>
          </p:nvSpPr>
          <p:spPr bwMode="auto">
            <a:xfrm>
              <a:off x="3106459" y="2659477"/>
              <a:ext cx="361669" cy="408964"/>
            </a:xfrm>
            <a:custGeom>
              <a:avLst/>
              <a:gdLst>
                <a:gd name="T0" fmla="*/ 270 w 329"/>
                <a:gd name="T1" fmla="*/ 418 h 418"/>
                <a:gd name="T2" fmla="*/ 207 w 329"/>
                <a:gd name="T3" fmla="*/ 415 h 418"/>
                <a:gd name="T4" fmla="*/ 44 w 329"/>
                <a:gd name="T5" fmla="*/ 362 h 418"/>
                <a:gd name="T6" fmla="*/ 0 w 329"/>
                <a:gd name="T7" fmla="*/ 345 h 418"/>
                <a:gd name="T8" fmla="*/ 0 w 329"/>
                <a:gd name="T9" fmla="*/ 245 h 418"/>
                <a:gd name="T10" fmla="*/ 100 w 329"/>
                <a:gd name="T11" fmla="*/ 26 h 418"/>
                <a:gd name="T12" fmla="*/ 108 w 329"/>
                <a:gd name="T13" fmla="*/ 0 h 418"/>
                <a:gd name="T14" fmla="*/ 144 w 329"/>
                <a:gd name="T15" fmla="*/ 51 h 418"/>
                <a:gd name="T16" fmla="*/ 191 w 329"/>
                <a:gd name="T17" fmla="*/ 76 h 418"/>
                <a:gd name="T18" fmla="*/ 200 w 329"/>
                <a:gd name="T19" fmla="*/ 73 h 418"/>
                <a:gd name="T20" fmla="*/ 201 w 329"/>
                <a:gd name="T21" fmla="*/ 76 h 418"/>
                <a:gd name="T22" fmla="*/ 191 w 329"/>
                <a:gd name="T23" fmla="*/ 89 h 418"/>
                <a:gd name="T24" fmla="*/ 238 w 329"/>
                <a:gd name="T25" fmla="*/ 138 h 418"/>
                <a:gd name="T26" fmla="*/ 247 w 329"/>
                <a:gd name="T27" fmla="*/ 132 h 418"/>
                <a:gd name="T28" fmla="*/ 270 w 329"/>
                <a:gd name="T29" fmla="*/ 143 h 418"/>
                <a:gd name="T30" fmla="*/ 286 w 329"/>
                <a:gd name="T31" fmla="*/ 182 h 418"/>
                <a:gd name="T32" fmla="*/ 268 w 329"/>
                <a:gd name="T33" fmla="*/ 228 h 418"/>
                <a:gd name="T34" fmla="*/ 268 w 329"/>
                <a:gd name="T35" fmla="*/ 228 h 418"/>
                <a:gd name="T36" fmla="*/ 267 w 329"/>
                <a:gd name="T37" fmla="*/ 241 h 418"/>
                <a:gd name="T38" fmla="*/ 304 w 329"/>
                <a:gd name="T39" fmla="*/ 314 h 418"/>
                <a:gd name="T40" fmla="*/ 269 w 329"/>
                <a:gd name="T41" fmla="*/ 356 h 418"/>
                <a:gd name="T42" fmla="*/ 270 w 329"/>
                <a:gd name="T43" fmla="*/ 418 h 418"/>
                <a:gd name="T44" fmla="*/ 270 w 329"/>
                <a:gd name="T45" fmla="*/ 418 h 418"/>
                <a:gd name="T46" fmla="*/ 329 w 329"/>
                <a:gd name="T47" fmla="*/ 190 h 418"/>
                <a:gd name="T48" fmla="*/ 329 w 329"/>
                <a:gd name="T49" fmla="*/ 190 h 418"/>
                <a:gd name="T50" fmla="*/ 328 w 329"/>
                <a:gd name="T51" fmla="*/ 189 h 418"/>
                <a:gd name="T52" fmla="*/ 329 w 329"/>
                <a:gd name="T53" fmla="*/ 190 h 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329" h="418">
                  <a:moveTo>
                    <a:pt x="270" y="418"/>
                  </a:moveTo>
                  <a:lnTo>
                    <a:pt x="207" y="415"/>
                  </a:lnTo>
                  <a:lnTo>
                    <a:pt x="44" y="362"/>
                  </a:lnTo>
                  <a:lnTo>
                    <a:pt x="0" y="345"/>
                  </a:lnTo>
                  <a:lnTo>
                    <a:pt x="0" y="245"/>
                  </a:lnTo>
                  <a:lnTo>
                    <a:pt x="100" y="26"/>
                  </a:lnTo>
                  <a:lnTo>
                    <a:pt x="108" y="0"/>
                  </a:lnTo>
                  <a:lnTo>
                    <a:pt x="144" y="51"/>
                  </a:lnTo>
                  <a:lnTo>
                    <a:pt x="191" y="76"/>
                  </a:lnTo>
                  <a:lnTo>
                    <a:pt x="200" y="73"/>
                  </a:lnTo>
                  <a:lnTo>
                    <a:pt x="201" y="76"/>
                  </a:lnTo>
                  <a:lnTo>
                    <a:pt x="191" y="89"/>
                  </a:lnTo>
                  <a:lnTo>
                    <a:pt x="238" y="138"/>
                  </a:lnTo>
                  <a:lnTo>
                    <a:pt x="247" y="132"/>
                  </a:lnTo>
                  <a:lnTo>
                    <a:pt x="270" y="143"/>
                  </a:lnTo>
                  <a:lnTo>
                    <a:pt x="286" y="182"/>
                  </a:lnTo>
                  <a:lnTo>
                    <a:pt x="268" y="228"/>
                  </a:lnTo>
                  <a:lnTo>
                    <a:pt x="268" y="228"/>
                  </a:lnTo>
                  <a:lnTo>
                    <a:pt x="267" y="241"/>
                  </a:lnTo>
                  <a:lnTo>
                    <a:pt x="304" y="314"/>
                  </a:lnTo>
                  <a:lnTo>
                    <a:pt x="269" y="356"/>
                  </a:lnTo>
                  <a:lnTo>
                    <a:pt x="270" y="418"/>
                  </a:lnTo>
                  <a:lnTo>
                    <a:pt x="270" y="418"/>
                  </a:lnTo>
                  <a:close/>
                  <a:moveTo>
                    <a:pt x="329" y="190"/>
                  </a:moveTo>
                  <a:lnTo>
                    <a:pt x="329" y="190"/>
                  </a:lnTo>
                  <a:lnTo>
                    <a:pt x="328" y="189"/>
                  </a:lnTo>
                  <a:lnTo>
                    <a:pt x="329" y="190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7" name="Freeform 127"/>
            <p:cNvSpPr>
              <a:spLocks/>
            </p:cNvSpPr>
            <p:nvPr/>
          </p:nvSpPr>
          <p:spPr bwMode="auto">
            <a:xfrm>
              <a:off x="3394473" y="2939296"/>
              <a:ext cx="338582" cy="418749"/>
            </a:xfrm>
            <a:custGeom>
              <a:avLst/>
              <a:gdLst>
                <a:gd name="T0" fmla="*/ 130 w 923"/>
                <a:gd name="T1" fmla="*/ 411 h 1283"/>
                <a:gd name="T2" fmla="*/ 208 w 923"/>
                <a:gd name="T3" fmla="*/ 491 h 1283"/>
                <a:gd name="T4" fmla="*/ 382 w 923"/>
                <a:gd name="T5" fmla="*/ 873 h 1283"/>
                <a:gd name="T6" fmla="*/ 374 w 923"/>
                <a:gd name="T7" fmla="*/ 932 h 1283"/>
                <a:gd name="T8" fmla="*/ 323 w 923"/>
                <a:gd name="T9" fmla="*/ 1155 h 1283"/>
                <a:gd name="T10" fmla="*/ 353 w 923"/>
                <a:gd name="T11" fmla="*/ 1283 h 1283"/>
                <a:gd name="T12" fmla="*/ 645 w 923"/>
                <a:gd name="T13" fmla="*/ 1165 h 1283"/>
                <a:gd name="T14" fmla="*/ 888 w 923"/>
                <a:gd name="T15" fmla="*/ 1083 h 1283"/>
                <a:gd name="T16" fmla="*/ 914 w 923"/>
                <a:gd name="T17" fmla="*/ 1069 h 1283"/>
                <a:gd name="T18" fmla="*/ 923 w 923"/>
                <a:gd name="T19" fmla="*/ 1020 h 1283"/>
                <a:gd name="T20" fmla="*/ 848 w 923"/>
                <a:gd name="T21" fmla="*/ 864 h 1283"/>
                <a:gd name="T22" fmla="*/ 835 w 923"/>
                <a:gd name="T23" fmla="*/ 755 h 1283"/>
                <a:gd name="T24" fmla="*/ 792 w 923"/>
                <a:gd name="T25" fmla="*/ 742 h 1283"/>
                <a:gd name="T26" fmla="*/ 755 w 923"/>
                <a:gd name="T27" fmla="*/ 217 h 1283"/>
                <a:gd name="T28" fmla="*/ 781 w 923"/>
                <a:gd name="T29" fmla="*/ 25 h 1283"/>
                <a:gd name="T30" fmla="*/ 728 w 923"/>
                <a:gd name="T31" fmla="*/ 36 h 1283"/>
                <a:gd name="T32" fmla="*/ 604 w 923"/>
                <a:gd name="T33" fmla="*/ 44 h 1283"/>
                <a:gd name="T34" fmla="*/ 529 w 923"/>
                <a:gd name="T35" fmla="*/ 155 h 1283"/>
                <a:gd name="T36" fmla="*/ 452 w 923"/>
                <a:gd name="T37" fmla="*/ 217 h 1283"/>
                <a:gd name="T38" fmla="*/ 369 w 923"/>
                <a:gd name="T39" fmla="*/ 230 h 1283"/>
                <a:gd name="T40" fmla="*/ 314 w 923"/>
                <a:gd name="T41" fmla="*/ 213 h 1283"/>
                <a:gd name="T42" fmla="*/ 323 w 923"/>
                <a:gd name="T43" fmla="*/ 264 h 1283"/>
                <a:gd name="T44" fmla="*/ 289 w 923"/>
                <a:gd name="T45" fmla="*/ 273 h 1283"/>
                <a:gd name="T46" fmla="*/ 277 w 923"/>
                <a:gd name="T47" fmla="*/ 245 h 1283"/>
                <a:gd name="T48" fmla="*/ 227 w 923"/>
                <a:gd name="T49" fmla="*/ 250 h 1283"/>
                <a:gd name="T50" fmla="*/ 232 w 923"/>
                <a:gd name="T51" fmla="*/ 284 h 1283"/>
                <a:gd name="T52" fmla="*/ 96 w 923"/>
                <a:gd name="T53" fmla="*/ 301 h 1283"/>
                <a:gd name="T54" fmla="*/ 70 w 923"/>
                <a:gd name="T55" fmla="*/ 323 h 1283"/>
                <a:gd name="T56" fmla="*/ 0 w 923"/>
                <a:gd name="T57" fmla="*/ 291 h 1283"/>
                <a:gd name="T58" fmla="*/ 3 w 923"/>
                <a:gd name="T59" fmla="*/ 394 h 1283"/>
                <a:gd name="T60" fmla="*/ 130 w 923"/>
                <a:gd name="T61" fmla="*/ 411 h 1283"/>
                <a:gd name="T62" fmla="*/ 130 w 923"/>
                <a:gd name="T63" fmla="*/ 411 h 128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923" h="1283">
                  <a:moveTo>
                    <a:pt x="130" y="411"/>
                  </a:moveTo>
                  <a:cubicBezTo>
                    <a:pt x="208" y="491"/>
                    <a:pt x="208" y="491"/>
                    <a:pt x="208" y="491"/>
                  </a:cubicBezTo>
                  <a:cubicBezTo>
                    <a:pt x="382" y="873"/>
                    <a:pt x="382" y="873"/>
                    <a:pt x="382" y="873"/>
                  </a:cubicBezTo>
                  <a:cubicBezTo>
                    <a:pt x="374" y="932"/>
                    <a:pt x="374" y="932"/>
                    <a:pt x="374" y="932"/>
                  </a:cubicBezTo>
                  <a:cubicBezTo>
                    <a:pt x="374" y="932"/>
                    <a:pt x="323" y="1101"/>
                    <a:pt x="323" y="1155"/>
                  </a:cubicBezTo>
                  <a:cubicBezTo>
                    <a:pt x="323" y="1209"/>
                    <a:pt x="333" y="1247"/>
                    <a:pt x="353" y="1283"/>
                  </a:cubicBezTo>
                  <a:cubicBezTo>
                    <a:pt x="417" y="1257"/>
                    <a:pt x="645" y="1165"/>
                    <a:pt x="645" y="1165"/>
                  </a:cubicBezTo>
                  <a:cubicBezTo>
                    <a:pt x="888" y="1083"/>
                    <a:pt x="888" y="1083"/>
                    <a:pt x="888" y="1083"/>
                  </a:cubicBezTo>
                  <a:cubicBezTo>
                    <a:pt x="888" y="1083"/>
                    <a:pt x="906" y="1079"/>
                    <a:pt x="914" y="1069"/>
                  </a:cubicBezTo>
                  <a:cubicBezTo>
                    <a:pt x="921" y="1060"/>
                    <a:pt x="923" y="1020"/>
                    <a:pt x="923" y="1020"/>
                  </a:cubicBezTo>
                  <a:cubicBezTo>
                    <a:pt x="848" y="864"/>
                    <a:pt x="848" y="864"/>
                    <a:pt x="848" y="864"/>
                  </a:cubicBezTo>
                  <a:cubicBezTo>
                    <a:pt x="835" y="755"/>
                    <a:pt x="835" y="755"/>
                    <a:pt x="835" y="755"/>
                  </a:cubicBezTo>
                  <a:cubicBezTo>
                    <a:pt x="792" y="742"/>
                    <a:pt x="792" y="742"/>
                    <a:pt x="792" y="742"/>
                  </a:cubicBezTo>
                  <a:cubicBezTo>
                    <a:pt x="755" y="217"/>
                    <a:pt x="755" y="217"/>
                    <a:pt x="755" y="217"/>
                  </a:cubicBezTo>
                  <a:cubicBezTo>
                    <a:pt x="781" y="25"/>
                    <a:pt x="781" y="25"/>
                    <a:pt x="781" y="25"/>
                  </a:cubicBezTo>
                  <a:cubicBezTo>
                    <a:pt x="728" y="36"/>
                    <a:pt x="728" y="36"/>
                    <a:pt x="728" y="36"/>
                  </a:cubicBezTo>
                  <a:cubicBezTo>
                    <a:pt x="686" y="39"/>
                    <a:pt x="623" y="0"/>
                    <a:pt x="604" y="44"/>
                  </a:cubicBezTo>
                  <a:cubicBezTo>
                    <a:pt x="529" y="155"/>
                    <a:pt x="529" y="155"/>
                    <a:pt x="529" y="155"/>
                  </a:cubicBezTo>
                  <a:cubicBezTo>
                    <a:pt x="452" y="217"/>
                    <a:pt x="452" y="217"/>
                    <a:pt x="452" y="217"/>
                  </a:cubicBezTo>
                  <a:cubicBezTo>
                    <a:pt x="369" y="230"/>
                    <a:pt x="369" y="230"/>
                    <a:pt x="369" y="230"/>
                  </a:cubicBezTo>
                  <a:cubicBezTo>
                    <a:pt x="314" y="213"/>
                    <a:pt x="314" y="213"/>
                    <a:pt x="314" y="213"/>
                  </a:cubicBezTo>
                  <a:cubicBezTo>
                    <a:pt x="323" y="264"/>
                    <a:pt x="323" y="264"/>
                    <a:pt x="323" y="264"/>
                  </a:cubicBezTo>
                  <a:cubicBezTo>
                    <a:pt x="289" y="273"/>
                    <a:pt x="289" y="273"/>
                    <a:pt x="289" y="273"/>
                  </a:cubicBezTo>
                  <a:cubicBezTo>
                    <a:pt x="277" y="245"/>
                    <a:pt x="277" y="245"/>
                    <a:pt x="277" y="245"/>
                  </a:cubicBezTo>
                  <a:cubicBezTo>
                    <a:pt x="227" y="250"/>
                    <a:pt x="227" y="250"/>
                    <a:pt x="227" y="250"/>
                  </a:cubicBezTo>
                  <a:cubicBezTo>
                    <a:pt x="232" y="284"/>
                    <a:pt x="232" y="284"/>
                    <a:pt x="232" y="284"/>
                  </a:cubicBezTo>
                  <a:cubicBezTo>
                    <a:pt x="96" y="301"/>
                    <a:pt x="96" y="301"/>
                    <a:pt x="96" y="301"/>
                  </a:cubicBezTo>
                  <a:cubicBezTo>
                    <a:pt x="70" y="323"/>
                    <a:pt x="70" y="323"/>
                    <a:pt x="70" y="323"/>
                  </a:cubicBezTo>
                  <a:cubicBezTo>
                    <a:pt x="0" y="291"/>
                    <a:pt x="0" y="291"/>
                    <a:pt x="0" y="291"/>
                  </a:cubicBezTo>
                  <a:cubicBezTo>
                    <a:pt x="3" y="394"/>
                    <a:pt x="3" y="394"/>
                    <a:pt x="3" y="394"/>
                  </a:cubicBezTo>
                  <a:cubicBezTo>
                    <a:pt x="130" y="411"/>
                    <a:pt x="130" y="411"/>
                    <a:pt x="130" y="411"/>
                  </a:cubicBezTo>
                  <a:cubicBezTo>
                    <a:pt x="130" y="411"/>
                    <a:pt x="130" y="411"/>
                    <a:pt x="130" y="411"/>
                  </a:cubicBez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8" name="Freeform 128"/>
            <p:cNvSpPr>
              <a:spLocks/>
            </p:cNvSpPr>
            <p:nvPr/>
          </p:nvSpPr>
          <p:spPr bwMode="auto">
            <a:xfrm>
              <a:off x="2505145" y="3799292"/>
              <a:ext cx="304504" cy="322866"/>
            </a:xfrm>
            <a:custGeom>
              <a:avLst/>
              <a:gdLst>
                <a:gd name="T0" fmla="*/ 458 w 830"/>
                <a:gd name="T1" fmla="*/ 874 h 990"/>
                <a:gd name="T2" fmla="*/ 469 w 830"/>
                <a:gd name="T3" fmla="*/ 933 h 990"/>
                <a:gd name="T4" fmla="*/ 430 w 830"/>
                <a:gd name="T5" fmla="*/ 990 h 990"/>
                <a:gd name="T6" fmla="*/ 173 w 830"/>
                <a:gd name="T7" fmla="*/ 835 h 990"/>
                <a:gd name="T8" fmla="*/ 58 w 830"/>
                <a:gd name="T9" fmla="*/ 720 h 990"/>
                <a:gd name="T10" fmla="*/ 25 w 830"/>
                <a:gd name="T11" fmla="*/ 684 h 990"/>
                <a:gd name="T12" fmla="*/ 17 w 830"/>
                <a:gd name="T13" fmla="*/ 647 h 990"/>
                <a:gd name="T14" fmla="*/ 161 w 830"/>
                <a:gd name="T15" fmla="*/ 428 h 990"/>
                <a:gd name="T16" fmla="*/ 585 w 830"/>
                <a:gd name="T17" fmla="*/ 0 h 990"/>
                <a:gd name="T18" fmla="*/ 760 w 830"/>
                <a:gd name="T19" fmla="*/ 346 h 990"/>
                <a:gd name="T20" fmla="*/ 830 w 830"/>
                <a:gd name="T21" fmla="*/ 437 h 990"/>
                <a:gd name="T22" fmla="*/ 790 w 830"/>
                <a:gd name="T23" fmla="*/ 463 h 990"/>
                <a:gd name="T24" fmla="*/ 740 w 830"/>
                <a:gd name="T25" fmla="*/ 531 h 990"/>
                <a:gd name="T26" fmla="*/ 571 w 830"/>
                <a:gd name="T27" fmla="*/ 808 h 990"/>
                <a:gd name="T28" fmla="*/ 458 w 830"/>
                <a:gd name="T29" fmla="*/ 874 h 99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30" h="990">
                  <a:moveTo>
                    <a:pt x="458" y="874"/>
                  </a:moveTo>
                  <a:cubicBezTo>
                    <a:pt x="461" y="894"/>
                    <a:pt x="470" y="914"/>
                    <a:pt x="469" y="933"/>
                  </a:cubicBezTo>
                  <a:cubicBezTo>
                    <a:pt x="456" y="952"/>
                    <a:pt x="443" y="971"/>
                    <a:pt x="430" y="990"/>
                  </a:cubicBezTo>
                  <a:cubicBezTo>
                    <a:pt x="345" y="938"/>
                    <a:pt x="258" y="888"/>
                    <a:pt x="173" y="835"/>
                  </a:cubicBezTo>
                  <a:cubicBezTo>
                    <a:pt x="135" y="797"/>
                    <a:pt x="96" y="758"/>
                    <a:pt x="58" y="720"/>
                  </a:cubicBezTo>
                  <a:cubicBezTo>
                    <a:pt x="52" y="707"/>
                    <a:pt x="35" y="696"/>
                    <a:pt x="25" y="684"/>
                  </a:cubicBezTo>
                  <a:cubicBezTo>
                    <a:pt x="11" y="673"/>
                    <a:pt x="0" y="662"/>
                    <a:pt x="17" y="647"/>
                  </a:cubicBezTo>
                  <a:cubicBezTo>
                    <a:pt x="65" y="574"/>
                    <a:pt x="111" y="500"/>
                    <a:pt x="161" y="428"/>
                  </a:cubicBezTo>
                  <a:cubicBezTo>
                    <a:pt x="302" y="286"/>
                    <a:pt x="444" y="143"/>
                    <a:pt x="585" y="0"/>
                  </a:cubicBezTo>
                  <a:cubicBezTo>
                    <a:pt x="643" y="115"/>
                    <a:pt x="701" y="231"/>
                    <a:pt x="760" y="346"/>
                  </a:cubicBezTo>
                  <a:cubicBezTo>
                    <a:pt x="783" y="376"/>
                    <a:pt x="808" y="406"/>
                    <a:pt x="830" y="437"/>
                  </a:cubicBezTo>
                  <a:cubicBezTo>
                    <a:pt x="817" y="440"/>
                    <a:pt x="803" y="455"/>
                    <a:pt x="790" y="463"/>
                  </a:cubicBezTo>
                  <a:cubicBezTo>
                    <a:pt x="764" y="478"/>
                    <a:pt x="756" y="508"/>
                    <a:pt x="740" y="531"/>
                  </a:cubicBezTo>
                  <a:cubicBezTo>
                    <a:pt x="683" y="623"/>
                    <a:pt x="627" y="716"/>
                    <a:pt x="571" y="808"/>
                  </a:cubicBezTo>
                  <a:cubicBezTo>
                    <a:pt x="533" y="830"/>
                    <a:pt x="496" y="852"/>
                    <a:pt x="458" y="874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99" name="Freeform 129"/>
            <p:cNvSpPr>
              <a:spLocks/>
            </p:cNvSpPr>
            <p:nvPr/>
          </p:nvSpPr>
          <p:spPr bwMode="auto">
            <a:xfrm>
              <a:off x="2378725" y="3724935"/>
              <a:ext cx="341883" cy="318951"/>
            </a:xfrm>
            <a:custGeom>
              <a:avLst/>
              <a:gdLst>
                <a:gd name="T0" fmla="*/ 933 w 933"/>
                <a:gd name="T1" fmla="*/ 227 h 977"/>
                <a:gd name="T2" fmla="*/ 829 w 933"/>
                <a:gd name="T3" fmla="*/ 82 h 977"/>
                <a:gd name="T4" fmla="*/ 758 w 933"/>
                <a:gd name="T5" fmla="*/ 0 h 977"/>
                <a:gd name="T6" fmla="*/ 467 w 933"/>
                <a:gd name="T7" fmla="*/ 111 h 977"/>
                <a:gd name="T8" fmla="*/ 82 w 933"/>
                <a:gd name="T9" fmla="*/ 616 h 977"/>
                <a:gd name="T10" fmla="*/ 0 w 933"/>
                <a:gd name="T11" fmla="*/ 707 h 977"/>
                <a:gd name="T12" fmla="*/ 158 w 933"/>
                <a:gd name="T13" fmla="*/ 870 h 977"/>
                <a:gd name="T14" fmla="*/ 289 w 933"/>
                <a:gd name="T15" fmla="*/ 977 h 977"/>
                <a:gd name="T16" fmla="*/ 351 w 933"/>
                <a:gd name="T17" fmla="*/ 892 h 977"/>
                <a:gd name="T18" fmla="*/ 352 w 933"/>
                <a:gd name="T19" fmla="*/ 892 h 977"/>
                <a:gd name="T20" fmla="*/ 503 w 933"/>
                <a:gd name="T21" fmla="*/ 659 h 977"/>
                <a:gd name="T22" fmla="*/ 931 w 933"/>
                <a:gd name="T23" fmla="*/ 227 h 977"/>
                <a:gd name="T24" fmla="*/ 933 w 933"/>
                <a:gd name="T25" fmla="*/ 230 h 977"/>
                <a:gd name="T26" fmla="*/ 933 w 933"/>
                <a:gd name="T27" fmla="*/ 227 h 977"/>
                <a:gd name="T28" fmla="*/ 933 w 933"/>
                <a:gd name="T29" fmla="*/ 227 h 9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933" h="977">
                  <a:moveTo>
                    <a:pt x="933" y="227"/>
                  </a:moveTo>
                  <a:cubicBezTo>
                    <a:pt x="829" y="82"/>
                    <a:pt x="829" y="82"/>
                    <a:pt x="829" y="82"/>
                  </a:cubicBezTo>
                  <a:cubicBezTo>
                    <a:pt x="758" y="0"/>
                    <a:pt x="758" y="0"/>
                    <a:pt x="758" y="0"/>
                  </a:cubicBezTo>
                  <a:cubicBezTo>
                    <a:pt x="661" y="64"/>
                    <a:pt x="564" y="100"/>
                    <a:pt x="467" y="111"/>
                  </a:cubicBezTo>
                  <a:cubicBezTo>
                    <a:pt x="82" y="616"/>
                    <a:pt x="82" y="616"/>
                    <a:pt x="82" y="616"/>
                  </a:cubicBezTo>
                  <a:cubicBezTo>
                    <a:pt x="0" y="707"/>
                    <a:pt x="0" y="707"/>
                    <a:pt x="0" y="707"/>
                  </a:cubicBezTo>
                  <a:cubicBezTo>
                    <a:pt x="158" y="870"/>
                    <a:pt x="158" y="870"/>
                    <a:pt x="158" y="870"/>
                  </a:cubicBezTo>
                  <a:cubicBezTo>
                    <a:pt x="289" y="977"/>
                    <a:pt x="289" y="977"/>
                    <a:pt x="289" y="977"/>
                  </a:cubicBezTo>
                  <a:cubicBezTo>
                    <a:pt x="351" y="892"/>
                    <a:pt x="351" y="892"/>
                    <a:pt x="351" y="892"/>
                  </a:cubicBezTo>
                  <a:cubicBezTo>
                    <a:pt x="352" y="892"/>
                    <a:pt x="352" y="892"/>
                    <a:pt x="352" y="892"/>
                  </a:cubicBezTo>
                  <a:cubicBezTo>
                    <a:pt x="503" y="659"/>
                    <a:pt x="503" y="659"/>
                    <a:pt x="503" y="659"/>
                  </a:cubicBezTo>
                  <a:cubicBezTo>
                    <a:pt x="931" y="227"/>
                    <a:pt x="931" y="227"/>
                    <a:pt x="931" y="227"/>
                  </a:cubicBezTo>
                  <a:cubicBezTo>
                    <a:pt x="933" y="230"/>
                    <a:pt x="933" y="230"/>
                    <a:pt x="933" y="230"/>
                  </a:cubicBezTo>
                  <a:cubicBezTo>
                    <a:pt x="933" y="227"/>
                    <a:pt x="933" y="227"/>
                    <a:pt x="933" y="227"/>
                  </a:cubicBezTo>
                  <a:cubicBezTo>
                    <a:pt x="933" y="227"/>
                    <a:pt x="933" y="227"/>
                    <a:pt x="933" y="227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0" name="Freeform 130"/>
            <p:cNvSpPr>
              <a:spLocks/>
            </p:cNvSpPr>
            <p:nvPr/>
          </p:nvSpPr>
          <p:spPr bwMode="auto">
            <a:xfrm>
              <a:off x="1734539" y="3196610"/>
              <a:ext cx="595818" cy="344389"/>
            </a:xfrm>
            <a:custGeom>
              <a:avLst/>
              <a:gdLst>
                <a:gd name="T0" fmla="*/ 1540 w 1624"/>
                <a:gd name="T1" fmla="*/ 395 h 1058"/>
                <a:gd name="T2" fmla="*/ 1624 w 1624"/>
                <a:gd name="T3" fmla="*/ 638 h 1058"/>
                <a:gd name="T4" fmla="*/ 1472 w 1624"/>
                <a:gd name="T5" fmla="*/ 726 h 1058"/>
                <a:gd name="T6" fmla="*/ 1377 w 1624"/>
                <a:gd name="T7" fmla="*/ 908 h 1058"/>
                <a:gd name="T8" fmla="*/ 1243 w 1624"/>
                <a:gd name="T9" fmla="*/ 1000 h 1058"/>
                <a:gd name="T10" fmla="*/ 1048 w 1624"/>
                <a:gd name="T11" fmla="*/ 1058 h 1058"/>
                <a:gd name="T12" fmla="*/ 903 w 1624"/>
                <a:gd name="T13" fmla="*/ 768 h 1058"/>
                <a:gd name="T14" fmla="*/ 616 w 1624"/>
                <a:gd name="T15" fmla="*/ 913 h 1058"/>
                <a:gd name="T16" fmla="*/ 464 w 1624"/>
                <a:gd name="T17" fmla="*/ 979 h 1058"/>
                <a:gd name="T18" fmla="*/ 443 w 1624"/>
                <a:gd name="T19" fmla="*/ 942 h 1058"/>
                <a:gd name="T20" fmla="*/ 395 w 1624"/>
                <a:gd name="T21" fmla="*/ 942 h 1058"/>
                <a:gd name="T22" fmla="*/ 395 w 1624"/>
                <a:gd name="T23" fmla="*/ 968 h 1058"/>
                <a:gd name="T24" fmla="*/ 324 w 1624"/>
                <a:gd name="T25" fmla="*/ 1008 h 1058"/>
                <a:gd name="T26" fmla="*/ 198 w 1624"/>
                <a:gd name="T27" fmla="*/ 932 h 1058"/>
                <a:gd name="T28" fmla="*/ 230 w 1624"/>
                <a:gd name="T29" fmla="*/ 884 h 1058"/>
                <a:gd name="T30" fmla="*/ 216 w 1624"/>
                <a:gd name="T31" fmla="*/ 850 h 1058"/>
                <a:gd name="T32" fmla="*/ 185 w 1624"/>
                <a:gd name="T33" fmla="*/ 837 h 1058"/>
                <a:gd name="T34" fmla="*/ 169 w 1624"/>
                <a:gd name="T35" fmla="*/ 810 h 1058"/>
                <a:gd name="T36" fmla="*/ 158 w 1624"/>
                <a:gd name="T37" fmla="*/ 810 h 1058"/>
                <a:gd name="T38" fmla="*/ 116 w 1624"/>
                <a:gd name="T39" fmla="*/ 771 h 1058"/>
                <a:gd name="T40" fmla="*/ 79 w 1624"/>
                <a:gd name="T41" fmla="*/ 697 h 1058"/>
                <a:gd name="T42" fmla="*/ 0 w 1624"/>
                <a:gd name="T43" fmla="*/ 647 h 1058"/>
                <a:gd name="T44" fmla="*/ 82 w 1624"/>
                <a:gd name="T45" fmla="*/ 558 h 1058"/>
                <a:gd name="T46" fmla="*/ 97 w 1624"/>
                <a:gd name="T47" fmla="*/ 552 h 1058"/>
                <a:gd name="T48" fmla="*/ 179 w 1624"/>
                <a:gd name="T49" fmla="*/ 580 h 1058"/>
                <a:gd name="T50" fmla="*/ 171 w 1624"/>
                <a:gd name="T51" fmla="*/ 647 h 1058"/>
                <a:gd name="T52" fmla="*/ 316 w 1624"/>
                <a:gd name="T53" fmla="*/ 789 h 1058"/>
                <a:gd name="T54" fmla="*/ 419 w 1624"/>
                <a:gd name="T55" fmla="*/ 835 h 1058"/>
                <a:gd name="T56" fmla="*/ 539 w 1624"/>
                <a:gd name="T57" fmla="*/ 828 h 1058"/>
                <a:gd name="T58" fmla="*/ 667 w 1624"/>
                <a:gd name="T59" fmla="*/ 767 h 1058"/>
                <a:gd name="T60" fmla="*/ 784 w 1624"/>
                <a:gd name="T61" fmla="*/ 640 h 1058"/>
                <a:gd name="T62" fmla="*/ 830 w 1624"/>
                <a:gd name="T63" fmla="*/ 523 h 1058"/>
                <a:gd name="T64" fmla="*/ 844 w 1624"/>
                <a:gd name="T65" fmla="*/ 402 h 1058"/>
                <a:gd name="T66" fmla="*/ 840 w 1624"/>
                <a:gd name="T67" fmla="*/ 147 h 1058"/>
                <a:gd name="T68" fmla="*/ 851 w 1624"/>
                <a:gd name="T69" fmla="*/ 97 h 1058"/>
                <a:gd name="T70" fmla="*/ 894 w 1624"/>
                <a:gd name="T71" fmla="*/ 36 h 1058"/>
                <a:gd name="T72" fmla="*/ 1064 w 1624"/>
                <a:gd name="T73" fmla="*/ 14 h 1058"/>
                <a:gd name="T74" fmla="*/ 1288 w 1624"/>
                <a:gd name="T75" fmla="*/ 137 h 1058"/>
                <a:gd name="T76" fmla="*/ 1423 w 1624"/>
                <a:gd name="T77" fmla="*/ 251 h 1058"/>
                <a:gd name="T78" fmla="*/ 1488 w 1624"/>
                <a:gd name="T79" fmla="*/ 302 h 1058"/>
                <a:gd name="T80" fmla="*/ 1540 w 1624"/>
                <a:gd name="T81" fmla="*/ 395 h 10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24" h="1058">
                  <a:moveTo>
                    <a:pt x="1540" y="395"/>
                  </a:moveTo>
                  <a:cubicBezTo>
                    <a:pt x="1624" y="638"/>
                    <a:pt x="1624" y="638"/>
                    <a:pt x="1624" y="638"/>
                  </a:cubicBezTo>
                  <a:cubicBezTo>
                    <a:pt x="1472" y="726"/>
                    <a:pt x="1472" y="726"/>
                    <a:pt x="1472" y="726"/>
                  </a:cubicBezTo>
                  <a:cubicBezTo>
                    <a:pt x="1377" y="908"/>
                    <a:pt x="1377" y="908"/>
                    <a:pt x="1377" y="908"/>
                  </a:cubicBezTo>
                  <a:cubicBezTo>
                    <a:pt x="1243" y="1000"/>
                    <a:pt x="1243" y="1000"/>
                    <a:pt x="1243" y="1000"/>
                  </a:cubicBezTo>
                  <a:cubicBezTo>
                    <a:pt x="1048" y="1058"/>
                    <a:pt x="1048" y="1058"/>
                    <a:pt x="1048" y="1058"/>
                  </a:cubicBezTo>
                  <a:cubicBezTo>
                    <a:pt x="903" y="768"/>
                    <a:pt x="903" y="768"/>
                    <a:pt x="903" y="768"/>
                  </a:cubicBezTo>
                  <a:cubicBezTo>
                    <a:pt x="616" y="913"/>
                    <a:pt x="616" y="913"/>
                    <a:pt x="616" y="913"/>
                  </a:cubicBezTo>
                  <a:cubicBezTo>
                    <a:pt x="464" y="979"/>
                    <a:pt x="464" y="979"/>
                    <a:pt x="464" y="979"/>
                  </a:cubicBezTo>
                  <a:cubicBezTo>
                    <a:pt x="443" y="942"/>
                    <a:pt x="443" y="942"/>
                    <a:pt x="443" y="942"/>
                  </a:cubicBezTo>
                  <a:cubicBezTo>
                    <a:pt x="395" y="942"/>
                    <a:pt x="395" y="942"/>
                    <a:pt x="395" y="942"/>
                  </a:cubicBezTo>
                  <a:cubicBezTo>
                    <a:pt x="395" y="968"/>
                    <a:pt x="395" y="968"/>
                    <a:pt x="395" y="968"/>
                  </a:cubicBezTo>
                  <a:cubicBezTo>
                    <a:pt x="324" y="1008"/>
                    <a:pt x="324" y="1008"/>
                    <a:pt x="324" y="1008"/>
                  </a:cubicBezTo>
                  <a:cubicBezTo>
                    <a:pt x="198" y="932"/>
                    <a:pt x="198" y="932"/>
                    <a:pt x="198" y="932"/>
                  </a:cubicBezTo>
                  <a:cubicBezTo>
                    <a:pt x="230" y="884"/>
                    <a:pt x="230" y="884"/>
                    <a:pt x="230" y="884"/>
                  </a:cubicBezTo>
                  <a:cubicBezTo>
                    <a:pt x="216" y="850"/>
                    <a:pt x="216" y="850"/>
                    <a:pt x="216" y="850"/>
                  </a:cubicBezTo>
                  <a:cubicBezTo>
                    <a:pt x="185" y="837"/>
                    <a:pt x="185" y="837"/>
                    <a:pt x="185" y="837"/>
                  </a:cubicBezTo>
                  <a:cubicBezTo>
                    <a:pt x="169" y="810"/>
                    <a:pt x="169" y="810"/>
                    <a:pt x="169" y="810"/>
                  </a:cubicBezTo>
                  <a:cubicBezTo>
                    <a:pt x="158" y="810"/>
                    <a:pt x="158" y="810"/>
                    <a:pt x="158" y="810"/>
                  </a:cubicBezTo>
                  <a:cubicBezTo>
                    <a:pt x="116" y="771"/>
                    <a:pt x="116" y="771"/>
                    <a:pt x="116" y="771"/>
                  </a:cubicBezTo>
                  <a:cubicBezTo>
                    <a:pt x="79" y="697"/>
                    <a:pt x="79" y="697"/>
                    <a:pt x="79" y="697"/>
                  </a:cubicBezTo>
                  <a:cubicBezTo>
                    <a:pt x="0" y="647"/>
                    <a:pt x="0" y="647"/>
                    <a:pt x="0" y="647"/>
                  </a:cubicBezTo>
                  <a:cubicBezTo>
                    <a:pt x="82" y="558"/>
                    <a:pt x="82" y="558"/>
                    <a:pt x="82" y="558"/>
                  </a:cubicBezTo>
                  <a:cubicBezTo>
                    <a:pt x="97" y="552"/>
                    <a:pt x="97" y="552"/>
                    <a:pt x="97" y="552"/>
                  </a:cubicBezTo>
                  <a:cubicBezTo>
                    <a:pt x="179" y="580"/>
                    <a:pt x="179" y="580"/>
                    <a:pt x="179" y="580"/>
                  </a:cubicBezTo>
                  <a:cubicBezTo>
                    <a:pt x="167" y="601"/>
                    <a:pt x="160" y="628"/>
                    <a:pt x="171" y="647"/>
                  </a:cubicBezTo>
                  <a:cubicBezTo>
                    <a:pt x="204" y="706"/>
                    <a:pt x="262" y="748"/>
                    <a:pt x="316" y="789"/>
                  </a:cubicBezTo>
                  <a:cubicBezTo>
                    <a:pt x="346" y="811"/>
                    <a:pt x="382" y="828"/>
                    <a:pt x="419" y="835"/>
                  </a:cubicBezTo>
                  <a:cubicBezTo>
                    <a:pt x="458" y="842"/>
                    <a:pt x="500" y="838"/>
                    <a:pt x="539" y="828"/>
                  </a:cubicBezTo>
                  <a:cubicBezTo>
                    <a:pt x="585" y="815"/>
                    <a:pt x="630" y="796"/>
                    <a:pt x="667" y="767"/>
                  </a:cubicBezTo>
                  <a:cubicBezTo>
                    <a:pt x="713" y="732"/>
                    <a:pt x="752" y="688"/>
                    <a:pt x="784" y="640"/>
                  </a:cubicBezTo>
                  <a:cubicBezTo>
                    <a:pt x="807" y="605"/>
                    <a:pt x="820" y="563"/>
                    <a:pt x="830" y="523"/>
                  </a:cubicBezTo>
                  <a:cubicBezTo>
                    <a:pt x="840" y="484"/>
                    <a:pt x="845" y="443"/>
                    <a:pt x="844" y="402"/>
                  </a:cubicBezTo>
                  <a:cubicBezTo>
                    <a:pt x="840" y="147"/>
                    <a:pt x="840" y="147"/>
                    <a:pt x="840" y="147"/>
                  </a:cubicBezTo>
                  <a:cubicBezTo>
                    <a:pt x="851" y="97"/>
                    <a:pt x="851" y="97"/>
                    <a:pt x="851" y="97"/>
                  </a:cubicBezTo>
                  <a:cubicBezTo>
                    <a:pt x="851" y="97"/>
                    <a:pt x="862" y="55"/>
                    <a:pt x="894" y="36"/>
                  </a:cubicBezTo>
                  <a:cubicBezTo>
                    <a:pt x="925" y="16"/>
                    <a:pt x="1004" y="0"/>
                    <a:pt x="1064" y="14"/>
                  </a:cubicBezTo>
                  <a:cubicBezTo>
                    <a:pt x="1124" y="28"/>
                    <a:pt x="1255" y="109"/>
                    <a:pt x="1288" y="137"/>
                  </a:cubicBezTo>
                  <a:cubicBezTo>
                    <a:pt x="1423" y="251"/>
                    <a:pt x="1423" y="251"/>
                    <a:pt x="1423" y="251"/>
                  </a:cubicBezTo>
                  <a:cubicBezTo>
                    <a:pt x="1488" y="302"/>
                    <a:pt x="1488" y="302"/>
                    <a:pt x="1488" y="302"/>
                  </a:cubicBezTo>
                  <a:cubicBezTo>
                    <a:pt x="1540" y="395"/>
                    <a:pt x="1540" y="395"/>
                    <a:pt x="1540" y="395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1" name="Freeform 131"/>
            <p:cNvSpPr>
              <a:spLocks/>
            </p:cNvSpPr>
            <p:nvPr/>
          </p:nvSpPr>
          <p:spPr bwMode="auto">
            <a:xfrm>
              <a:off x="1811491" y="3447076"/>
              <a:ext cx="364964" cy="320911"/>
            </a:xfrm>
            <a:custGeom>
              <a:avLst/>
              <a:gdLst>
                <a:gd name="T0" fmla="*/ 419 w 998"/>
                <a:gd name="T1" fmla="*/ 866 h 985"/>
                <a:gd name="T2" fmla="*/ 472 w 998"/>
                <a:gd name="T3" fmla="*/ 811 h 985"/>
                <a:gd name="T4" fmla="*/ 495 w 998"/>
                <a:gd name="T5" fmla="*/ 850 h 985"/>
                <a:gd name="T6" fmla="*/ 526 w 998"/>
                <a:gd name="T7" fmla="*/ 867 h 985"/>
                <a:gd name="T8" fmla="*/ 551 w 998"/>
                <a:gd name="T9" fmla="*/ 839 h 985"/>
                <a:gd name="T10" fmla="*/ 545 w 998"/>
                <a:gd name="T11" fmla="*/ 788 h 985"/>
                <a:gd name="T12" fmla="*/ 536 w 998"/>
                <a:gd name="T13" fmla="*/ 745 h 985"/>
                <a:gd name="T14" fmla="*/ 530 w 998"/>
                <a:gd name="T15" fmla="*/ 703 h 985"/>
                <a:gd name="T16" fmla="*/ 569 w 998"/>
                <a:gd name="T17" fmla="*/ 706 h 985"/>
                <a:gd name="T18" fmla="*/ 648 w 998"/>
                <a:gd name="T19" fmla="*/ 616 h 985"/>
                <a:gd name="T20" fmla="*/ 724 w 998"/>
                <a:gd name="T21" fmla="*/ 643 h 985"/>
                <a:gd name="T22" fmla="*/ 768 w 998"/>
                <a:gd name="T23" fmla="*/ 668 h 985"/>
                <a:gd name="T24" fmla="*/ 809 w 998"/>
                <a:gd name="T25" fmla="*/ 708 h 985"/>
                <a:gd name="T26" fmla="*/ 761 w 998"/>
                <a:gd name="T27" fmla="*/ 748 h 985"/>
                <a:gd name="T28" fmla="*/ 836 w 998"/>
                <a:gd name="T29" fmla="*/ 737 h 985"/>
                <a:gd name="T30" fmla="*/ 898 w 998"/>
                <a:gd name="T31" fmla="*/ 732 h 985"/>
                <a:gd name="T32" fmla="*/ 911 w 998"/>
                <a:gd name="T33" fmla="*/ 682 h 985"/>
                <a:gd name="T34" fmla="*/ 951 w 998"/>
                <a:gd name="T35" fmla="*/ 657 h 985"/>
                <a:gd name="T36" fmla="*/ 998 w 998"/>
                <a:gd name="T37" fmla="*/ 598 h 985"/>
                <a:gd name="T38" fmla="*/ 844 w 998"/>
                <a:gd name="T39" fmla="*/ 289 h 985"/>
                <a:gd name="T40" fmla="*/ 818 w 998"/>
                <a:gd name="T41" fmla="*/ 246 h 985"/>
                <a:gd name="T42" fmla="*/ 695 w 998"/>
                <a:gd name="T43" fmla="*/ 0 h 985"/>
                <a:gd name="T44" fmla="*/ 387 w 998"/>
                <a:gd name="T45" fmla="*/ 154 h 985"/>
                <a:gd name="T46" fmla="*/ 256 w 998"/>
                <a:gd name="T47" fmla="*/ 211 h 985"/>
                <a:gd name="T48" fmla="*/ 223 w 998"/>
                <a:gd name="T49" fmla="*/ 174 h 985"/>
                <a:gd name="T50" fmla="*/ 187 w 998"/>
                <a:gd name="T51" fmla="*/ 191 h 985"/>
                <a:gd name="T52" fmla="*/ 150 w 998"/>
                <a:gd name="T53" fmla="*/ 221 h 985"/>
                <a:gd name="T54" fmla="*/ 104 w 998"/>
                <a:gd name="T55" fmla="*/ 232 h 985"/>
                <a:gd name="T56" fmla="*/ 0 w 998"/>
                <a:gd name="T57" fmla="*/ 170 h 985"/>
                <a:gd name="T58" fmla="*/ 99 w 998"/>
                <a:gd name="T59" fmla="*/ 285 h 985"/>
                <a:gd name="T60" fmla="*/ 146 w 998"/>
                <a:gd name="T61" fmla="*/ 459 h 985"/>
                <a:gd name="T62" fmla="*/ 266 w 998"/>
                <a:gd name="T63" fmla="*/ 982 h 985"/>
                <a:gd name="T64" fmla="*/ 352 w 998"/>
                <a:gd name="T65" fmla="*/ 965 h 985"/>
                <a:gd name="T66" fmla="*/ 414 w 998"/>
                <a:gd name="T67" fmla="*/ 956 h 985"/>
                <a:gd name="T68" fmla="*/ 453 w 998"/>
                <a:gd name="T69" fmla="*/ 944 h 985"/>
                <a:gd name="T70" fmla="*/ 487 w 998"/>
                <a:gd name="T71" fmla="*/ 903 h 985"/>
                <a:gd name="T72" fmla="*/ 419 w 998"/>
                <a:gd name="T73" fmla="*/ 866 h 9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998" h="985">
                  <a:moveTo>
                    <a:pt x="419" y="866"/>
                  </a:moveTo>
                  <a:cubicBezTo>
                    <a:pt x="437" y="848"/>
                    <a:pt x="454" y="829"/>
                    <a:pt x="472" y="811"/>
                  </a:cubicBezTo>
                  <a:cubicBezTo>
                    <a:pt x="479" y="824"/>
                    <a:pt x="509" y="834"/>
                    <a:pt x="495" y="850"/>
                  </a:cubicBezTo>
                  <a:cubicBezTo>
                    <a:pt x="483" y="868"/>
                    <a:pt x="513" y="876"/>
                    <a:pt x="526" y="867"/>
                  </a:cubicBezTo>
                  <a:cubicBezTo>
                    <a:pt x="540" y="869"/>
                    <a:pt x="568" y="853"/>
                    <a:pt x="551" y="839"/>
                  </a:cubicBezTo>
                  <a:cubicBezTo>
                    <a:pt x="536" y="826"/>
                    <a:pt x="532" y="804"/>
                    <a:pt x="545" y="788"/>
                  </a:cubicBezTo>
                  <a:cubicBezTo>
                    <a:pt x="563" y="772"/>
                    <a:pt x="549" y="758"/>
                    <a:pt x="536" y="745"/>
                  </a:cubicBezTo>
                  <a:cubicBezTo>
                    <a:pt x="522" y="731"/>
                    <a:pt x="510" y="718"/>
                    <a:pt x="530" y="703"/>
                  </a:cubicBezTo>
                  <a:cubicBezTo>
                    <a:pt x="544" y="713"/>
                    <a:pt x="559" y="731"/>
                    <a:pt x="569" y="706"/>
                  </a:cubicBezTo>
                  <a:cubicBezTo>
                    <a:pt x="595" y="676"/>
                    <a:pt x="622" y="646"/>
                    <a:pt x="648" y="616"/>
                  </a:cubicBezTo>
                  <a:cubicBezTo>
                    <a:pt x="673" y="628"/>
                    <a:pt x="696" y="645"/>
                    <a:pt x="724" y="643"/>
                  </a:cubicBezTo>
                  <a:cubicBezTo>
                    <a:pt x="744" y="640"/>
                    <a:pt x="756" y="654"/>
                    <a:pt x="768" y="668"/>
                  </a:cubicBezTo>
                  <a:cubicBezTo>
                    <a:pt x="781" y="681"/>
                    <a:pt x="795" y="695"/>
                    <a:pt x="809" y="708"/>
                  </a:cubicBezTo>
                  <a:cubicBezTo>
                    <a:pt x="793" y="722"/>
                    <a:pt x="777" y="735"/>
                    <a:pt x="761" y="748"/>
                  </a:cubicBezTo>
                  <a:cubicBezTo>
                    <a:pt x="787" y="749"/>
                    <a:pt x="812" y="748"/>
                    <a:pt x="836" y="737"/>
                  </a:cubicBezTo>
                  <a:cubicBezTo>
                    <a:pt x="856" y="728"/>
                    <a:pt x="877" y="734"/>
                    <a:pt x="898" y="732"/>
                  </a:cubicBezTo>
                  <a:cubicBezTo>
                    <a:pt x="903" y="716"/>
                    <a:pt x="902" y="693"/>
                    <a:pt x="911" y="682"/>
                  </a:cubicBezTo>
                  <a:cubicBezTo>
                    <a:pt x="931" y="684"/>
                    <a:pt x="945" y="676"/>
                    <a:pt x="951" y="657"/>
                  </a:cubicBezTo>
                  <a:cubicBezTo>
                    <a:pt x="962" y="634"/>
                    <a:pt x="981" y="616"/>
                    <a:pt x="998" y="598"/>
                  </a:cubicBezTo>
                  <a:cubicBezTo>
                    <a:pt x="947" y="495"/>
                    <a:pt x="895" y="392"/>
                    <a:pt x="844" y="289"/>
                  </a:cubicBezTo>
                  <a:cubicBezTo>
                    <a:pt x="831" y="283"/>
                    <a:pt x="827" y="259"/>
                    <a:pt x="818" y="246"/>
                  </a:cubicBezTo>
                  <a:cubicBezTo>
                    <a:pt x="777" y="164"/>
                    <a:pt x="736" y="82"/>
                    <a:pt x="695" y="0"/>
                  </a:cubicBezTo>
                  <a:cubicBezTo>
                    <a:pt x="593" y="51"/>
                    <a:pt x="491" y="105"/>
                    <a:pt x="387" y="154"/>
                  </a:cubicBezTo>
                  <a:cubicBezTo>
                    <a:pt x="343" y="173"/>
                    <a:pt x="300" y="192"/>
                    <a:pt x="256" y="211"/>
                  </a:cubicBezTo>
                  <a:cubicBezTo>
                    <a:pt x="245" y="199"/>
                    <a:pt x="243" y="171"/>
                    <a:pt x="223" y="174"/>
                  </a:cubicBezTo>
                  <a:cubicBezTo>
                    <a:pt x="207" y="176"/>
                    <a:pt x="179" y="165"/>
                    <a:pt x="187" y="191"/>
                  </a:cubicBezTo>
                  <a:cubicBezTo>
                    <a:pt x="189" y="210"/>
                    <a:pt x="161" y="211"/>
                    <a:pt x="150" y="221"/>
                  </a:cubicBezTo>
                  <a:cubicBezTo>
                    <a:pt x="134" y="226"/>
                    <a:pt x="119" y="249"/>
                    <a:pt x="104" y="232"/>
                  </a:cubicBezTo>
                  <a:cubicBezTo>
                    <a:pt x="69" y="212"/>
                    <a:pt x="35" y="191"/>
                    <a:pt x="0" y="170"/>
                  </a:cubicBezTo>
                  <a:cubicBezTo>
                    <a:pt x="33" y="208"/>
                    <a:pt x="68" y="245"/>
                    <a:pt x="99" y="285"/>
                  </a:cubicBezTo>
                  <a:cubicBezTo>
                    <a:pt x="125" y="339"/>
                    <a:pt x="131" y="400"/>
                    <a:pt x="146" y="459"/>
                  </a:cubicBezTo>
                  <a:cubicBezTo>
                    <a:pt x="186" y="633"/>
                    <a:pt x="226" y="808"/>
                    <a:pt x="266" y="982"/>
                  </a:cubicBezTo>
                  <a:cubicBezTo>
                    <a:pt x="295" y="977"/>
                    <a:pt x="328" y="985"/>
                    <a:pt x="352" y="965"/>
                  </a:cubicBezTo>
                  <a:cubicBezTo>
                    <a:pt x="370" y="953"/>
                    <a:pt x="394" y="941"/>
                    <a:pt x="414" y="956"/>
                  </a:cubicBezTo>
                  <a:cubicBezTo>
                    <a:pt x="431" y="972"/>
                    <a:pt x="443" y="961"/>
                    <a:pt x="453" y="944"/>
                  </a:cubicBezTo>
                  <a:cubicBezTo>
                    <a:pt x="465" y="931"/>
                    <a:pt x="476" y="917"/>
                    <a:pt x="487" y="903"/>
                  </a:cubicBezTo>
                  <a:cubicBezTo>
                    <a:pt x="465" y="891"/>
                    <a:pt x="442" y="879"/>
                    <a:pt x="419" y="866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2" name="Freeform 132"/>
            <p:cNvSpPr>
              <a:spLocks/>
            </p:cNvSpPr>
            <p:nvPr/>
          </p:nvSpPr>
          <p:spPr bwMode="auto">
            <a:xfrm>
              <a:off x="1589434" y="3642752"/>
              <a:ext cx="565036" cy="583116"/>
            </a:xfrm>
            <a:custGeom>
              <a:avLst/>
              <a:gdLst>
                <a:gd name="T0" fmla="*/ 232 w 1542"/>
                <a:gd name="T1" fmla="*/ 1184 h 1786"/>
                <a:gd name="T2" fmla="*/ 163 w 1542"/>
                <a:gd name="T3" fmla="*/ 941 h 1786"/>
                <a:gd name="T4" fmla="*/ 0 w 1542"/>
                <a:gd name="T5" fmla="*/ 702 h 1786"/>
                <a:gd name="T6" fmla="*/ 56 w 1542"/>
                <a:gd name="T7" fmla="*/ 641 h 1786"/>
                <a:gd name="T8" fmla="*/ 60 w 1542"/>
                <a:gd name="T9" fmla="*/ 570 h 1786"/>
                <a:gd name="T10" fmla="*/ 166 w 1542"/>
                <a:gd name="T11" fmla="*/ 465 h 1786"/>
                <a:gd name="T12" fmla="*/ 304 w 1542"/>
                <a:gd name="T13" fmla="*/ 537 h 1786"/>
                <a:gd name="T14" fmla="*/ 323 w 1542"/>
                <a:gd name="T15" fmla="*/ 415 h 1786"/>
                <a:gd name="T16" fmla="*/ 445 w 1542"/>
                <a:gd name="T17" fmla="*/ 481 h 1786"/>
                <a:gd name="T18" fmla="*/ 461 w 1542"/>
                <a:gd name="T19" fmla="*/ 572 h 1786"/>
                <a:gd name="T20" fmla="*/ 765 w 1542"/>
                <a:gd name="T21" fmla="*/ 468 h 1786"/>
                <a:gd name="T22" fmla="*/ 789 w 1542"/>
                <a:gd name="T23" fmla="*/ 395 h 1786"/>
                <a:gd name="T24" fmla="*/ 881 w 1542"/>
                <a:gd name="T25" fmla="*/ 408 h 1786"/>
                <a:gd name="T26" fmla="*/ 933 w 1542"/>
                <a:gd name="T27" fmla="*/ 375 h 1786"/>
                <a:gd name="T28" fmla="*/ 1023 w 1542"/>
                <a:gd name="T29" fmla="*/ 356 h 1786"/>
                <a:gd name="T30" fmla="*/ 1084 w 1542"/>
                <a:gd name="T31" fmla="*/ 313 h 1786"/>
                <a:gd name="T32" fmla="*/ 1030 w 1542"/>
                <a:gd name="T33" fmla="*/ 267 h 1786"/>
                <a:gd name="T34" fmla="*/ 1081 w 1542"/>
                <a:gd name="T35" fmla="*/ 212 h 1786"/>
                <a:gd name="T36" fmla="*/ 1119 w 1542"/>
                <a:gd name="T37" fmla="*/ 268 h 1786"/>
                <a:gd name="T38" fmla="*/ 1144 w 1542"/>
                <a:gd name="T39" fmla="*/ 220 h 1786"/>
                <a:gd name="T40" fmla="*/ 1147 w 1542"/>
                <a:gd name="T41" fmla="*/ 149 h 1786"/>
                <a:gd name="T42" fmla="*/ 1159 w 1542"/>
                <a:gd name="T43" fmla="*/ 118 h 1786"/>
                <a:gd name="T44" fmla="*/ 1219 w 1542"/>
                <a:gd name="T45" fmla="*/ 55 h 1786"/>
                <a:gd name="T46" fmla="*/ 1284 w 1542"/>
                <a:gd name="T47" fmla="*/ 29 h 1786"/>
                <a:gd name="T48" fmla="*/ 1372 w 1542"/>
                <a:gd name="T49" fmla="*/ 64 h 1786"/>
                <a:gd name="T50" fmla="*/ 1393 w 1542"/>
                <a:gd name="T51" fmla="*/ 125 h 1786"/>
                <a:gd name="T52" fmla="*/ 1423 w 1542"/>
                <a:gd name="T53" fmla="*/ 141 h 1786"/>
                <a:gd name="T54" fmla="*/ 1505 w 1542"/>
                <a:gd name="T55" fmla="*/ 125 h 1786"/>
                <a:gd name="T56" fmla="*/ 1536 w 1542"/>
                <a:gd name="T57" fmla="*/ 90 h 1786"/>
                <a:gd name="T58" fmla="*/ 1518 w 1542"/>
                <a:gd name="T59" fmla="*/ 234 h 1786"/>
                <a:gd name="T60" fmla="*/ 1462 w 1542"/>
                <a:gd name="T61" fmla="*/ 427 h 1786"/>
                <a:gd name="T62" fmla="*/ 1266 w 1542"/>
                <a:gd name="T63" fmla="*/ 573 h 1786"/>
                <a:gd name="T64" fmla="*/ 1109 w 1542"/>
                <a:gd name="T65" fmla="*/ 759 h 1786"/>
                <a:gd name="T66" fmla="*/ 1066 w 1542"/>
                <a:gd name="T67" fmla="*/ 833 h 1786"/>
                <a:gd name="T68" fmla="*/ 1255 w 1542"/>
                <a:gd name="T69" fmla="*/ 1086 h 1786"/>
                <a:gd name="T70" fmla="*/ 956 w 1542"/>
                <a:gd name="T71" fmla="*/ 1431 h 1786"/>
                <a:gd name="T72" fmla="*/ 672 w 1542"/>
                <a:gd name="T73" fmla="*/ 1630 h 1786"/>
                <a:gd name="T74" fmla="*/ 610 w 1542"/>
                <a:gd name="T75" fmla="*/ 1735 h 1786"/>
                <a:gd name="T76" fmla="*/ 495 w 1542"/>
                <a:gd name="T77" fmla="*/ 1786 h 1786"/>
                <a:gd name="T78" fmla="*/ 247 w 1542"/>
                <a:gd name="T79" fmla="*/ 1233 h 1786"/>
                <a:gd name="T80" fmla="*/ 232 w 1542"/>
                <a:gd name="T81" fmla="*/ 1184 h 178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542" h="1786">
                  <a:moveTo>
                    <a:pt x="232" y="1184"/>
                  </a:moveTo>
                  <a:cubicBezTo>
                    <a:pt x="208" y="1103"/>
                    <a:pt x="189" y="1021"/>
                    <a:pt x="163" y="941"/>
                  </a:cubicBezTo>
                  <a:cubicBezTo>
                    <a:pt x="109" y="861"/>
                    <a:pt x="54" y="782"/>
                    <a:pt x="0" y="702"/>
                  </a:cubicBezTo>
                  <a:cubicBezTo>
                    <a:pt x="32" y="696"/>
                    <a:pt x="42" y="667"/>
                    <a:pt x="56" y="641"/>
                  </a:cubicBezTo>
                  <a:cubicBezTo>
                    <a:pt x="51" y="616"/>
                    <a:pt x="27" y="586"/>
                    <a:pt x="60" y="570"/>
                  </a:cubicBezTo>
                  <a:cubicBezTo>
                    <a:pt x="96" y="535"/>
                    <a:pt x="131" y="500"/>
                    <a:pt x="166" y="465"/>
                  </a:cubicBezTo>
                  <a:cubicBezTo>
                    <a:pt x="212" y="489"/>
                    <a:pt x="258" y="513"/>
                    <a:pt x="304" y="537"/>
                  </a:cubicBezTo>
                  <a:cubicBezTo>
                    <a:pt x="310" y="496"/>
                    <a:pt x="316" y="456"/>
                    <a:pt x="323" y="415"/>
                  </a:cubicBezTo>
                  <a:cubicBezTo>
                    <a:pt x="363" y="437"/>
                    <a:pt x="404" y="459"/>
                    <a:pt x="445" y="481"/>
                  </a:cubicBezTo>
                  <a:cubicBezTo>
                    <a:pt x="450" y="511"/>
                    <a:pt x="455" y="541"/>
                    <a:pt x="461" y="572"/>
                  </a:cubicBezTo>
                  <a:cubicBezTo>
                    <a:pt x="562" y="537"/>
                    <a:pt x="664" y="503"/>
                    <a:pt x="765" y="468"/>
                  </a:cubicBezTo>
                  <a:cubicBezTo>
                    <a:pt x="775" y="446"/>
                    <a:pt x="759" y="391"/>
                    <a:pt x="789" y="395"/>
                  </a:cubicBezTo>
                  <a:cubicBezTo>
                    <a:pt x="819" y="399"/>
                    <a:pt x="850" y="404"/>
                    <a:pt x="881" y="408"/>
                  </a:cubicBezTo>
                  <a:cubicBezTo>
                    <a:pt x="859" y="368"/>
                    <a:pt x="907" y="380"/>
                    <a:pt x="933" y="375"/>
                  </a:cubicBezTo>
                  <a:cubicBezTo>
                    <a:pt x="961" y="366"/>
                    <a:pt x="992" y="330"/>
                    <a:pt x="1023" y="356"/>
                  </a:cubicBezTo>
                  <a:cubicBezTo>
                    <a:pt x="1051" y="379"/>
                    <a:pt x="1063" y="327"/>
                    <a:pt x="1084" y="313"/>
                  </a:cubicBezTo>
                  <a:cubicBezTo>
                    <a:pt x="1107" y="290"/>
                    <a:pt x="1044" y="283"/>
                    <a:pt x="1030" y="267"/>
                  </a:cubicBezTo>
                  <a:cubicBezTo>
                    <a:pt x="1028" y="254"/>
                    <a:pt x="1067" y="217"/>
                    <a:pt x="1081" y="212"/>
                  </a:cubicBezTo>
                  <a:cubicBezTo>
                    <a:pt x="1121" y="225"/>
                    <a:pt x="1080" y="268"/>
                    <a:pt x="1119" y="268"/>
                  </a:cubicBezTo>
                  <a:cubicBezTo>
                    <a:pt x="1152" y="270"/>
                    <a:pt x="1179" y="243"/>
                    <a:pt x="1144" y="220"/>
                  </a:cubicBezTo>
                  <a:cubicBezTo>
                    <a:pt x="1133" y="192"/>
                    <a:pt x="1180" y="169"/>
                    <a:pt x="1147" y="149"/>
                  </a:cubicBezTo>
                  <a:cubicBezTo>
                    <a:pt x="1113" y="131"/>
                    <a:pt x="1128" y="82"/>
                    <a:pt x="1159" y="118"/>
                  </a:cubicBezTo>
                  <a:cubicBezTo>
                    <a:pt x="1180" y="106"/>
                    <a:pt x="1199" y="74"/>
                    <a:pt x="1219" y="55"/>
                  </a:cubicBezTo>
                  <a:cubicBezTo>
                    <a:pt x="1238" y="33"/>
                    <a:pt x="1255" y="0"/>
                    <a:pt x="1284" y="29"/>
                  </a:cubicBezTo>
                  <a:cubicBezTo>
                    <a:pt x="1311" y="49"/>
                    <a:pt x="1353" y="29"/>
                    <a:pt x="1372" y="64"/>
                  </a:cubicBezTo>
                  <a:cubicBezTo>
                    <a:pt x="1388" y="84"/>
                    <a:pt x="1435" y="107"/>
                    <a:pt x="1393" y="125"/>
                  </a:cubicBezTo>
                  <a:cubicBezTo>
                    <a:pt x="1345" y="150"/>
                    <a:pt x="1396" y="150"/>
                    <a:pt x="1423" y="141"/>
                  </a:cubicBezTo>
                  <a:cubicBezTo>
                    <a:pt x="1447" y="125"/>
                    <a:pt x="1485" y="136"/>
                    <a:pt x="1505" y="125"/>
                  </a:cubicBezTo>
                  <a:cubicBezTo>
                    <a:pt x="1495" y="97"/>
                    <a:pt x="1542" y="55"/>
                    <a:pt x="1536" y="90"/>
                  </a:cubicBezTo>
                  <a:cubicBezTo>
                    <a:pt x="1509" y="133"/>
                    <a:pt x="1524" y="186"/>
                    <a:pt x="1518" y="234"/>
                  </a:cubicBezTo>
                  <a:cubicBezTo>
                    <a:pt x="1505" y="300"/>
                    <a:pt x="1480" y="363"/>
                    <a:pt x="1462" y="427"/>
                  </a:cubicBezTo>
                  <a:cubicBezTo>
                    <a:pt x="1397" y="477"/>
                    <a:pt x="1327" y="519"/>
                    <a:pt x="1266" y="573"/>
                  </a:cubicBezTo>
                  <a:cubicBezTo>
                    <a:pt x="1211" y="633"/>
                    <a:pt x="1149" y="687"/>
                    <a:pt x="1109" y="759"/>
                  </a:cubicBezTo>
                  <a:cubicBezTo>
                    <a:pt x="1097" y="783"/>
                    <a:pt x="1069" y="808"/>
                    <a:pt x="1066" y="833"/>
                  </a:cubicBezTo>
                  <a:cubicBezTo>
                    <a:pt x="1129" y="917"/>
                    <a:pt x="1192" y="1002"/>
                    <a:pt x="1255" y="1086"/>
                  </a:cubicBezTo>
                  <a:cubicBezTo>
                    <a:pt x="1155" y="1201"/>
                    <a:pt x="1057" y="1318"/>
                    <a:pt x="956" y="1431"/>
                  </a:cubicBezTo>
                  <a:cubicBezTo>
                    <a:pt x="862" y="1498"/>
                    <a:pt x="763" y="1561"/>
                    <a:pt x="672" y="1630"/>
                  </a:cubicBezTo>
                  <a:cubicBezTo>
                    <a:pt x="650" y="1664"/>
                    <a:pt x="635" y="1704"/>
                    <a:pt x="610" y="1735"/>
                  </a:cubicBezTo>
                  <a:cubicBezTo>
                    <a:pt x="572" y="1752"/>
                    <a:pt x="533" y="1769"/>
                    <a:pt x="495" y="1786"/>
                  </a:cubicBezTo>
                  <a:cubicBezTo>
                    <a:pt x="413" y="1602"/>
                    <a:pt x="333" y="1416"/>
                    <a:pt x="247" y="1233"/>
                  </a:cubicBezTo>
                  <a:cubicBezTo>
                    <a:pt x="240" y="1215"/>
                    <a:pt x="183" y="1185"/>
                    <a:pt x="232" y="118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3" name="Freeform 133"/>
            <p:cNvSpPr>
              <a:spLocks/>
            </p:cNvSpPr>
            <p:nvPr/>
          </p:nvSpPr>
          <p:spPr bwMode="auto">
            <a:xfrm>
              <a:off x="1978584" y="3511648"/>
              <a:ext cx="571632" cy="541046"/>
            </a:xfrm>
            <a:custGeom>
              <a:avLst/>
              <a:gdLst>
                <a:gd name="T0" fmla="*/ 1357 w 1560"/>
                <a:gd name="T1" fmla="*/ 234 h 1657"/>
                <a:gd name="T2" fmla="*/ 1318 w 1560"/>
                <a:gd name="T3" fmla="*/ 271 h 1657"/>
                <a:gd name="T4" fmla="*/ 1255 w 1560"/>
                <a:gd name="T5" fmla="*/ 409 h 1657"/>
                <a:gd name="T6" fmla="*/ 1261 w 1560"/>
                <a:gd name="T7" fmla="*/ 547 h 1657"/>
                <a:gd name="T8" fmla="*/ 1560 w 1560"/>
                <a:gd name="T9" fmla="*/ 764 h 1657"/>
                <a:gd name="T10" fmla="*/ 1174 w 1560"/>
                <a:gd name="T11" fmla="*/ 1269 h 1657"/>
                <a:gd name="T12" fmla="*/ 1073 w 1560"/>
                <a:gd name="T13" fmla="*/ 1372 h 1657"/>
                <a:gd name="T14" fmla="*/ 783 w 1560"/>
                <a:gd name="T15" fmla="*/ 1657 h 1657"/>
                <a:gd name="T16" fmla="*/ 775 w 1560"/>
                <a:gd name="T17" fmla="*/ 1650 h 1657"/>
                <a:gd name="T18" fmla="*/ 751 w 1560"/>
                <a:gd name="T19" fmla="*/ 1564 h 1657"/>
                <a:gd name="T20" fmla="*/ 696 w 1560"/>
                <a:gd name="T21" fmla="*/ 1510 h 1657"/>
                <a:gd name="T22" fmla="*/ 681 w 1560"/>
                <a:gd name="T23" fmla="*/ 1444 h 1657"/>
                <a:gd name="T24" fmla="*/ 628 w 1560"/>
                <a:gd name="T25" fmla="*/ 1422 h 1657"/>
                <a:gd name="T26" fmla="*/ 537 w 1560"/>
                <a:gd name="T27" fmla="*/ 1425 h 1657"/>
                <a:gd name="T28" fmla="*/ 521 w 1560"/>
                <a:gd name="T29" fmla="*/ 1453 h 1657"/>
                <a:gd name="T30" fmla="*/ 470 w 1560"/>
                <a:gd name="T31" fmla="*/ 1437 h 1657"/>
                <a:gd name="T32" fmla="*/ 424 w 1560"/>
                <a:gd name="T33" fmla="*/ 1399 h 1657"/>
                <a:gd name="T34" fmla="*/ 399 w 1560"/>
                <a:gd name="T35" fmla="*/ 1432 h 1657"/>
                <a:gd name="T36" fmla="*/ 451 w 1560"/>
                <a:gd name="T37" fmla="*/ 1533 h 1657"/>
                <a:gd name="T38" fmla="*/ 367 w 1560"/>
                <a:gd name="T39" fmla="*/ 1641 h 1657"/>
                <a:gd name="T40" fmla="*/ 307 w 1560"/>
                <a:gd name="T41" fmla="*/ 1637 h 1657"/>
                <a:gd name="T42" fmla="*/ 279 w 1560"/>
                <a:gd name="T43" fmla="*/ 1563 h 1657"/>
                <a:gd name="T44" fmla="*/ 249 w 1560"/>
                <a:gd name="T45" fmla="*/ 1524 h 1657"/>
                <a:gd name="T46" fmla="*/ 204 w 1560"/>
                <a:gd name="T47" fmla="*/ 1489 h 1657"/>
                <a:gd name="T48" fmla="*/ 0 w 1560"/>
                <a:gd name="T49" fmla="*/ 1234 h 1657"/>
                <a:gd name="T50" fmla="*/ 91 w 1560"/>
                <a:gd name="T51" fmla="*/ 1093 h 1657"/>
                <a:gd name="T52" fmla="*/ 217 w 1560"/>
                <a:gd name="T53" fmla="*/ 961 h 1657"/>
                <a:gd name="T54" fmla="*/ 399 w 1560"/>
                <a:gd name="T55" fmla="*/ 829 h 1657"/>
                <a:gd name="T56" fmla="*/ 455 w 1560"/>
                <a:gd name="T57" fmla="*/ 647 h 1657"/>
                <a:gd name="T58" fmla="*/ 458 w 1560"/>
                <a:gd name="T59" fmla="*/ 522 h 1657"/>
                <a:gd name="T60" fmla="*/ 479 w 1560"/>
                <a:gd name="T61" fmla="*/ 480 h 1657"/>
                <a:gd name="T62" fmla="*/ 481 w 1560"/>
                <a:gd name="T63" fmla="*/ 479 h 1657"/>
                <a:gd name="T64" fmla="*/ 510 w 1560"/>
                <a:gd name="T65" fmla="*/ 432 h 1657"/>
                <a:gd name="T66" fmla="*/ 541 w 1560"/>
                <a:gd name="T67" fmla="*/ 398 h 1657"/>
                <a:gd name="T68" fmla="*/ 502 w 1560"/>
                <a:gd name="T69" fmla="*/ 319 h 1657"/>
                <a:gd name="T70" fmla="*/ 541 w 1560"/>
                <a:gd name="T71" fmla="*/ 397 h 1657"/>
                <a:gd name="T72" fmla="*/ 852 w 1560"/>
                <a:gd name="T73" fmla="*/ 158 h 1657"/>
                <a:gd name="T74" fmla="*/ 894 w 1560"/>
                <a:gd name="T75" fmla="*/ 137 h 1657"/>
                <a:gd name="T76" fmla="*/ 1049 w 1560"/>
                <a:gd name="T77" fmla="*/ 50 h 1657"/>
                <a:gd name="T78" fmla="*/ 1218 w 1560"/>
                <a:gd name="T79" fmla="*/ 0 h 1657"/>
                <a:gd name="T80" fmla="*/ 1357 w 1560"/>
                <a:gd name="T81" fmla="*/ 234 h 1657"/>
                <a:gd name="T82" fmla="*/ 1357 w 1560"/>
                <a:gd name="T83" fmla="*/ 234 h 165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</a:cxnLst>
              <a:rect l="0" t="0" r="r" b="b"/>
              <a:pathLst>
                <a:path w="1560" h="1657">
                  <a:moveTo>
                    <a:pt x="1357" y="234"/>
                  </a:moveTo>
                  <a:cubicBezTo>
                    <a:pt x="1318" y="271"/>
                    <a:pt x="1318" y="271"/>
                    <a:pt x="1318" y="271"/>
                  </a:cubicBezTo>
                  <a:cubicBezTo>
                    <a:pt x="1282" y="304"/>
                    <a:pt x="1264" y="360"/>
                    <a:pt x="1255" y="409"/>
                  </a:cubicBezTo>
                  <a:cubicBezTo>
                    <a:pt x="1247" y="454"/>
                    <a:pt x="1249" y="503"/>
                    <a:pt x="1261" y="547"/>
                  </a:cubicBezTo>
                  <a:cubicBezTo>
                    <a:pt x="1304" y="695"/>
                    <a:pt x="1424" y="744"/>
                    <a:pt x="1560" y="764"/>
                  </a:cubicBezTo>
                  <a:cubicBezTo>
                    <a:pt x="1174" y="1269"/>
                    <a:pt x="1174" y="1269"/>
                    <a:pt x="1174" y="1269"/>
                  </a:cubicBezTo>
                  <a:cubicBezTo>
                    <a:pt x="1073" y="1372"/>
                    <a:pt x="1073" y="1372"/>
                    <a:pt x="1073" y="1372"/>
                  </a:cubicBezTo>
                  <a:cubicBezTo>
                    <a:pt x="783" y="1657"/>
                    <a:pt x="783" y="1657"/>
                    <a:pt x="783" y="1657"/>
                  </a:cubicBezTo>
                  <a:cubicBezTo>
                    <a:pt x="775" y="1650"/>
                    <a:pt x="775" y="1650"/>
                    <a:pt x="775" y="1650"/>
                  </a:cubicBezTo>
                  <a:cubicBezTo>
                    <a:pt x="751" y="1564"/>
                    <a:pt x="751" y="1564"/>
                    <a:pt x="751" y="1564"/>
                  </a:cubicBezTo>
                  <a:cubicBezTo>
                    <a:pt x="696" y="1510"/>
                    <a:pt x="696" y="1510"/>
                    <a:pt x="696" y="1510"/>
                  </a:cubicBezTo>
                  <a:cubicBezTo>
                    <a:pt x="681" y="1444"/>
                    <a:pt x="681" y="1444"/>
                    <a:pt x="681" y="1444"/>
                  </a:cubicBezTo>
                  <a:cubicBezTo>
                    <a:pt x="628" y="1422"/>
                    <a:pt x="628" y="1422"/>
                    <a:pt x="628" y="1422"/>
                  </a:cubicBezTo>
                  <a:cubicBezTo>
                    <a:pt x="537" y="1425"/>
                    <a:pt x="537" y="1425"/>
                    <a:pt x="537" y="1425"/>
                  </a:cubicBezTo>
                  <a:cubicBezTo>
                    <a:pt x="521" y="1453"/>
                    <a:pt x="521" y="1453"/>
                    <a:pt x="521" y="1453"/>
                  </a:cubicBezTo>
                  <a:cubicBezTo>
                    <a:pt x="470" y="1437"/>
                    <a:pt x="470" y="1437"/>
                    <a:pt x="470" y="1437"/>
                  </a:cubicBezTo>
                  <a:cubicBezTo>
                    <a:pt x="424" y="1399"/>
                    <a:pt x="424" y="1399"/>
                    <a:pt x="424" y="1399"/>
                  </a:cubicBezTo>
                  <a:cubicBezTo>
                    <a:pt x="399" y="1432"/>
                    <a:pt x="399" y="1432"/>
                    <a:pt x="399" y="1432"/>
                  </a:cubicBezTo>
                  <a:cubicBezTo>
                    <a:pt x="451" y="1533"/>
                    <a:pt x="451" y="1533"/>
                    <a:pt x="451" y="1533"/>
                  </a:cubicBezTo>
                  <a:cubicBezTo>
                    <a:pt x="367" y="1641"/>
                    <a:pt x="367" y="1641"/>
                    <a:pt x="367" y="1641"/>
                  </a:cubicBezTo>
                  <a:cubicBezTo>
                    <a:pt x="307" y="1637"/>
                    <a:pt x="307" y="1637"/>
                    <a:pt x="307" y="1637"/>
                  </a:cubicBezTo>
                  <a:cubicBezTo>
                    <a:pt x="279" y="1563"/>
                    <a:pt x="279" y="1563"/>
                    <a:pt x="279" y="1563"/>
                  </a:cubicBezTo>
                  <a:cubicBezTo>
                    <a:pt x="249" y="1524"/>
                    <a:pt x="249" y="1524"/>
                    <a:pt x="249" y="1524"/>
                  </a:cubicBezTo>
                  <a:cubicBezTo>
                    <a:pt x="204" y="1489"/>
                    <a:pt x="204" y="1489"/>
                    <a:pt x="204" y="1489"/>
                  </a:cubicBezTo>
                  <a:cubicBezTo>
                    <a:pt x="0" y="1234"/>
                    <a:pt x="0" y="1234"/>
                    <a:pt x="0" y="1234"/>
                  </a:cubicBezTo>
                  <a:cubicBezTo>
                    <a:pt x="91" y="1093"/>
                    <a:pt x="91" y="1093"/>
                    <a:pt x="91" y="1093"/>
                  </a:cubicBezTo>
                  <a:cubicBezTo>
                    <a:pt x="217" y="961"/>
                    <a:pt x="217" y="961"/>
                    <a:pt x="217" y="961"/>
                  </a:cubicBezTo>
                  <a:cubicBezTo>
                    <a:pt x="399" y="829"/>
                    <a:pt x="399" y="829"/>
                    <a:pt x="399" y="829"/>
                  </a:cubicBezTo>
                  <a:cubicBezTo>
                    <a:pt x="455" y="647"/>
                    <a:pt x="455" y="647"/>
                    <a:pt x="455" y="647"/>
                  </a:cubicBezTo>
                  <a:cubicBezTo>
                    <a:pt x="458" y="522"/>
                    <a:pt x="458" y="522"/>
                    <a:pt x="458" y="522"/>
                  </a:cubicBezTo>
                  <a:cubicBezTo>
                    <a:pt x="479" y="480"/>
                    <a:pt x="479" y="480"/>
                    <a:pt x="479" y="480"/>
                  </a:cubicBezTo>
                  <a:cubicBezTo>
                    <a:pt x="481" y="479"/>
                    <a:pt x="481" y="479"/>
                    <a:pt x="481" y="479"/>
                  </a:cubicBezTo>
                  <a:cubicBezTo>
                    <a:pt x="510" y="432"/>
                    <a:pt x="510" y="432"/>
                    <a:pt x="510" y="432"/>
                  </a:cubicBezTo>
                  <a:cubicBezTo>
                    <a:pt x="541" y="398"/>
                    <a:pt x="541" y="398"/>
                    <a:pt x="541" y="398"/>
                  </a:cubicBezTo>
                  <a:cubicBezTo>
                    <a:pt x="502" y="319"/>
                    <a:pt x="502" y="319"/>
                    <a:pt x="502" y="319"/>
                  </a:cubicBezTo>
                  <a:cubicBezTo>
                    <a:pt x="541" y="397"/>
                    <a:pt x="541" y="397"/>
                    <a:pt x="541" y="397"/>
                  </a:cubicBezTo>
                  <a:cubicBezTo>
                    <a:pt x="852" y="158"/>
                    <a:pt x="852" y="158"/>
                    <a:pt x="852" y="158"/>
                  </a:cubicBezTo>
                  <a:cubicBezTo>
                    <a:pt x="894" y="137"/>
                    <a:pt x="894" y="137"/>
                    <a:pt x="894" y="137"/>
                  </a:cubicBezTo>
                  <a:cubicBezTo>
                    <a:pt x="1049" y="50"/>
                    <a:pt x="1049" y="50"/>
                    <a:pt x="1049" y="50"/>
                  </a:cubicBezTo>
                  <a:cubicBezTo>
                    <a:pt x="1218" y="0"/>
                    <a:pt x="1218" y="0"/>
                    <a:pt x="1218" y="0"/>
                  </a:cubicBezTo>
                  <a:cubicBezTo>
                    <a:pt x="1357" y="234"/>
                    <a:pt x="1357" y="234"/>
                    <a:pt x="1357" y="234"/>
                  </a:cubicBezTo>
                  <a:cubicBezTo>
                    <a:pt x="1357" y="234"/>
                    <a:pt x="1357" y="234"/>
                    <a:pt x="1357" y="23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4" name="Freeform 134"/>
            <p:cNvSpPr>
              <a:spLocks/>
            </p:cNvSpPr>
            <p:nvPr/>
          </p:nvSpPr>
          <p:spPr bwMode="auto">
            <a:xfrm>
              <a:off x="2656849" y="2970602"/>
              <a:ext cx="350675" cy="439294"/>
            </a:xfrm>
            <a:custGeom>
              <a:avLst/>
              <a:gdLst>
                <a:gd name="T0" fmla="*/ 736 w 955"/>
                <a:gd name="T1" fmla="*/ 977 h 1345"/>
                <a:gd name="T2" fmla="*/ 807 w 955"/>
                <a:gd name="T3" fmla="*/ 968 h 1345"/>
                <a:gd name="T4" fmla="*/ 820 w 955"/>
                <a:gd name="T5" fmla="*/ 950 h 1345"/>
                <a:gd name="T6" fmla="*/ 857 w 955"/>
                <a:gd name="T7" fmla="*/ 959 h 1345"/>
                <a:gd name="T8" fmla="*/ 859 w 955"/>
                <a:gd name="T9" fmla="*/ 977 h 1345"/>
                <a:gd name="T10" fmla="*/ 955 w 955"/>
                <a:gd name="T11" fmla="*/ 1116 h 1345"/>
                <a:gd name="T12" fmla="*/ 917 w 955"/>
                <a:gd name="T13" fmla="*/ 1285 h 1345"/>
                <a:gd name="T14" fmla="*/ 585 w 955"/>
                <a:gd name="T15" fmla="*/ 1345 h 1345"/>
                <a:gd name="T16" fmla="*/ 557 w 955"/>
                <a:gd name="T17" fmla="*/ 1290 h 1345"/>
                <a:gd name="T18" fmla="*/ 533 w 955"/>
                <a:gd name="T19" fmla="*/ 1267 h 1345"/>
                <a:gd name="T20" fmla="*/ 561 w 955"/>
                <a:gd name="T21" fmla="*/ 1173 h 1345"/>
                <a:gd name="T22" fmla="*/ 571 w 955"/>
                <a:gd name="T23" fmla="*/ 1153 h 1345"/>
                <a:gd name="T24" fmla="*/ 571 w 955"/>
                <a:gd name="T25" fmla="*/ 1154 h 1345"/>
                <a:gd name="T26" fmla="*/ 594 w 955"/>
                <a:gd name="T27" fmla="*/ 1107 h 1345"/>
                <a:gd name="T28" fmla="*/ 481 w 955"/>
                <a:gd name="T29" fmla="*/ 1038 h 1345"/>
                <a:gd name="T30" fmla="*/ 527 w 955"/>
                <a:gd name="T31" fmla="*/ 978 h 1345"/>
                <a:gd name="T32" fmla="*/ 465 w 955"/>
                <a:gd name="T33" fmla="*/ 882 h 1345"/>
                <a:gd name="T34" fmla="*/ 412 w 955"/>
                <a:gd name="T35" fmla="*/ 839 h 1345"/>
                <a:gd name="T36" fmla="*/ 365 w 955"/>
                <a:gd name="T37" fmla="*/ 832 h 1345"/>
                <a:gd name="T38" fmla="*/ 313 w 955"/>
                <a:gd name="T39" fmla="*/ 771 h 1345"/>
                <a:gd name="T40" fmla="*/ 342 w 955"/>
                <a:gd name="T41" fmla="*/ 735 h 1345"/>
                <a:gd name="T42" fmla="*/ 309 w 955"/>
                <a:gd name="T43" fmla="*/ 723 h 1345"/>
                <a:gd name="T44" fmla="*/ 95 w 955"/>
                <a:gd name="T45" fmla="*/ 511 h 1345"/>
                <a:gd name="T46" fmla="*/ 28 w 955"/>
                <a:gd name="T47" fmla="*/ 553 h 1345"/>
                <a:gd name="T48" fmla="*/ 0 w 955"/>
                <a:gd name="T49" fmla="*/ 495 h 1345"/>
                <a:gd name="T50" fmla="*/ 85 w 955"/>
                <a:gd name="T51" fmla="*/ 428 h 1345"/>
                <a:gd name="T52" fmla="*/ 132 w 955"/>
                <a:gd name="T53" fmla="*/ 346 h 1345"/>
                <a:gd name="T54" fmla="*/ 190 w 955"/>
                <a:gd name="T55" fmla="*/ 0 h 1345"/>
                <a:gd name="T56" fmla="*/ 370 w 955"/>
                <a:gd name="T57" fmla="*/ 0 h 1345"/>
                <a:gd name="T58" fmla="*/ 412 w 955"/>
                <a:gd name="T59" fmla="*/ 210 h 1345"/>
                <a:gd name="T60" fmla="*/ 448 w 955"/>
                <a:gd name="T61" fmla="*/ 203 h 1345"/>
                <a:gd name="T62" fmla="*/ 590 w 955"/>
                <a:gd name="T63" fmla="*/ 281 h 1345"/>
                <a:gd name="T64" fmla="*/ 667 w 955"/>
                <a:gd name="T65" fmla="*/ 357 h 1345"/>
                <a:gd name="T66" fmla="*/ 695 w 955"/>
                <a:gd name="T67" fmla="*/ 549 h 1345"/>
                <a:gd name="T68" fmla="*/ 736 w 955"/>
                <a:gd name="T69" fmla="*/ 552 h 1345"/>
                <a:gd name="T70" fmla="*/ 743 w 955"/>
                <a:gd name="T71" fmla="*/ 745 h 1345"/>
                <a:gd name="T72" fmla="*/ 715 w 955"/>
                <a:gd name="T73" fmla="*/ 812 h 1345"/>
                <a:gd name="T74" fmla="*/ 718 w 955"/>
                <a:gd name="T75" fmla="*/ 913 h 1345"/>
                <a:gd name="T76" fmla="*/ 737 w 955"/>
                <a:gd name="T77" fmla="*/ 980 h 1345"/>
                <a:gd name="T78" fmla="*/ 736 w 955"/>
                <a:gd name="T79" fmla="*/ 977 h 1345"/>
                <a:gd name="T80" fmla="*/ 736 w 955"/>
                <a:gd name="T81" fmla="*/ 977 h 13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955" h="1345">
                  <a:moveTo>
                    <a:pt x="736" y="977"/>
                  </a:moveTo>
                  <a:cubicBezTo>
                    <a:pt x="807" y="968"/>
                    <a:pt x="807" y="968"/>
                    <a:pt x="807" y="968"/>
                  </a:cubicBezTo>
                  <a:cubicBezTo>
                    <a:pt x="820" y="950"/>
                    <a:pt x="820" y="950"/>
                    <a:pt x="820" y="950"/>
                  </a:cubicBezTo>
                  <a:cubicBezTo>
                    <a:pt x="857" y="959"/>
                    <a:pt x="857" y="959"/>
                    <a:pt x="857" y="959"/>
                  </a:cubicBezTo>
                  <a:cubicBezTo>
                    <a:pt x="859" y="977"/>
                    <a:pt x="859" y="977"/>
                    <a:pt x="859" y="977"/>
                  </a:cubicBezTo>
                  <a:cubicBezTo>
                    <a:pt x="955" y="1116"/>
                    <a:pt x="955" y="1116"/>
                    <a:pt x="955" y="1116"/>
                  </a:cubicBezTo>
                  <a:cubicBezTo>
                    <a:pt x="917" y="1285"/>
                    <a:pt x="917" y="1285"/>
                    <a:pt x="917" y="1285"/>
                  </a:cubicBezTo>
                  <a:cubicBezTo>
                    <a:pt x="801" y="1263"/>
                    <a:pt x="694" y="1291"/>
                    <a:pt x="585" y="1345"/>
                  </a:cubicBezTo>
                  <a:cubicBezTo>
                    <a:pt x="557" y="1290"/>
                    <a:pt x="557" y="1290"/>
                    <a:pt x="557" y="1290"/>
                  </a:cubicBezTo>
                  <a:cubicBezTo>
                    <a:pt x="533" y="1267"/>
                    <a:pt x="533" y="1267"/>
                    <a:pt x="533" y="1267"/>
                  </a:cubicBezTo>
                  <a:cubicBezTo>
                    <a:pt x="561" y="1173"/>
                    <a:pt x="561" y="1173"/>
                    <a:pt x="561" y="1173"/>
                  </a:cubicBezTo>
                  <a:cubicBezTo>
                    <a:pt x="571" y="1153"/>
                    <a:pt x="571" y="1153"/>
                    <a:pt x="571" y="1153"/>
                  </a:cubicBezTo>
                  <a:cubicBezTo>
                    <a:pt x="571" y="1154"/>
                    <a:pt x="571" y="1154"/>
                    <a:pt x="571" y="1154"/>
                  </a:cubicBezTo>
                  <a:cubicBezTo>
                    <a:pt x="594" y="1107"/>
                    <a:pt x="594" y="1107"/>
                    <a:pt x="594" y="1107"/>
                  </a:cubicBezTo>
                  <a:cubicBezTo>
                    <a:pt x="481" y="1038"/>
                    <a:pt x="481" y="1038"/>
                    <a:pt x="481" y="1038"/>
                  </a:cubicBezTo>
                  <a:cubicBezTo>
                    <a:pt x="527" y="978"/>
                    <a:pt x="527" y="978"/>
                    <a:pt x="527" y="978"/>
                  </a:cubicBezTo>
                  <a:cubicBezTo>
                    <a:pt x="465" y="882"/>
                    <a:pt x="465" y="882"/>
                    <a:pt x="465" y="882"/>
                  </a:cubicBezTo>
                  <a:cubicBezTo>
                    <a:pt x="412" y="839"/>
                    <a:pt x="412" y="839"/>
                    <a:pt x="412" y="839"/>
                  </a:cubicBezTo>
                  <a:cubicBezTo>
                    <a:pt x="365" y="832"/>
                    <a:pt x="365" y="832"/>
                    <a:pt x="365" y="832"/>
                  </a:cubicBezTo>
                  <a:cubicBezTo>
                    <a:pt x="313" y="771"/>
                    <a:pt x="313" y="771"/>
                    <a:pt x="313" y="771"/>
                  </a:cubicBezTo>
                  <a:cubicBezTo>
                    <a:pt x="342" y="735"/>
                    <a:pt x="342" y="735"/>
                    <a:pt x="342" y="735"/>
                  </a:cubicBezTo>
                  <a:cubicBezTo>
                    <a:pt x="309" y="723"/>
                    <a:pt x="309" y="723"/>
                    <a:pt x="309" y="723"/>
                  </a:cubicBezTo>
                  <a:cubicBezTo>
                    <a:pt x="95" y="511"/>
                    <a:pt x="95" y="511"/>
                    <a:pt x="95" y="511"/>
                  </a:cubicBezTo>
                  <a:cubicBezTo>
                    <a:pt x="28" y="553"/>
                    <a:pt x="28" y="553"/>
                    <a:pt x="28" y="553"/>
                  </a:cubicBezTo>
                  <a:cubicBezTo>
                    <a:pt x="0" y="495"/>
                    <a:pt x="0" y="495"/>
                    <a:pt x="0" y="495"/>
                  </a:cubicBezTo>
                  <a:cubicBezTo>
                    <a:pt x="85" y="428"/>
                    <a:pt x="85" y="428"/>
                    <a:pt x="85" y="428"/>
                  </a:cubicBezTo>
                  <a:cubicBezTo>
                    <a:pt x="132" y="346"/>
                    <a:pt x="132" y="346"/>
                    <a:pt x="132" y="346"/>
                  </a:cubicBezTo>
                  <a:cubicBezTo>
                    <a:pt x="190" y="0"/>
                    <a:pt x="190" y="0"/>
                    <a:pt x="190" y="0"/>
                  </a:cubicBezTo>
                  <a:cubicBezTo>
                    <a:pt x="370" y="0"/>
                    <a:pt x="370" y="0"/>
                    <a:pt x="370" y="0"/>
                  </a:cubicBezTo>
                  <a:cubicBezTo>
                    <a:pt x="412" y="210"/>
                    <a:pt x="412" y="210"/>
                    <a:pt x="412" y="210"/>
                  </a:cubicBezTo>
                  <a:cubicBezTo>
                    <a:pt x="448" y="203"/>
                    <a:pt x="448" y="203"/>
                    <a:pt x="448" y="203"/>
                  </a:cubicBezTo>
                  <a:cubicBezTo>
                    <a:pt x="590" y="281"/>
                    <a:pt x="590" y="281"/>
                    <a:pt x="590" y="281"/>
                  </a:cubicBezTo>
                  <a:cubicBezTo>
                    <a:pt x="667" y="357"/>
                    <a:pt x="667" y="357"/>
                    <a:pt x="667" y="357"/>
                  </a:cubicBezTo>
                  <a:cubicBezTo>
                    <a:pt x="695" y="549"/>
                    <a:pt x="695" y="549"/>
                    <a:pt x="695" y="549"/>
                  </a:cubicBezTo>
                  <a:cubicBezTo>
                    <a:pt x="736" y="552"/>
                    <a:pt x="736" y="552"/>
                    <a:pt x="736" y="552"/>
                  </a:cubicBezTo>
                  <a:cubicBezTo>
                    <a:pt x="743" y="745"/>
                    <a:pt x="743" y="745"/>
                    <a:pt x="743" y="745"/>
                  </a:cubicBezTo>
                  <a:cubicBezTo>
                    <a:pt x="715" y="812"/>
                    <a:pt x="715" y="812"/>
                    <a:pt x="715" y="812"/>
                  </a:cubicBezTo>
                  <a:cubicBezTo>
                    <a:pt x="718" y="913"/>
                    <a:pt x="718" y="913"/>
                    <a:pt x="718" y="913"/>
                  </a:cubicBezTo>
                  <a:cubicBezTo>
                    <a:pt x="737" y="980"/>
                    <a:pt x="737" y="980"/>
                    <a:pt x="737" y="980"/>
                  </a:cubicBezTo>
                  <a:cubicBezTo>
                    <a:pt x="736" y="977"/>
                    <a:pt x="736" y="977"/>
                    <a:pt x="736" y="977"/>
                  </a:cubicBezTo>
                  <a:cubicBezTo>
                    <a:pt x="736" y="977"/>
                    <a:pt x="736" y="977"/>
                    <a:pt x="736" y="977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5" name="Freeform 135"/>
            <p:cNvSpPr>
              <a:spLocks/>
            </p:cNvSpPr>
            <p:nvPr/>
          </p:nvSpPr>
          <p:spPr bwMode="auto">
            <a:xfrm>
              <a:off x="2871210" y="2917769"/>
              <a:ext cx="205569" cy="375699"/>
            </a:xfrm>
            <a:custGeom>
              <a:avLst/>
              <a:gdLst>
                <a:gd name="T0" fmla="*/ 273 w 561"/>
                <a:gd name="T1" fmla="*/ 1038 h 1152"/>
                <a:gd name="T2" fmla="*/ 299 w 561"/>
                <a:gd name="T3" fmla="*/ 1058 h 1152"/>
                <a:gd name="T4" fmla="*/ 301 w 561"/>
                <a:gd name="T5" fmla="*/ 1100 h 1152"/>
                <a:gd name="T6" fmla="*/ 265 w 561"/>
                <a:gd name="T7" fmla="*/ 1121 h 1152"/>
                <a:gd name="T8" fmla="*/ 225 w 561"/>
                <a:gd name="T9" fmla="*/ 1129 h 1152"/>
                <a:gd name="T10" fmla="*/ 179 w 561"/>
                <a:gd name="T11" fmla="*/ 1138 h 1152"/>
                <a:gd name="T12" fmla="*/ 148 w 561"/>
                <a:gd name="T13" fmla="*/ 1129 h 1152"/>
                <a:gd name="T14" fmla="*/ 131 w 561"/>
                <a:gd name="T15" fmla="*/ 1047 h 1152"/>
                <a:gd name="T16" fmla="*/ 131 w 561"/>
                <a:gd name="T17" fmla="*/ 966 h 1152"/>
                <a:gd name="T18" fmla="*/ 155 w 561"/>
                <a:gd name="T19" fmla="*/ 905 h 1152"/>
                <a:gd name="T20" fmla="*/ 148 w 561"/>
                <a:gd name="T21" fmla="*/ 718 h 1152"/>
                <a:gd name="T22" fmla="*/ 107 w 561"/>
                <a:gd name="T23" fmla="*/ 710 h 1152"/>
                <a:gd name="T24" fmla="*/ 82 w 561"/>
                <a:gd name="T25" fmla="*/ 523 h 1152"/>
                <a:gd name="T26" fmla="*/ 0 w 561"/>
                <a:gd name="T27" fmla="*/ 448 h 1152"/>
                <a:gd name="T28" fmla="*/ 32 w 561"/>
                <a:gd name="T29" fmla="*/ 425 h 1152"/>
                <a:gd name="T30" fmla="*/ 58 w 561"/>
                <a:gd name="T31" fmla="*/ 393 h 1152"/>
                <a:gd name="T32" fmla="*/ 76 w 561"/>
                <a:gd name="T33" fmla="*/ 313 h 1152"/>
                <a:gd name="T34" fmla="*/ 69 w 561"/>
                <a:gd name="T35" fmla="*/ 141 h 1152"/>
                <a:gd name="T36" fmla="*/ 377 w 561"/>
                <a:gd name="T37" fmla="*/ 176 h 1152"/>
                <a:gd name="T38" fmla="*/ 377 w 561"/>
                <a:gd name="T39" fmla="*/ 0 h 1152"/>
                <a:gd name="T40" fmla="*/ 446 w 561"/>
                <a:gd name="T41" fmla="*/ 60 h 1152"/>
                <a:gd name="T42" fmla="*/ 547 w 561"/>
                <a:gd name="T43" fmla="*/ 121 h 1152"/>
                <a:gd name="T44" fmla="*/ 517 w 561"/>
                <a:gd name="T45" fmla="*/ 141 h 1152"/>
                <a:gd name="T46" fmla="*/ 465 w 561"/>
                <a:gd name="T47" fmla="*/ 157 h 1152"/>
                <a:gd name="T48" fmla="*/ 502 w 561"/>
                <a:gd name="T49" fmla="*/ 278 h 1152"/>
                <a:gd name="T50" fmla="*/ 494 w 561"/>
                <a:gd name="T51" fmla="*/ 308 h 1152"/>
                <a:gd name="T52" fmla="*/ 546 w 561"/>
                <a:gd name="T53" fmla="*/ 530 h 1152"/>
                <a:gd name="T54" fmla="*/ 488 w 561"/>
                <a:gd name="T55" fmla="*/ 537 h 1152"/>
                <a:gd name="T56" fmla="*/ 418 w 561"/>
                <a:gd name="T57" fmla="*/ 761 h 1152"/>
                <a:gd name="T58" fmla="*/ 335 w 561"/>
                <a:gd name="T59" fmla="*/ 744 h 1152"/>
                <a:gd name="T60" fmla="*/ 322 w 561"/>
                <a:gd name="T61" fmla="*/ 931 h 1152"/>
                <a:gd name="T62" fmla="*/ 273 w 561"/>
                <a:gd name="T63" fmla="*/ 1038 h 11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</a:cxnLst>
              <a:rect l="0" t="0" r="r" b="b"/>
              <a:pathLst>
                <a:path w="561" h="1152">
                  <a:moveTo>
                    <a:pt x="273" y="1038"/>
                  </a:moveTo>
                  <a:cubicBezTo>
                    <a:pt x="286" y="1042"/>
                    <a:pt x="314" y="1037"/>
                    <a:pt x="299" y="1058"/>
                  </a:cubicBezTo>
                  <a:cubicBezTo>
                    <a:pt x="296" y="1073"/>
                    <a:pt x="280" y="1092"/>
                    <a:pt x="301" y="1100"/>
                  </a:cubicBezTo>
                  <a:cubicBezTo>
                    <a:pt x="295" y="1106"/>
                    <a:pt x="278" y="1126"/>
                    <a:pt x="265" y="1121"/>
                  </a:cubicBezTo>
                  <a:cubicBezTo>
                    <a:pt x="249" y="1117"/>
                    <a:pt x="232" y="1108"/>
                    <a:pt x="225" y="1129"/>
                  </a:cubicBezTo>
                  <a:cubicBezTo>
                    <a:pt x="213" y="1137"/>
                    <a:pt x="194" y="1134"/>
                    <a:pt x="179" y="1138"/>
                  </a:cubicBezTo>
                  <a:cubicBezTo>
                    <a:pt x="161" y="1136"/>
                    <a:pt x="148" y="1152"/>
                    <a:pt x="148" y="1129"/>
                  </a:cubicBezTo>
                  <a:cubicBezTo>
                    <a:pt x="140" y="1102"/>
                    <a:pt x="128" y="1076"/>
                    <a:pt x="131" y="1047"/>
                  </a:cubicBezTo>
                  <a:cubicBezTo>
                    <a:pt x="132" y="1020"/>
                    <a:pt x="127" y="992"/>
                    <a:pt x="131" y="966"/>
                  </a:cubicBezTo>
                  <a:cubicBezTo>
                    <a:pt x="139" y="945"/>
                    <a:pt x="152" y="926"/>
                    <a:pt x="155" y="905"/>
                  </a:cubicBezTo>
                  <a:cubicBezTo>
                    <a:pt x="153" y="842"/>
                    <a:pt x="150" y="780"/>
                    <a:pt x="148" y="718"/>
                  </a:cubicBezTo>
                  <a:cubicBezTo>
                    <a:pt x="136" y="714"/>
                    <a:pt x="108" y="727"/>
                    <a:pt x="107" y="710"/>
                  </a:cubicBezTo>
                  <a:cubicBezTo>
                    <a:pt x="99" y="648"/>
                    <a:pt x="90" y="585"/>
                    <a:pt x="82" y="523"/>
                  </a:cubicBezTo>
                  <a:cubicBezTo>
                    <a:pt x="55" y="498"/>
                    <a:pt x="25" y="474"/>
                    <a:pt x="0" y="448"/>
                  </a:cubicBezTo>
                  <a:cubicBezTo>
                    <a:pt x="8" y="443"/>
                    <a:pt x="11" y="419"/>
                    <a:pt x="32" y="425"/>
                  </a:cubicBezTo>
                  <a:cubicBezTo>
                    <a:pt x="53" y="429"/>
                    <a:pt x="52" y="407"/>
                    <a:pt x="58" y="393"/>
                  </a:cubicBezTo>
                  <a:cubicBezTo>
                    <a:pt x="66" y="367"/>
                    <a:pt x="81" y="341"/>
                    <a:pt x="76" y="313"/>
                  </a:cubicBezTo>
                  <a:cubicBezTo>
                    <a:pt x="73" y="255"/>
                    <a:pt x="71" y="198"/>
                    <a:pt x="69" y="141"/>
                  </a:cubicBezTo>
                  <a:cubicBezTo>
                    <a:pt x="172" y="153"/>
                    <a:pt x="274" y="164"/>
                    <a:pt x="377" y="176"/>
                  </a:cubicBezTo>
                  <a:cubicBezTo>
                    <a:pt x="377" y="117"/>
                    <a:pt x="377" y="58"/>
                    <a:pt x="377" y="0"/>
                  </a:cubicBezTo>
                  <a:cubicBezTo>
                    <a:pt x="398" y="21"/>
                    <a:pt x="417" y="47"/>
                    <a:pt x="446" y="60"/>
                  </a:cubicBezTo>
                  <a:cubicBezTo>
                    <a:pt x="479" y="80"/>
                    <a:pt x="516" y="99"/>
                    <a:pt x="547" y="121"/>
                  </a:cubicBezTo>
                  <a:cubicBezTo>
                    <a:pt x="561" y="138"/>
                    <a:pt x="527" y="134"/>
                    <a:pt x="517" y="141"/>
                  </a:cubicBezTo>
                  <a:cubicBezTo>
                    <a:pt x="500" y="146"/>
                    <a:pt x="482" y="152"/>
                    <a:pt x="465" y="157"/>
                  </a:cubicBezTo>
                  <a:cubicBezTo>
                    <a:pt x="477" y="197"/>
                    <a:pt x="490" y="238"/>
                    <a:pt x="502" y="278"/>
                  </a:cubicBezTo>
                  <a:cubicBezTo>
                    <a:pt x="477" y="269"/>
                    <a:pt x="492" y="294"/>
                    <a:pt x="494" y="308"/>
                  </a:cubicBezTo>
                  <a:cubicBezTo>
                    <a:pt x="511" y="382"/>
                    <a:pt x="528" y="456"/>
                    <a:pt x="546" y="530"/>
                  </a:cubicBezTo>
                  <a:cubicBezTo>
                    <a:pt x="526" y="532"/>
                    <a:pt x="507" y="535"/>
                    <a:pt x="488" y="537"/>
                  </a:cubicBezTo>
                  <a:cubicBezTo>
                    <a:pt x="465" y="612"/>
                    <a:pt x="441" y="686"/>
                    <a:pt x="418" y="761"/>
                  </a:cubicBezTo>
                  <a:cubicBezTo>
                    <a:pt x="390" y="756"/>
                    <a:pt x="363" y="750"/>
                    <a:pt x="335" y="744"/>
                  </a:cubicBezTo>
                  <a:cubicBezTo>
                    <a:pt x="331" y="806"/>
                    <a:pt x="329" y="869"/>
                    <a:pt x="322" y="931"/>
                  </a:cubicBezTo>
                  <a:cubicBezTo>
                    <a:pt x="306" y="967"/>
                    <a:pt x="289" y="1002"/>
                    <a:pt x="273" y="1038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6" name="Freeform 136"/>
            <p:cNvSpPr>
              <a:spLocks/>
            </p:cNvSpPr>
            <p:nvPr/>
          </p:nvSpPr>
          <p:spPr bwMode="auto">
            <a:xfrm>
              <a:off x="2993232" y="3333582"/>
              <a:ext cx="411137" cy="273947"/>
            </a:xfrm>
            <a:custGeom>
              <a:avLst/>
              <a:gdLst>
                <a:gd name="T0" fmla="*/ 0 w 1121"/>
                <a:gd name="T1" fmla="*/ 172 h 840"/>
                <a:gd name="T2" fmla="*/ 239 w 1121"/>
                <a:gd name="T3" fmla="*/ 475 h 840"/>
                <a:gd name="T4" fmla="*/ 294 w 1121"/>
                <a:gd name="T5" fmla="*/ 683 h 840"/>
                <a:gd name="T6" fmla="*/ 419 w 1121"/>
                <a:gd name="T7" fmla="*/ 830 h 840"/>
                <a:gd name="T8" fmla="*/ 514 w 1121"/>
                <a:gd name="T9" fmla="*/ 822 h 840"/>
                <a:gd name="T10" fmla="*/ 457 w 1121"/>
                <a:gd name="T11" fmla="*/ 690 h 840"/>
                <a:gd name="T12" fmla="*/ 539 w 1121"/>
                <a:gd name="T13" fmla="*/ 663 h 840"/>
                <a:gd name="T14" fmla="*/ 619 w 1121"/>
                <a:gd name="T15" fmla="*/ 840 h 840"/>
                <a:gd name="T16" fmla="*/ 753 w 1121"/>
                <a:gd name="T17" fmla="*/ 761 h 840"/>
                <a:gd name="T18" fmla="*/ 779 w 1121"/>
                <a:gd name="T19" fmla="*/ 782 h 840"/>
                <a:gd name="T20" fmla="*/ 791 w 1121"/>
                <a:gd name="T21" fmla="*/ 742 h 840"/>
                <a:gd name="T22" fmla="*/ 824 w 1121"/>
                <a:gd name="T23" fmla="*/ 752 h 840"/>
                <a:gd name="T24" fmla="*/ 839 w 1121"/>
                <a:gd name="T25" fmla="*/ 696 h 840"/>
                <a:gd name="T26" fmla="*/ 859 w 1121"/>
                <a:gd name="T27" fmla="*/ 698 h 840"/>
                <a:gd name="T28" fmla="*/ 863 w 1121"/>
                <a:gd name="T29" fmla="*/ 610 h 840"/>
                <a:gd name="T30" fmla="*/ 1004 w 1121"/>
                <a:gd name="T31" fmla="*/ 738 h 840"/>
                <a:gd name="T32" fmla="*/ 1025 w 1121"/>
                <a:gd name="T33" fmla="*/ 747 h 840"/>
                <a:gd name="T34" fmla="*/ 1121 w 1121"/>
                <a:gd name="T35" fmla="*/ 530 h 840"/>
                <a:gd name="T36" fmla="*/ 1112 w 1121"/>
                <a:gd name="T37" fmla="*/ 459 h 840"/>
                <a:gd name="T38" fmla="*/ 1071 w 1121"/>
                <a:gd name="T39" fmla="*/ 379 h 840"/>
                <a:gd name="T40" fmla="*/ 1043 w 1121"/>
                <a:gd name="T41" fmla="*/ 340 h 840"/>
                <a:gd name="T42" fmla="*/ 817 w 1121"/>
                <a:gd name="T43" fmla="*/ 174 h 840"/>
                <a:gd name="T44" fmla="*/ 641 w 1121"/>
                <a:gd name="T45" fmla="*/ 112 h 840"/>
                <a:gd name="T46" fmla="*/ 568 w 1121"/>
                <a:gd name="T47" fmla="*/ 43 h 840"/>
                <a:gd name="T48" fmla="*/ 536 w 1121"/>
                <a:gd name="T49" fmla="*/ 64 h 840"/>
                <a:gd name="T50" fmla="*/ 506 w 1121"/>
                <a:gd name="T51" fmla="*/ 18 h 840"/>
                <a:gd name="T52" fmla="*/ 408 w 1121"/>
                <a:gd name="T53" fmla="*/ 0 h 840"/>
                <a:gd name="T54" fmla="*/ 74 w 1121"/>
                <a:gd name="T55" fmla="*/ 16 h 840"/>
                <a:gd name="T56" fmla="*/ 33 w 1121"/>
                <a:gd name="T57" fmla="*/ 26 h 840"/>
                <a:gd name="T58" fmla="*/ 0 w 1121"/>
                <a:gd name="T59" fmla="*/ 172 h 840"/>
                <a:gd name="T60" fmla="*/ 0 w 1121"/>
                <a:gd name="T61" fmla="*/ 172 h 8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121" h="840">
                  <a:moveTo>
                    <a:pt x="0" y="172"/>
                  </a:moveTo>
                  <a:cubicBezTo>
                    <a:pt x="124" y="207"/>
                    <a:pt x="197" y="316"/>
                    <a:pt x="239" y="475"/>
                  </a:cubicBezTo>
                  <a:cubicBezTo>
                    <a:pt x="294" y="683"/>
                    <a:pt x="294" y="683"/>
                    <a:pt x="294" y="683"/>
                  </a:cubicBezTo>
                  <a:cubicBezTo>
                    <a:pt x="419" y="830"/>
                    <a:pt x="419" y="830"/>
                    <a:pt x="419" y="830"/>
                  </a:cubicBezTo>
                  <a:cubicBezTo>
                    <a:pt x="514" y="822"/>
                    <a:pt x="514" y="822"/>
                    <a:pt x="514" y="822"/>
                  </a:cubicBezTo>
                  <a:cubicBezTo>
                    <a:pt x="457" y="690"/>
                    <a:pt x="457" y="690"/>
                    <a:pt x="457" y="690"/>
                  </a:cubicBezTo>
                  <a:cubicBezTo>
                    <a:pt x="539" y="663"/>
                    <a:pt x="539" y="663"/>
                    <a:pt x="539" y="663"/>
                  </a:cubicBezTo>
                  <a:cubicBezTo>
                    <a:pt x="619" y="840"/>
                    <a:pt x="619" y="840"/>
                    <a:pt x="619" y="840"/>
                  </a:cubicBezTo>
                  <a:cubicBezTo>
                    <a:pt x="753" y="761"/>
                    <a:pt x="753" y="761"/>
                    <a:pt x="753" y="761"/>
                  </a:cubicBezTo>
                  <a:cubicBezTo>
                    <a:pt x="779" y="782"/>
                    <a:pt x="779" y="782"/>
                    <a:pt x="779" y="782"/>
                  </a:cubicBezTo>
                  <a:cubicBezTo>
                    <a:pt x="791" y="742"/>
                    <a:pt x="791" y="742"/>
                    <a:pt x="791" y="742"/>
                  </a:cubicBezTo>
                  <a:cubicBezTo>
                    <a:pt x="824" y="752"/>
                    <a:pt x="824" y="752"/>
                    <a:pt x="824" y="752"/>
                  </a:cubicBezTo>
                  <a:cubicBezTo>
                    <a:pt x="839" y="696"/>
                    <a:pt x="839" y="696"/>
                    <a:pt x="839" y="696"/>
                  </a:cubicBezTo>
                  <a:cubicBezTo>
                    <a:pt x="859" y="698"/>
                    <a:pt x="859" y="698"/>
                    <a:pt x="859" y="698"/>
                  </a:cubicBezTo>
                  <a:cubicBezTo>
                    <a:pt x="863" y="610"/>
                    <a:pt x="863" y="610"/>
                    <a:pt x="863" y="610"/>
                  </a:cubicBezTo>
                  <a:cubicBezTo>
                    <a:pt x="1004" y="738"/>
                    <a:pt x="1004" y="738"/>
                    <a:pt x="1004" y="738"/>
                  </a:cubicBezTo>
                  <a:cubicBezTo>
                    <a:pt x="1025" y="747"/>
                    <a:pt x="1025" y="747"/>
                    <a:pt x="1025" y="747"/>
                  </a:cubicBezTo>
                  <a:cubicBezTo>
                    <a:pt x="1121" y="530"/>
                    <a:pt x="1121" y="530"/>
                    <a:pt x="1121" y="530"/>
                  </a:cubicBezTo>
                  <a:cubicBezTo>
                    <a:pt x="1112" y="459"/>
                    <a:pt x="1112" y="459"/>
                    <a:pt x="1112" y="459"/>
                  </a:cubicBezTo>
                  <a:cubicBezTo>
                    <a:pt x="1071" y="379"/>
                    <a:pt x="1071" y="379"/>
                    <a:pt x="1071" y="379"/>
                  </a:cubicBezTo>
                  <a:cubicBezTo>
                    <a:pt x="1043" y="340"/>
                    <a:pt x="1043" y="340"/>
                    <a:pt x="1043" y="340"/>
                  </a:cubicBezTo>
                  <a:cubicBezTo>
                    <a:pt x="817" y="174"/>
                    <a:pt x="817" y="174"/>
                    <a:pt x="817" y="174"/>
                  </a:cubicBezTo>
                  <a:cubicBezTo>
                    <a:pt x="641" y="112"/>
                    <a:pt x="641" y="112"/>
                    <a:pt x="641" y="112"/>
                  </a:cubicBezTo>
                  <a:cubicBezTo>
                    <a:pt x="568" y="43"/>
                    <a:pt x="568" y="43"/>
                    <a:pt x="568" y="43"/>
                  </a:cubicBezTo>
                  <a:cubicBezTo>
                    <a:pt x="536" y="64"/>
                    <a:pt x="536" y="64"/>
                    <a:pt x="536" y="64"/>
                  </a:cubicBezTo>
                  <a:cubicBezTo>
                    <a:pt x="506" y="18"/>
                    <a:pt x="506" y="18"/>
                    <a:pt x="506" y="18"/>
                  </a:cubicBezTo>
                  <a:cubicBezTo>
                    <a:pt x="408" y="0"/>
                    <a:pt x="408" y="0"/>
                    <a:pt x="408" y="0"/>
                  </a:cubicBezTo>
                  <a:cubicBezTo>
                    <a:pt x="260" y="66"/>
                    <a:pt x="149" y="71"/>
                    <a:pt x="74" y="16"/>
                  </a:cubicBezTo>
                  <a:cubicBezTo>
                    <a:pt x="33" y="26"/>
                    <a:pt x="33" y="26"/>
                    <a:pt x="33" y="26"/>
                  </a:cubicBezTo>
                  <a:cubicBezTo>
                    <a:pt x="0" y="172"/>
                    <a:pt x="0" y="172"/>
                    <a:pt x="0" y="172"/>
                  </a:cubicBezTo>
                  <a:cubicBezTo>
                    <a:pt x="0" y="172"/>
                    <a:pt x="0" y="172"/>
                    <a:pt x="0" y="172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7" name="Freeform 137"/>
            <p:cNvSpPr>
              <a:spLocks/>
            </p:cNvSpPr>
            <p:nvPr/>
          </p:nvSpPr>
          <p:spPr bwMode="auto">
            <a:xfrm>
              <a:off x="2889898" y="3376632"/>
              <a:ext cx="237448" cy="287645"/>
            </a:xfrm>
            <a:custGeom>
              <a:avLst/>
              <a:gdLst>
                <a:gd name="T0" fmla="*/ 646 w 646"/>
                <a:gd name="T1" fmla="*/ 632 h 881"/>
                <a:gd name="T2" fmla="*/ 607 w 646"/>
                <a:gd name="T3" fmla="*/ 659 h 881"/>
                <a:gd name="T4" fmla="*/ 512 w 646"/>
                <a:gd name="T5" fmla="*/ 611 h 881"/>
                <a:gd name="T6" fmla="*/ 495 w 646"/>
                <a:gd name="T7" fmla="*/ 654 h 881"/>
                <a:gd name="T8" fmla="*/ 480 w 646"/>
                <a:gd name="T9" fmla="*/ 819 h 881"/>
                <a:gd name="T10" fmla="*/ 442 w 646"/>
                <a:gd name="T11" fmla="*/ 824 h 881"/>
                <a:gd name="T12" fmla="*/ 357 w 646"/>
                <a:gd name="T13" fmla="*/ 784 h 881"/>
                <a:gd name="T14" fmla="*/ 347 w 646"/>
                <a:gd name="T15" fmla="*/ 831 h 881"/>
                <a:gd name="T16" fmla="*/ 297 w 646"/>
                <a:gd name="T17" fmla="*/ 814 h 881"/>
                <a:gd name="T18" fmla="*/ 45 w 646"/>
                <a:gd name="T19" fmla="*/ 881 h 881"/>
                <a:gd name="T20" fmla="*/ 0 w 646"/>
                <a:gd name="T21" fmla="*/ 686 h 881"/>
                <a:gd name="T22" fmla="*/ 80 w 646"/>
                <a:gd name="T23" fmla="*/ 671 h 881"/>
                <a:gd name="T24" fmla="*/ 78 w 646"/>
                <a:gd name="T25" fmla="*/ 614 h 881"/>
                <a:gd name="T26" fmla="*/ 148 w 646"/>
                <a:gd name="T27" fmla="*/ 591 h 881"/>
                <a:gd name="T28" fmla="*/ 160 w 646"/>
                <a:gd name="T29" fmla="*/ 127 h 881"/>
                <a:gd name="T30" fmla="*/ 185 w 646"/>
                <a:gd name="T31" fmla="*/ 122 h 881"/>
                <a:gd name="T32" fmla="*/ 169 w 646"/>
                <a:gd name="T33" fmla="*/ 34 h 881"/>
                <a:gd name="T34" fmla="*/ 281 w 646"/>
                <a:gd name="T35" fmla="*/ 40 h 881"/>
                <a:gd name="T36" fmla="*/ 290 w 646"/>
                <a:gd name="T37" fmla="*/ 0 h 881"/>
                <a:gd name="T38" fmla="*/ 281 w 646"/>
                <a:gd name="T39" fmla="*/ 38 h 881"/>
                <a:gd name="T40" fmla="*/ 520 w 646"/>
                <a:gd name="T41" fmla="*/ 341 h 881"/>
                <a:gd name="T42" fmla="*/ 575 w 646"/>
                <a:gd name="T43" fmla="*/ 549 h 881"/>
                <a:gd name="T44" fmla="*/ 646 w 646"/>
                <a:gd name="T45" fmla="*/ 632 h 881"/>
                <a:gd name="T46" fmla="*/ 646 w 646"/>
                <a:gd name="T47" fmla="*/ 632 h 8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6" h="881">
                  <a:moveTo>
                    <a:pt x="646" y="632"/>
                  </a:moveTo>
                  <a:cubicBezTo>
                    <a:pt x="607" y="659"/>
                    <a:pt x="607" y="659"/>
                    <a:pt x="607" y="659"/>
                  </a:cubicBezTo>
                  <a:cubicBezTo>
                    <a:pt x="512" y="611"/>
                    <a:pt x="512" y="611"/>
                    <a:pt x="512" y="611"/>
                  </a:cubicBezTo>
                  <a:cubicBezTo>
                    <a:pt x="495" y="654"/>
                    <a:pt x="495" y="654"/>
                    <a:pt x="495" y="654"/>
                  </a:cubicBezTo>
                  <a:cubicBezTo>
                    <a:pt x="480" y="819"/>
                    <a:pt x="480" y="819"/>
                    <a:pt x="480" y="819"/>
                  </a:cubicBezTo>
                  <a:cubicBezTo>
                    <a:pt x="442" y="824"/>
                    <a:pt x="442" y="824"/>
                    <a:pt x="442" y="824"/>
                  </a:cubicBezTo>
                  <a:cubicBezTo>
                    <a:pt x="357" y="784"/>
                    <a:pt x="357" y="784"/>
                    <a:pt x="357" y="784"/>
                  </a:cubicBezTo>
                  <a:cubicBezTo>
                    <a:pt x="347" y="831"/>
                    <a:pt x="347" y="831"/>
                    <a:pt x="347" y="831"/>
                  </a:cubicBezTo>
                  <a:cubicBezTo>
                    <a:pt x="297" y="814"/>
                    <a:pt x="297" y="814"/>
                    <a:pt x="297" y="814"/>
                  </a:cubicBezTo>
                  <a:cubicBezTo>
                    <a:pt x="45" y="881"/>
                    <a:pt x="45" y="881"/>
                    <a:pt x="45" y="881"/>
                  </a:cubicBezTo>
                  <a:cubicBezTo>
                    <a:pt x="0" y="686"/>
                    <a:pt x="0" y="686"/>
                    <a:pt x="0" y="686"/>
                  </a:cubicBezTo>
                  <a:cubicBezTo>
                    <a:pt x="80" y="671"/>
                    <a:pt x="80" y="671"/>
                    <a:pt x="80" y="671"/>
                  </a:cubicBezTo>
                  <a:cubicBezTo>
                    <a:pt x="78" y="614"/>
                    <a:pt x="78" y="614"/>
                    <a:pt x="78" y="614"/>
                  </a:cubicBezTo>
                  <a:cubicBezTo>
                    <a:pt x="148" y="591"/>
                    <a:pt x="148" y="591"/>
                    <a:pt x="148" y="591"/>
                  </a:cubicBezTo>
                  <a:cubicBezTo>
                    <a:pt x="160" y="127"/>
                    <a:pt x="160" y="127"/>
                    <a:pt x="160" y="127"/>
                  </a:cubicBezTo>
                  <a:cubicBezTo>
                    <a:pt x="185" y="122"/>
                    <a:pt x="185" y="122"/>
                    <a:pt x="185" y="122"/>
                  </a:cubicBezTo>
                  <a:cubicBezTo>
                    <a:pt x="169" y="34"/>
                    <a:pt x="169" y="34"/>
                    <a:pt x="169" y="34"/>
                  </a:cubicBezTo>
                  <a:cubicBezTo>
                    <a:pt x="205" y="31"/>
                    <a:pt x="243" y="33"/>
                    <a:pt x="281" y="40"/>
                  </a:cubicBezTo>
                  <a:cubicBezTo>
                    <a:pt x="290" y="0"/>
                    <a:pt x="290" y="0"/>
                    <a:pt x="290" y="0"/>
                  </a:cubicBezTo>
                  <a:cubicBezTo>
                    <a:pt x="281" y="38"/>
                    <a:pt x="281" y="38"/>
                    <a:pt x="281" y="38"/>
                  </a:cubicBezTo>
                  <a:cubicBezTo>
                    <a:pt x="405" y="73"/>
                    <a:pt x="478" y="182"/>
                    <a:pt x="520" y="341"/>
                  </a:cubicBezTo>
                  <a:cubicBezTo>
                    <a:pt x="575" y="549"/>
                    <a:pt x="575" y="549"/>
                    <a:pt x="575" y="549"/>
                  </a:cubicBezTo>
                  <a:cubicBezTo>
                    <a:pt x="646" y="632"/>
                    <a:pt x="646" y="632"/>
                    <a:pt x="646" y="632"/>
                  </a:cubicBezTo>
                  <a:cubicBezTo>
                    <a:pt x="646" y="632"/>
                    <a:pt x="646" y="632"/>
                    <a:pt x="646" y="632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8" name="Freeform 138"/>
            <p:cNvSpPr>
              <a:spLocks noEditPoints="1"/>
            </p:cNvSpPr>
            <p:nvPr/>
          </p:nvSpPr>
          <p:spPr bwMode="auto">
            <a:xfrm>
              <a:off x="2645853" y="3387394"/>
              <a:ext cx="312199" cy="367873"/>
            </a:xfrm>
            <a:custGeom>
              <a:avLst/>
              <a:gdLst>
                <a:gd name="T0" fmla="*/ 711 w 851"/>
                <a:gd name="T1" fmla="*/ 850 h 1128"/>
                <a:gd name="T2" fmla="*/ 667 w 851"/>
                <a:gd name="T3" fmla="*/ 863 h 1128"/>
                <a:gd name="T4" fmla="*/ 659 w 851"/>
                <a:gd name="T5" fmla="*/ 838 h 1128"/>
                <a:gd name="T6" fmla="*/ 581 w 851"/>
                <a:gd name="T7" fmla="*/ 823 h 1128"/>
                <a:gd name="T8" fmla="*/ 571 w 851"/>
                <a:gd name="T9" fmla="*/ 878 h 1128"/>
                <a:gd name="T10" fmla="*/ 409 w 851"/>
                <a:gd name="T11" fmla="*/ 818 h 1128"/>
                <a:gd name="T12" fmla="*/ 395 w 851"/>
                <a:gd name="T13" fmla="*/ 856 h 1128"/>
                <a:gd name="T14" fmla="*/ 365 w 851"/>
                <a:gd name="T15" fmla="*/ 840 h 1128"/>
                <a:gd name="T16" fmla="*/ 286 w 851"/>
                <a:gd name="T17" fmla="*/ 950 h 1128"/>
                <a:gd name="T18" fmla="*/ 246 w 851"/>
                <a:gd name="T19" fmla="*/ 1005 h 1128"/>
                <a:gd name="T20" fmla="*/ 211 w 851"/>
                <a:gd name="T21" fmla="*/ 1060 h 1128"/>
                <a:gd name="T22" fmla="*/ 219 w 851"/>
                <a:gd name="T23" fmla="*/ 1075 h 1128"/>
                <a:gd name="T24" fmla="*/ 174 w 851"/>
                <a:gd name="T25" fmla="*/ 1128 h 1128"/>
                <a:gd name="T26" fmla="*/ 99 w 851"/>
                <a:gd name="T27" fmla="*/ 1119 h 1128"/>
                <a:gd name="T28" fmla="*/ 99 w 851"/>
                <a:gd name="T29" fmla="*/ 1118 h 1128"/>
                <a:gd name="T30" fmla="*/ 30 w 851"/>
                <a:gd name="T31" fmla="*/ 1038 h 1128"/>
                <a:gd name="T32" fmla="*/ 30 w 851"/>
                <a:gd name="T33" fmla="*/ 1038 h 1128"/>
                <a:gd name="T34" fmla="*/ 89 w 851"/>
                <a:gd name="T35" fmla="*/ 996 h 1128"/>
                <a:gd name="T36" fmla="*/ 263 w 851"/>
                <a:gd name="T37" fmla="*/ 736 h 1128"/>
                <a:gd name="T38" fmla="*/ 352 w 851"/>
                <a:gd name="T39" fmla="*/ 535 h 1128"/>
                <a:gd name="T40" fmla="*/ 382 w 851"/>
                <a:gd name="T41" fmla="*/ 473 h 1128"/>
                <a:gd name="T42" fmla="*/ 430 w 851"/>
                <a:gd name="T43" fmla="*/ 404 h 1128"/>
                <a:gd name="T44" fmla="*/ 491 w 851"/>
                <a:gd name="T45" fmla="*/ 352 h 1128"/>
                <a:gd name="T46" fmla="*/ 516 w 851"/>
                <a:gd name="T47" fmla="*/ 316 h 1128"/>
                <a:gd name="T48" fmla="*/ 549 w 851"/>
                <a:gd name="T49" fmla="*/ 185 h 1128"/>
                <a:gd name="T50" fmla="*/ 572 w 851"/>
                <a:gd name="T51" fmla="*/ 112 h 1128"/>
                <a:gd name="T52" fmla="*/ 615 w 851"/>
                <a:gd name="T53" fmla="*/ 69 h 1128"/>
                <a:gd name="T54" fmla="*/ 835 w 851"/>
                <a:gd name="T55" fmla="*/ 3 h 1128"/>
                <a:gd name="T56" fmla="*/ 837 w 851"/>
                <a:gd name="T57" fmla="*/ 17 h 1128"/>
                <a:gd name="T58" fmla="*/ 851 w 851"/>
                <a:gd name="T59" fmla="*/ 91 h 1128"/>
                <a:gd name="T60" fmla="*/ 826 w 851"/>
                <a:gd name="T61" fmla="*/ 96 h 1128"/>
                <a:gd name="T62" fmla="*/ 814 w 851"/>
                <a:gd name="T63" fmla="*/ 560 h 1128"/>
                <a:gd name="T64" fmla="*/ 744 w 851"/>
                <a:gd name="T65" fmla="*/ 583 h 1128"/>
                <a:gd name="T66" fmla="*/ 746 w 851"/>
                <a:gd name="T67" fmla="*/ 640 h 1128"/>
                <a:gd name="T68" fmla="*/ 666 w 851"/>
                <a:gd name="T69" fmla="*/ 655 h 1128"/>
                <a:gd name="T70" fmla="*/ 711 w 851"/>
                <a:gd name="T71" fmla="*/ 850 h 1128"/>
                <a:gd name="T72" fmla="*/ 711 w 851"/>
                <a:gd name="T73" fmla="*/ 850 h 1128"/>
                <a:gd name="T74" fmla="*/ 0 w 851"/>
                <a:gd name="T75" fmla="*/ 1054 h 1128"/>
                <a:gd name="T76" fmla="*/ 0 w 851"/>
                <a:gd name="T77" fmla="*/ 1054 h 1128"/>
                <a:gd name="T78" fmla="*/ 1 w 851"/>
                <a:gd name="T79" fmla="*/ 1053 h 1128"/>
                <a:gd name="T80" fmla="*/ 0 w 851"/>
                <a:gd name="T81" fmla="*/ 1054 h 1128"/>
                <a:gd name="T82" fmla="*/ 7 w 851"/>
                <a:gd name="T83" fmla="*/ 1049 h 1128"/>
                <a:gd name="T84" fmla="*/ 7 w 851"/>
                <a:gd name="T85" fmla="*/ 1049 h 1128"/>
                <a:gd name="T86" fmla="*/ 7 w 851"/>
                <a:gd name="T87" fmla="*/ 1049 h 1128"/>
                <a:gd name="T88" fmla="*/ 9 w 851"/>
                <a:gd name="T89" fmla="*/ 1048 h 1128"/>
                <a:gd name="T90" fmla="*/ 11 w 851"/>
                <a:gd name="T91" fmla="*/ 1047 h 1128"/>
                <a:gd name="T92" fmla="*/ 9 w 851"/>
                <a:gd name="T93" fmla="*/ 1048 h 1128"/>
                <a:gd name="T94" fmla="*/ 14 w 851"/>
                <a:gd name="T95" fmla="*/ 1045 h 1128"/>
                <a:gd name="T96" fmla="*/ 15 w 851"/>
                <a:gd name="T97" fmla="*/ 1044 h 1128"/>
                <a:gd name="T98" fmla="*/ 14 w 851"/>
                <a:gd name="T99" fmla="*/ 1045 h 11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851" h="1128">
                  <a:moveTo>
                    <a:pt x="711" y="850"/>
                  </a:moveTo>
                  <a:cubicBezTo>
                    <a:pt x="667" y="863"/>
                    <a:pt x="667" y="863"/>
                    <a:pt x="667" y="863"/>
                  </a:cubicBezTo>
                  <a:cubicBezTo>
                    <a:pt x="659" y="838"/>
                    <a:pt x="659" y="838"/>
                    <a:pt x="659" y="838"/>
                  </a:cubicBezTo>
                  <a:cubicBezTo>
                    <a:pt x="581" y="823"/>
                    <a:pt x="581" y="823"/>
                    <a:pt x="581" y="823"/>
                  </a:cubicBezTo>
                  <a:cubicBezTo>
                    <a:pt x="571" y="878"/>
                    <a:pt x="571" y="878"/>
                    <a:pt x="571" y="878"/>
                  </a:cubicBezTo>
                  <a:cubicBezTo>
                    <a:pt x="409" y="818"/>
                    <a:pt x="409" y="818"/>
                    <a:pt x="409" y="818"/>
                  </a:cubicBezTo>
                  <a:cubicBezTo>
                    <a:pt x="395" y="856"/>
                    <a:pt x="395" y="856"/>
                    <a:pt x="395" y="856"/>
                  </a:cubicBezTo>
                  <a:cubicBezTo>
                    <a:pt x="365" y="840"/>
                    <a:pt x="365" y="840"/>
                    <a:pt x="365" y="840"/>
                  </a:cubicBezTo>
                  <a:cubicBezTo>
                    <a:pt x="286" y="950"/>
                    <a:pt x="286" y="950"/>
                    <a:pt x="286" y="950"/>
                  </a:cubicBezTo>
                  <a:cubicBezTo>
                    <a:pt x="246" y="1005"/>
                    <a:pt x="246" y="1005"/>
                    <a:pt x="246" y="1005"/>
                  </a:cubicBezTo>
                  <a:cubicBezTo>
                    <a:pt x="211" y="1060"/>
                    <a:pt x="211" y="1060"/>
                    <a:pt x="211" y="1060"/>
                  </a:cubicBezTo>
                  <a:cubicBezTo>
                    <a:pt x="219" y="1075"/>
                    <a:pt x="219" y="1075"/>
                    <a:pt x="219" y="1075"/>
                  </a:cubicBezTo>
                  <a:cubicBezTo>
                    <a:pt x="174" y="1128"/>
                    <a:pt x="174" y="1128"/>
                    <a:pt x="174" y="1128"/>
                  </a:cubicBezTo>
                  <a:cubicBezTo>
                    <a:pt x="99" y="1119"/>
                    <a:pt x="99" y="1119"/>
                    <a:pt x="99" y="1119"/>
                  </a:cubicBezTo>
                  <a:cubicBezTo>
                    <a:pt x="99" y="1118"/>
                    <a:pt x="99" y="1118"/>
                    <a:pt x="99" y="1118"/>
                  </a:cubicBezTo>
                  <a:cubicBezTo>
                    <a:pt x="30" y="1038"/>
                    <a:pt x="30" y="1038"/>
                    <a:pt x="30" y="1038"/>
                  </a:cubicBezTo>
                  <a:cubicBezTo>
                    <a:pt x="30" y="1038"/>
                    <a:pt x="30" y="1038"/>
                    <a:pt x="30" y="1038"/>
                  </a:cubicBezTo>
                  <a:cubicBezTo>
                    <a:pt x="89" y="996"/>
                    <a:pt x="89" y="996"/>
                    <a:pt x="89" y="996"/>
                  </a:cubicBezTo>
                  <a:cubicBezTo>
                    <a:pt x="263" y="736"/>
                    <a:pt x="263" y="736"/>
                    <a:pt x="263" y="736"/>
                  </a:cubicBezTo>
                  <a:cubicBezTo>
                    <a:pt x="352" y="535"/>
                    <a:pt x="352" y="535"/>
                    <a:pt x="352" y="535"/>
                  </a:cubicBezTo>
                  <a:cubicBezTo>
                    <a:pt x="382" y="473"/>
                    <a:pt x="382" y="473"/>
                    <a:pt x="382" y="473"/>
                  </a:cubicBezTo>
                  <a:cubicBezTo>
                    <a:pt x="430" y="404"/>
                    <a:pt x="430" y="404"/>
                    <a:pt x="430" y="404"/>
                  </a:cubicBezTo>
                  <a:cubicBezTo>
                    <a:pt x="491" y="352"/>
                    <a:pt x="491" y="352"/>
                    <a:pt x="491" y="352"/>
                  </a:cubicBezTo>
                  <a:cubicBezTo>
                    <a:pt x="516" y="316"/>
                    <a:pt x="516" y="316"/>
                    <a:pt x="516" y="316"/>
                  </a:cubicBezTo>
                  <a:cubicBezTo>
                    <a:pt x="549" y="185"/>
                    <a:pt x="549" y="185"/>
                    <a:pt x="549" y="185"/>
                  </a:cubicBezTo>
                  <a:cubicBezTo>
                    <a:pt x="572" y="112"/>
                    <a:pt x="572" y="112"/>
                    <a:pt x="572" y="112"/>
                  </a:cubicBezTo>
                  <a:cubicBezTo>
                    <a:pt x="615" y="69"/>
                    <a:pt x="615" y="69"/>
                    <a:pt x="615" y="69"/>
                  </a:cubicBezTo>
                  <a:cubicBezTo>
                    <a:pt x="690" y="32"/>
                    <a:pt x="834" y="0"/>
                    <a:pt x="835" y="3"/>
                  </a:cubicBezTo>
                  <a:cubicBezTo>
                    <a:pt x="837" y="17"/>
                    <a:pt x="837" y="17"/>
                    <a:pt x="837" y="17"/>
                  </a:cubicBezTo>
                  <a:cubicBezTo>
                    <a:pt x="851" y="91"/>
                    <a:pt x="851" y="91"/>
                    <a:pt x="851" y="91"/>
                  </a:cubicBezTo>
                  <a:cubicBezTo>
                    <a:pt x="826" y="96"/>
                    <a:pt x="826" y="96"/>
                    <a:pt x="826" y="96"/>
                  </a:cubicBezTo>
                  <a:cubicBezTo>
                    <a:pt x="814" y="560"/>
                    <a:pt x="814" y="560"/>
                    <a:pt x="814" y="560"/>
                  </a:cubicBezTo>
                  <a:cubicBezTo>
                    <a:pt x="744" y="583"/>
                    <a:pt x="744" y="583"/>
                    <a:pt x="744" y="583"/>
                  </a:cubicBezTo>
                  <a:cubicBezTo>
                    <a:pt x="746" y="640"/>
                    <a:pt x="746" y="640"/>
                    <a:pt x="746" y="640"/>
                  </a:cubicBezTo>
                  <a:cubicBezTo>
                    <a:pt x="666" y="655"/>
                    <a:pt x="666" y="655"/>
                    <a:pt x="666" y="655"/>
                  </a:cubicBezTo>
                  <a:cubicBezTo>
                    <a:pt x="711" y="850"/>
                    <a:pt x="711" y="850"/>
                    <a:pt x="711" y="850"/>
                  </a:cubicBezTo>
                  <a:cubicBezTo>
                    <a:pt x="711" y="850"/>
                    <a:pt x="711" y="850"/>
                    <a:pt x="711" y="850"/>
                  </a:cubicBezTo>
                  <a:close/>
                  <a:moveTo>
                    <a:pt x="0" y="1054"/>
                  </a:moveTo>
                  <a:cubicBezTo>
                    <a:pt x="0" y="1054"/>
                    <a:pt x="0" y="1054"/>
                    <a:pt x="0" y="1054"/>
                  </a:cubicBezTo>
                  <a:cubicBezTo>
                    <a:pt x="0" y="1053"/>
                    <a:pt x="1" y="1053"/>
                    <a:pt x="1" y="1053"/>
                  </a:cubicBezTo>
                  <a:cubicBezTo>
                    <a:pt x="1" y="1053"/>
                    <a:pt x="0" y="1053"/>
                    <a:pt x="0" y="1054"/>
                  </a:cubicBezTo>
                  <a:close/>
                  <a:moveTo>
                    <a:pt x="7" y="1049"/>
                  </a:moveTo>
                  <a:cubicBezTo>
                    <a:pt x="7" y="1049"/>
                    <a:pt x="7" y="1049"/>
                    <a:pt x="7" y="1049"/>
                  </a:cubicBezTo>
                  <a:cubicBezTo>
                    <a:pt x="7" y="1049"/>
                    <a:pt x="7" y="1049"/>
                    <a:pt x="7" y="1049"/>
                  </a:cubicBezTo>
                  <a:close/>
                  <a:moveTo>
                    <a:pt x="9" y="1048"/>
                  </a:moveTo>
                  <a:cubicBezTo>
                    <a:pt x="9" y="1048"/>
                    <a:pt x="10" y="1048"/>
                    <a:pt x="11" y="1047"/>
                  </a:cubicBezTo>
                  <a:cubicBezTo>
                    <a:pt x="10" y="1048"/>
                    <a:pt x="9" y="1048"/>
                    <a:pt x="9" y="1048"/>
                  </a:cubicBezTo>
                  <a:close/>
                  <a:moveTo>
                    <a:pt x="14" y="1045"/>
                  </a:moveTo>
                  <a:cubicBezTo>
                    <a:pt x="14" y="1045"/>
                    <a:pt x="15" y="1045"/>
                    <a:pt x="15" y="1044"/>
                  </a:cubicBezTo>
                  <a:cubicBezTo>
                    <a:pt x="15" y="1045"/>
                    <a:pt x="14" y="1045"/>
                    <a:pt x="14" y="1045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09" name="Freeform 139"/>
            <p:cNvSpPr>
              <a:spLocks/>
            </p:cNvSpPr>
            <p:nvPr/>
          </p:nvSpPr>
          <p:spPr bwMode="auto">
            <a:xfrm>
              <a:off x="2965749" y="2954949"/>
              <a:ext cx="364964" cy="330693"/>
            </a:xfrm>
            <a:custGeom>
              <a:avLst/>
              <a:gdLst>
                <a:gd name="T0" fmla="*/ 517 w 995"/>
                <a:gd name="T1" fmla="*/ 178 h 1013"/>
                <a:gd name="T2" fmla="*/ 385 w 995"/>
                <a:gd name="T3" fmla="*/ 128 h 1013"/>
                <a:gd name="T4" fmla="*/ 343 w 995"/>
                <a:gd name="T5" fmla="*/ 101 h 1013"/>
                <a:gd name="T6" fmla="*/ 309 w 995"/>
                <a:gd name="T7" fmla="*/ 45 h 1013"/>
                <a:gd name="T8" fmla="*/ 291 w 995"/>
                <a:gd name="T9" fmla="*/ 8 h 1013"/>
                <a:gd name="T10" fmla="*/ 250 w 995"/>
                <a:gd name="T11" fmla="*/ 28 h 1013"/>
                <a:gd name="T12" fmla="*/ 209 w 995"/>
                <a:gd name="T13" fmla="*/ 49 h 1013"/>
                <a:gd name="T14" fmla="*/ 244 w 995"/>
                <a:gd name="T15" fmla="*/ 162 h 1013"/>
                <a:gd name="T16" fmla="*/ 237 w 995"/>
                <a:gd name="T17" fmla="*/ 197 h 1013"/>
                <a:gd name="T18" fmla="*/ 288 w 995"/>
                <a:gd name="T19" fmla="*/ 414 h 1013"/>
                <a:gd name="T20" fmla="*/ 230 w 995"/>
                <a:gd name="T21" fmla="*/ 421 h 1013"/>
                <a:gd name="T22" fmla="*/ 160 w 995"/>
                <a:gd name="T23" fmla="*/ 645 h 1013"/>
                <a:gd name="T24" fmla="*/ 77 w 995"/>
                <a:gd name="T25" fmla="*/ 628 h 1013"/>
                <a:gd name="T26" fmla="*/ 64 w 995"/>
                <a:gd name="T27" fmla="*/ 815 h 1013"/>
                <a:gd name="T28" fmla="*/ 15 w 995"/>
                <a:gd name="T29" fmla="*/ 922 h 1013"/>
                <a:gd name="T30" fmla="*/ 40 w 995"/>
                <a:gd name="T31" fmla="*/ 946 h 1013"/>
                <a:gd name="T32" fmla="*/ 42 w 995"/>
                <a:gd name="T33" fmla="*/ 986 h 1013"/>
                <a:gd name="T34" fmla="*/ 33 w 995"/>
                <a:gd name="T35" fmla="*/ 1005 h 1013"/>
                <a:gd name="T36" fmla="*/ 73 w 995"/>
                <a:gd name="T37" fmla="*/ 979 h 1013"/>
                <a:gd name="T38" fmla="*/ 157 w 995"/>
                <a:gd name="T39" fmla="*/ 858 h 1013"/>
                <a:gd name="T40" fmla="*/ 287 w 995"/>
                <a:gd name="T41" fmla="*/ 746 h 1013"/>
                <a:gd name="T42" fmla="*/ 593 w 995"/>
                <a:gd name="T43" fmla="*/ 710 h 1013"/>
                <a:gd name="T44" fmla="*/ 610 w 995"/>
                <a:gd name="T45" fmla="*/ 605 h 1013"/>
                <a:gd name="T46" fmla="*/ 820 w 995"/>
                <a:gd name="T47" fmla="*/ 448 h 1013"/>
                <a:gd name="T48" fmla="*/ 875 w 995"/>
                <a:gd name="T49" fmla="*/ 490 h 1013"/>
                <a:gd name="T50" fmla="*/ 995 w 995"/>
                <a:gd name="T51" fmla="*/ 335 h 1013"/>
                <a:gd name="T52" fmla="*/ 517 w 995"/>
                <a:gd name="T53" fmla="*/ 178 h 10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995" h="1013">
                  <a:moveTo>
                    <a:pt x="517" y="178"/>
                  </a:moveTo>
                  <a:cubicBezTo>
                    <a:pt x="473" y="161"/>
                    <a:pt x="429" y="145"/>
                    <a:pt x="385" y="128"/>
                  </a:cubicBezTo>
                  <a:cubicBezTo>
                    <a:pt x="375" y="126"/>
                    <a:pt x="356" y="109"/>
                    <a:pt x="343" y="101"/>
                  </a:cubicBezTo>
                  <a:cubicBezTo>
                    <a:pt x="323" y="89"/>
                    <a:pt x="321" y="63"/>
                    <a:pt x="309" y="45"/>
                  </a:cubicBezTo>
                  <a:cubicBezTo>
                    <a:pt x="304" y="36"/>
                    <a:pt x="287" y="0"/>
                    <a:pt x="291" y="8"/>
                  </a:cubicBezTo>
                  <a:cubicBezTo>
                    <a:pt x="297" y="23"/>
                    <a:pt x="261" y="20"/>
                    <a:pt x="250" y="28"/>
                  </a:cubicBezTo>
                  <a:cubicBezTo>
                    <a:pt x="238" y="36"/>
                    <a:pt x="203" y="32"/>
                    <a:pt x="209" y="49"/>
                  </a:cubicBezTo>
                  <a:cubicBezTo>
                    <a:pt x="221" y="87"/>
                    <a:pt x="233" y="125"/>
                    <a:pt x="244" y="162"/>
                  </a:cubicBezTo>
                  <a:cubicBezTo>
                    <a:pt x="217" y="153"/>
                    <a:pt x="237" y="183"/>
                    <a:pt x="237" y="197"/>
                  </a:cubicBezTo>
                  <a:cubicBezTo>
                    <a:pt x="254" y="270"/>
                    <a:pt x="271" y="342"/>
                    <a:pt x="288" y="414"/>
                  </a:cubicBezTo>
                  <a:cubicBezTo>
                    <a:pt x="268" y="416"/>
                    <a:pt x="249" y="419"/>
                    <a:pt x="230" y="421"/>
                  </a:cubicBezTo>
                  <a:cubicBezTo>
                    <a:pt x="207" y="496"/>
                    <a:pt x="183" y="570"/>
                    <a:pt x="160" y="645"/>
                  </a:cubicBezTo>
                  <a:cubicBezTo>
                    <a:pt x="132" y="640"/>
                    <a:pt x="105" y="634"/>
                    <a:pt x="77" y="628"/>
                  </a:cubicBezTo>
                  <a:cubicBezTo>
                    <a:pt x="73" y="690"/>
                    <a:pt x="71" y="753"/>
                    <a:pt x="64" y="815"/>
                  </a:cubicBezTo>
                  <a:cubicBezTo>
                    <a:pt x="48" y="851"/>
                    <a:pt x="31" y="886"/>
                    <a:pt x="15" y="922"/>
                  </a:cubicBezTo>
                  <a:cubicBezTo>
                    <a:pt x="32" y="925"/>
                    <a:pt x="56" y="923"/>
                    <a:pt x="40" y="946"/>
                  </a:cubicBezTo>
                  <a:cubicBezTo>
                    <a:pt x="29" y="963"/>
                    <a:pt x="32" y="979"/>
                    <a:pt x="42" y="986"/>
                  </a:cubicBezTo>
                  <a:cubicBezTo>
                    <a:pt x="31" y="995"/>
                    <a:pt x="0" y="1013"/>
                    <a:pt x="33" y="1005"/>
                  </a:cubicBezTo>
                  <a:cubicBezTo>
                    <a:pt x="52" y="1006"/>
                    <a:pt x="66" y="998"/>
                    <a:pt x="73" y="979"/>
                  </a:cubicBezTo>
                  <a:cubicBezTo>
                    <a:pt x="101" y="939"/>
                    <a:pt x="127" y="896"/>
                    <a:pt x="157" y="858"/>
                  </a:cubicBezTo>
                  <a:cubicBezTo>
                    <a:pt x="200" y="820"/>
                    <a:pt x="244" y="783"/>
                    <a:pt x="287" y="746"/>
                  </a:cubicBezTo>
                  <a:cubicBezTo>
                    <a:pt x="389" y="734"/>
                    <a:pt x="491" y="722"/>
                    <a:pt x="593" y="710"/>
                  </a:cubicBezTo>
                  <a:cubicBezTo>
                    <a:pt x="599" y="675"/>
                    <a:pt x="604" y="640"/>
                    <a:pt x="610" y="605"/>
                  </a:cubicBezTo>
                  <a:cubicBezTo>
                    <a:pt x="680" y="553"/>
                    <a:pt x="750" y="501"/>
                    <a:pt x="820" y="448"/>
                  </a:cubicBezTo>
                  <a:cubicBezTo>
                    <a:pt x="838" y="462"/>
                    <a:pt x="856" y="476"/>
                    <a:pt x="875" y="490"/>
                  </a:cubicBezTo>
                  <a:cubicBezTo>
                    <a:pt x="915" y="438"/>
                    <a:pt x="955" y="386"/>
                    <a:pt x="995" y="335"/>
                  </a:cubicBezTo>
                  <a:cubicBezTo>
                    <a:pt x="836" y="282"/>
                    <a:pt x="676" y="230"/>
                    <a:pt x="517" y="178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0" name="Freeform 140"/>
            <p:cNvSpPr>
              <a:spLocks/>
            </p:cNvSpPr>
            <p:nvPr/>
          </p:nvSpPr>
          <p:spPr bwMode="auto">
            <a:xfrm>
              <a:off x="2971244" y="3064527"/>
              <a:ext cx="517767" cy="305256"/>
            </a:xfrm>
            <a:custGeom>
              <a:avLst/>
              <a:gdLst>
                <a:gd name="T0" fmla="*/ 1414 w 1414"/>
                <a:gd name="T1" fmla="*/ 217 h 935"/>
                <a:gd name="T2" fmla="*/ 1364 w 1414"/>
                <a:gd name="T3" fmla="*/ 107 h 935"/>
                <a:gd name="T4" fmla="*/ 1286 w 1414"/>
                <a:gd name="T5" fmla="*/ 27 h 935"/>
                <a:gd name="T6" fmla="*/ 1180 w 1414"/>
                <a:gd name="T7" fmla="*/ 16 h 935"/>
                <a:gd name="T8" fmla="*/ 1180 w 1414"/>
                <a:gd name="T9" fmla="*/ 13 h 935"/>
                <a:gd name="T10" fmla="*/ 989 w 1414"/>
                <a:gd name="T11" fmla="*/ 3 h 935"/>
                <a:gd name="T12" fmla="*/ 980 w 1414"/>
                <a:gd name="T13" fmla="*/ 0 h 935"/>
                <a:gd name="T14" fmla="*/ 860 w 1414"/>
                <a:gd name="T15" fmla="*/ 155 h 935"/>
                <a:gd name="T16" fmla="*/ 805 w 1414"/>
                <a:gd name="T17" fmla="*/ 113 h 935"/>
                <a:gd name="T18" fmla="*/ 595 w 1414"/>
                <a:gd name="T19" fmla="*/ 270 h 935"/>
                <a:gd name="T20" fmla="*/ 578 w 1414"/>
                <a:gd name="T21" fmla="*/ 375 h 935"/>
                <a:gd name="T22" fmla="*/ 273 w 1414"/>
                <a:gd name="T23" fmla="*/ 411 h 935"/>
                <a:gd name="T24" fmla="*/ 138 w 1414"/>
                <a:gd name="T25" fmla="*/ 527 h 935"/>
                <a:gd name="T26" fmla="*/ 44 w 1414"/>
                <a:gd name="T27" fmla="*/ 666 h 935"/>
                <a:gd name="T28" fmla="*/ 0 w 1414"/>
                <a:gd name="T29" fmla="*/ 672 h 935"/>
                <a:gd name="T30" fmla="*/ 0 w 1414"/>
                <a:gd name="T31" fmla="*/ 672 h 935"/>
                <a:gd name="T32" fmla="*/ 0 w 1414"/>
                <a:gd name="T33" fmla="*/ 672 h 935"/>
                <a:gd name="T34" fmla="*/ 2 w 1414"/>
                <a:gd name="T35" fmla="*/ 690 h 935"/>
                <a:gd name="T36" fmla="*/ 98 w 1414"/>
                <a:gd name="T37" fmla="*/ 829 h 935"/>
                <a:gd name="T38" fmla="*/ 93 w 1414"/>
                <a:gd name="T39" fmla="*/ 850 h 935"/>
                <a:gd name="T40" fmla="*/ 134 w 1414"/>
                <a:gd name="T41" fmla="*/ 840 h 935"/>
                <a:gd name="T42" fmla="*/ 468 w 1414"/>
                <a:gd name="T43" fmla="*/ 824 h 935"/>
                <a:gd name="T44" fmla="*/ 566 w 1414"/>
                <a:gd name="T45" fmla="*/ 842 h 935"/>
                <a:gd name="T46" fmla="*/ 596 w 1414"/>
                <a:gd name="T47" fmla="*/ 888 h 935"/>
                <a:gd name="T48" fmla="*/ 628 w 1414"/>
                <a:gd name="T49" fmla="*/ 867 h 935"/>
                <a:gd name="T50" fmla="*/ 701 w 1414"/>
                <a:gd name="T51" fmla="*/ 935 h 935"/>
                <a:gd name="T52" fmla="*/ 741 w 1414"/>
                <a:gd name="T53" fmla="*/ 886 h 935"/>
                <a:gd name="T54" fmla="*/ 702 w 1414"/>
                <a:gd name="T55" fmla="*/ 750 h 935"/>
                <a:gd name="T56" fmla="*/ 725 w 1414"/>
                <a:gd name="T57" fmla="*/ 694 h 935"/>
                <a:gd name="T58" fmla="*/ 877 w 1414"/>
                <a:gd name="T59" fmla="*/ 694 h 935"/>
                <a:gd name="T60" fmla="*/ 930 w 1414"/>
                <a:gd name="T61" fmla="*/ 650 h 935"/>
                <a:gd name="T62" fmla="*/ 951 w 1414"/>
                <a:gd name="T63" fmla="*/ 607 h 935"/>
                <a:gd name="T64" fmla="*/ 953 w 1414"/>
                <a:gd name="T65" fmla="*/ 553 h 935"/>
                <a:gd name="T66" fmla="*/ 1015 w 1414"/>
                <a:gd name="T67" fmla="*/ 422 h 935"/>
                <a:gd name="T68" fmla="*/ 1064 w 1414"/>
                <a:gd name="T69" fmla="*/ 386 h 935"/>
                <a:gd name="T70" fmla="*/ 1143 w 1414"/>
                <a:gd name="T71" fmla="*/ 463 h 935"/>
                <a:gd name="T72" fmla="*/ 1414 w 1414"/>
                <a:gd name="T73" fmla="*/ 217 h 935"/>
                <a:gd name="T74" fmla="*/ 1414 w 1414"/>
                <a:gd name="T75" fmla="*/ 217 h 93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414" h="935">
                  <a:moveTo>
                    <a:pt x="1414" y="217"/>
                  </a:moveTo>
                  <a:cubicBezTo>
                    <a:pt x="1364" y="107"/>
                    <a:pt x="1364" y="107"/>
                    <a:pt x="1364" y="107"/>
                  </a:cubicBezTo>
                  <a:cubicBezTo>
                    <a:pt x="1286" y="27"/>
                    <a:pt x="1286" y="27"/>
                    <a:pt x="1286" y="27"/>
                  </a:cubicBezTo>
                  <a:cubicBezTo>
                    <a:pt x="1180" y="16"/>
                    <a:pt x="1180" y="16"/>
                    <a:pt x="1180" y="16"/>
                  </a:cubicBezTo>
                  <a:cubicBezTo>
                    <a:pt x="1180" y="13"/>
                    <a:pt x="1180" y="13"/>
                    <a:pt x="1180" y="13"/>
                  </a:cubicBezTo>
                  <a:cubicBezTo>
                    <a:pt x="989" y="3"/>
                    <a:pt x="989" y="3"/>
                    <a:pt x="989" y="3"/>
                  </a:cubicBezTo>
                  <a:cubicBezTo>
                    <a:pt x="980" y="0"/>
                    <a:pt x="980" y="0"/>
                    <a:pt x="980" y="0"/>
                  </a:cubicBezTo>
                  <a:cubicBezTo>
                    <a:pt x="860" y="155"/>
                    <a:pt x="860" y="155"/>
                    <a:pt x="860" y="155"/>
                  </a:cubicBezTo>
                  <a:cubicBezTo>
                    <a:pt x="805" y="113"/>
                    <a:pt x="805" y="113"/>
                    <a:pt x="805" y="113"/>
                  </a:cubicBezTo>
                  <a:cubicBezTo>
                    <a:pt x="595" y="270"/>
                    <a:pt x="595" y="270"/>
                    <a:pt x="595" y="270"/>
                  </a:cubicBezTo>
                  <a:cubicBezTo>
                    <a:pt x="578" y="375"/>
                    <a:pt x="578" y="375"/>
                    <a:pt x="578" y="375"/>
                  </a:cubicBezTo>
                  <a:cubicBezTo>
                    <a:pt x="273" y="411"/>
                    <a:pt x="273" y="411"/>
                    <a:pt x="273" y="411"/>
                  </a:cubicBezTo>
                  <a:cubicBezTo>
                    <a:pt x="138" y="527"/>
                    <a:pt x="138" y="527"/>
                    <a:pt x="138" y="527"/>
                  </a:cubicBezTo>
                  <a:cubicBezTo>
                    <a:pt x="44" y="666"/>
                    <a:pt x="44" y="666"/>
                    <a:pt x="44" y="666"/>
                  </a:cubicBezTo>
                  <a:cubicBezTo>
                    <a:pt x="0" y="672"/>
                    <a:pt x="0" y="672"/>
                    <a:pt x="0" y="672"/>
                  </a:cubicBezTo>
                  <a:cubicBezTo>
                    <a:pt x="0" y="672"/>
                    <a:pt x="0" y="672"/>
                    <a:pt x="0" y="672"/>
                  </a:cubicBezTo>
                  <a:cubicBezTo>
                    <a:pt x="0" y="672"/>
                    <a:pt x="0" y="672"/>
                    <a:pt x="0" y="672"/>
                  </a:cubicBezTo>
                  <a:cubicBezTo>
                    <a:pt x="2" y="690"/>
                    <a:pt x="2" y="690"/>
                    <a:pt x="2" y="690"/>
                  </a:cubicBezTo>
                  <a:cubicBezTo>
                    <a:pt x="98" y="829"/>
                    <a:pt x="98" y="829"/>
                    <a:pt x="98" y="829"/>
                  </a:cubicBezTo>
                  <a:cubicBezTo>
                    <a:pt x="93" y="850"/>
                    <a:pt x="93" y="850"/>
                    <a:pt x="93" y="850"/>
                  </a:cubicBezTo>
                  <a:cubicBezTo>
                    <a:pt x="134" y="840"/>
                    <a:pt x="134" y="840"/>
                    <a:pt x="134" y="840"/>
                  </a:cubicBezTo>
                  <a:cubicBezTo>
                    <a:pt x="209" y="896"/>
                    <a:pt x="320" y="890"/>
                    <a:pt x="468" y="824"/>
                  </a:cubicBezTo>
                  <a:cubicBezTo>
                    <a:pt x="566" y="842"/>
                    <a:pt x="566" y="842"/>
                    <a:pt x="566" y="842"/>
                  </a:cubicBezTo>
                  <a:cubicBezTo>
                    <a:pt x="596" y="888"/>
                    <a:pt x="596" y="888"/>
                    <a:pt x="596" y="888"/>
                  </a:cubicBezTo>
                  <a:cubicBezTo>
                    <a:pt x="628" y="867"/>
                    <a:pt x="628" y="867"/>
                    <a:pt x="628" y="867"/>
                  </a:cubicBezTo>
                  <a:cubicBezTo>
                    <a:pt x="701" y="935"/>
                    <a:pt x="701" y="935"/>
                    <a:pt x="701" y="935"/>
                  </a:cubicBezTo>
                  <a:cubicBezTo>
                    <a:pt x="741" y="886"/>
                    <a:pt x="741" y="886"/>
                    <a:pt x="741" y="886"/>
                  </a:cubicBezTo>
                  <a:cubicBezTo>
                    <a:pt x="702" y="750"/>
                    <a:pt x="702" y="750"/>
                    <a:pt x="702" y="750"/>
                  </a:cubicBezTo>
                  <a:cubicBezTo>
                    <a:pt x="725" y="694"/>
                    <a:pt x="725" y="694"/>
                    <a:pt x="725" y="694"/>
                  </a:cubicBezTo>
                  <a:cubicBezTo>
                    <a:pt x="877" y="694"/>
                    <a:pt x="877" y="694"/>
                    <a:pt x="877" y="694"/>
                  </a:cubicBezTo>
                  <a:cubicBezTo>
                    <a:pt x="930" y="650"/>
                    <a:pt x="930" y="650"/>
                    <a:pt x="930" y="650"/>
                  </a:cubicBezTo>
                  <a:cubicBezTo>
                    <a:pt x="951" y="607"/>
                    <a:pt x="951" y="607"/>
                    <a:pt x="951" y="607"/>
                  </a:cubicBezTo>
                  <a:cubicBezTo>
                    <a:pt x="953" y="553"/>
                    <a:pt x="953" y="553"/>
                    <a:pt x="953" y="553"/>
                  </a:cubicBezTo>
                  <a:cubicBezTo>
                    <a:pt x="1015" y="422"/>
                    <a:pt x="1015" y="422"/>
                    <a:pt x="1015" y="422"/>
                  </a:cubicBezTo>
                  <a:cubicBezTo>
                    <a:pt x="1064" y="386"/>
                    <a:pt x="1064" y="386"/>
                    <a:pt x="1064" y="386"/>
                  </a:cubicBezTo>
                  <a:cubicBezTo>
                    <a:pt x="1143" y="463"/>
                    <a:pt x="1143" y="463"/>
                    <a:pt x="1143" y="463"/>
                  </a:cubicBezTo>
                  <a:cubicBezTo>
                    <a:pt x="1414" y="217"/>
                    <a:pt x="1414" y="217"/>
                    <a:pt x="1414" y="217"/>
                  </a:cubicBezTo>
                  <a:cubicBezTo>
                    <a:pt x="1414" y="217"/>
                    <a:pt x="1414" y="217"/>
                    <a:pt x="1414" y="217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1" name="Freeform 141"/>
            <p:cNvSpPr>
              <a:spLocks/>
            </p:cNvSpPr>
            <p:nvPr/>
          </p:nvSpPr>
          <p:spPr bwMode="auto">
            <a:xfrm>
              <a:off x="2278690" y="3131057"/>
              <a:ext cx="596916" cy="300363"/>
            </a:xfrm>
            <a:custGeom>
              <a:avLst/>
              <a:gdLst>
                <a:gd name="T0" fmla="*/ 654 w 1629"/>
                <a:gd name="T1" fmla="*/ 60 h 921"/>
                <a:gd name="T2" fmla="*/ 1038 w 1629"/>
                <a:gd name="T3" fmla="*/ 0 h 921"/>
                <a:gd name="T4" fmla="*/ 1065 w 1629"/>
                <a:gd name="T5" fmla="*/ 63 h 921"/>
                <a:gd name="T6" fmla="*/ 1128 w 1629"/>
                <a:gd name="T7" fmla="*/ 18 h 921"/>
                <a:gd name="T8" fmla="*/ 1336 w 1629"/>
                <a:gd name="T9" fmla="*/ 226 h 921"/>
                <a:gd name="T10" fmla="*/ 1378 w 1629"/>
                <a:gd name="T11" fmla="*/ 242 h 921"/>
                <a:gd name="T12" fmla="*/ 1346 w 1629"/>
                <a:gd name="T13" fmla="*/ 279 h 921"/>
                <a:gd name="T14" fmla="*/ 1399 w 1629"/>
                <a:gd name="T15" fmla="*/ 342 h 921"/>
                <a:gd name="T16" fmla="*/ 1425 w 1629"/>
                <a:gd name="T17" fmla="*/ 323 h 921"/>
                <a:gd name="T18" fmla="*/ 1504 w 1629"/>
                <a:gd name="T19" fmla="*/ 392 h 921"/>
                <a:gd name="T20" fmla="*/ 1563 w 1629"/>
                <a:gd name="T21" fmla="*/ 487 h 921"/>
                <a:gd name="T22" fmla="*/ 1519 w 1629"/>
                <a:gd name="T23" fmla="*/ 547 h 921"/>
                <a:gd name="T24" fmla="*/ 1629 w 1629"/>
                <a:gd name="T25" fmla="*/ 618 h 921"/>
                <a:gd name="T26" fmla="*/ 1604 w 1629"/>
                <a:gd name="T27" fmla="*/ 663 h 921"/>
                <a:gd name="T28" fmla="*/ 1588 w 1629"/>
                <a:gd name="T29" fmla="*/ 639 h 921"/>
                <a:gd name="T30" fmla="*/ 1520 w 1629"/>
                <a:gd name="T31" fmla="*/ 618 h 921"/>
                <a:gd name="T32" fmla="*/ 1512 w 1629"/>
                <a:gd name="T33" fmla="*/ 639 h 921"/>
                <a:gd name="T34" fmla="*/ 1499 w 1629"/>
                <a:gd name="T35" fmla="*/ 639 h 921"/>
                <a:gd name="T36" fmla="*/ 1486 w 1629"/>
                <a:gd name="T37" fmla="*/ 634 h 921"/>
                <a:gd name="T38" fmla="*/ 1454 w 1629"/>
                <a:gd name="T39" fmla="*/ 650 h 921"/>
                <a:gd name="T40" fmla="*/ 1452 w 1629"/>
                <a:gd name="T41" fmla="*/ 634 h 921"/>
                <a:gd name="T42" fmla="*/ 1412 w 1629"/>
                <a:gd name="T43" fmla="*/ 642 h 921"/>
                <a:gd name="T44" fmla="*/ 1238 w 1629"/>
                <a:gd name="T45" fmla="*/ 558 h 921"/>
                <a:gd name="T46" fmla="*/ 1233 w 1629"/>
                <a:gd name="T47" fmla="*/ 576 h 921"/>
                <a:gd name="T48" fmla="*/ 1154 w 1629"/>
                <a:gd name="T49" fmla="*/ 523 h 921"/>
                <a:gd name="T50" fmla="*/ 1144 w 1629"/>
                <a:gd name="T51" fmla="*/ 602 h 921"/>
                <a:gd name="T52" fmla="*/ 1025 w 1629"/>
                <a:gd name="T53" fmla="*/ 605 h 921"/>
                <a:gd name="T54" fmla="*/ 986 w 1629"/>
                <a:gd name="T55" fmla="*/ 679 h 921"/>
                <a:gd name="T56" fmla="*/ 978 w 1629"/>
                <a:gd name="T57" fmla="*/ 687 h 921"/>
                <a:gd name="T58" fmla="*/ 954 w 1629"/>
                <a:gd name="T59" fmla="*/ 688 h 921"/>
                <a:gd name="T60" fmla="*/ 951 w 1629"/>
                <a:gd name="T61" fmla="*/ 684 h 921"/>
                <a:gd name="T62" fmla="*/ 878 w 1629"/>
                <a:gd name="T63" fmla="*/ 655 h 921"/>
                <a:gd name="T64" fmla="*/ 851 w 1629"/>
                <a:gd name="T65" fmla="*/ 652 h 921"/>
                <a:gd name="T66" fmla="*/ 678 w 1629"/>
                <a:gd name="T67" fmla="*/ 697 h 921"/>
                <a:gd name="T68" fmla="*/ 604 w 1629"/>
                <a:gd name="T69" fmla="*/ 758 h 921"/>
                <a:gd name="T70" fmla="*/ 488 w 1629"/>
                <a:gd name="T71" fmla="*/ 860 h 921"/>
                <a:gd name="T72" fmla="*/ 391 w 1629"/>
                <a:gd name="T73" fmla="*/ 910 h 921"/>
                <a:gd name="T74" fmla="*/ 254 w 1629"/>
                <a:gd name="T75" fmla="*/ 918 h 921"/>
                <a:gd name="T76" fmla="*/ 198 w 1629"/>
                <a:gd name="T77" fmla="*/ 894 h 921"/>
                <a:gd name="T78" fmla="*/ 138 w 1629"/>
                <a:gd name="T79" fmla="*/ 839 h 921"/>
                <a:gd name="T80" fmla="*/ 36 w 1629"/>
                <a:gd name="T81" fmla="*/ 573 h 921"/>
                <a:gd name="T82" fmla="*/ 0 w 1629"/>
                <a:gd name="T83" fmla="*/ 503 h 921"/>
                <a:gd name="T84" fmla="*/ 115 w 1629"/>
                <a:gd name="T85" fmla="*/ 418 h 921"/>
                <a:gd name="T86" fmla="*/ 114 w 1629"/>
                <a:gd name="T87" fmla="*/ 418 h 921"/>
                <a:gd name="T88" fmla="*/ 125 w 1629"/>
                <a:gd name="T89" fmla="*/ 411 h 921"/>
                <a:gd name="T90" fmla="*/ 153 w 1629"/>
                <a:gd name="T91" fmla="*/ 467 h 921"/>
                <a:gd name="T92" fmla="*/ 278 w 1629"/>
                <a:gd name="T93" fmla="*/ 378 h 921"/>
                <a:gd name="T94" fmla="*/ 400 w 1629"/>
                <a:gd name="T95" fmla="*/ 170 h 921"/>
                <a:gd name="T96" fmla="*/ 550 w 1629"/>
                <a:gd name="T97" fmla="*/ 75 h 921"/>
                <a:gd name="T98" fmla="*/ 653 w 1629"/>
                <a:gd name="T99" fmla="*/ 61 h 921"/>
                <a:gd name="T100" fmla="*/ 653 w 1629"/>
                <a:gd name="T101" fmla="*/ 60 h 921"/>
                <a:gd name="T102" fmla="*/ 654 w 1629"/>
                <a:gd name="T103" fmla="*/ 60 h 921"/>
                <a:gd name="T104" fmla="*/ 654 w 1629"/>
                <a:gd name="T105" fmla="*/ 60 h 9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1629" h="921">
                  <a:moveTo>
                    <a:pt x="654" y="60"/>
                  </a:moveTo>
                  <a:cubicBezTo>
                    <a:pt x="1038" y="0"/>
                    <a:pt x="1038" y="0"/>
                    <a:pt x="1038" y="0"/>
                  </a:cubicBezTo>
                  <a:cubicBezTo>
                    <a:pt x="1065" y="63"/>
                    <a:pt x="1065" y="63"/>
                    <a:pt x="1065" y="63"/>
                  </a:cubicBezTo>
                  <a:cubicBezTo>
                    <a:pt x="1128" y="18"/>
                    <a:pt x="1128" y="18"/>
                    <a:pt x="1128" y="18"/>
                  </a:cubicBezTo>
                  <a:cubicBezTo>
                    <a:pt x="1336" y="226"/>
                    <a:pt x="1336" y="226"/>
                    <a:pt x="1336" y="226"/>
                  </a:cubicBezTo>
                  <a:cubicBezTo>
                    <a:pt x="1378" y="242"/>
                    <a:pt x="1378" y="242"/>
                    <a:pt x="1378" y="242"/>
                  </a:cubicBezTo>
                  <a:cubicBezTo>
                    <a:pt x="1346" y="279"/>
                    <a:pt x="1346" y="279"/>
                    <a:pt x="1346" y="279"/>
                  </a:cubicBezTo>
                  <a:cubicBezTo>
                    <a:pt x="1399" y="342"/>
                    <a:pt x="1399" y="342"/>
                    <a:pt x="1399" y="342"/>
                  </a:cubicBezTo>
                  <a:cubicBezTo>
                    <a:pt x="1425" y="323"/>
                    <a:pt x="1425" y="323"/>
                    <a:pt x="1425" y="323"/>
                  </a:cubicBezTo>
                  <a:cubicBezTo>
                    <a:pt x="1504" y="392"/>
                    <a:pt x="1504" y="392"/>
                    <a:pt x="1504" y="392"/>
                  </a:cubicBezTo>
                  <a:cubicBezTo>
                    <a:pt x="1563" y="487"/>
                    <a:pt x="1563" y="487"/>
                    <a:pt x="1563" y="487"/>
                  </a:cubicBezTo>
                  <a:cubicBezTo>
                    <a:pt x="1539" y="518"/>
                    <a:pt x="1558" y="497"/>
                    <a:pt x="1519" y="547"/>
                  </a:cubicBezTo>
                  <a:cubicBezTo>
                    <a:pt x="1629" y="618"/>
                    <a:pt x="1629" y="618"/>
                    <a:pt x="1629" y="618"/>
                  </a:cubicBezTo>
                  <a:cubicBezTo>
                    <a:pt x="1604" y="663"/>
                    <a:pt x="1604" y="663"/>
                    <a:pt x="1604" y="663"/>
                  </a:cubicBezTo>
                  <a:cubicBezTo>
                    <a:pt x="1588" y="639"/>
                    <a:pt x="1588" y="639"/>
                    <a:pt x="1588" y="639"/>
                  </a:cubicBezTo>
                  <a:cubicBezTo>
                    <a:pt x="1520" y="618"/>
                    <a:pt x="1520" y="618"/>
                    <a:pt x="1520" y="618"/>
                  </a:cubicBezTo>
                  <a:cubicBezTo>
                    <a:pt x="1512" y="639"/>
                    <a:pt x="1512" y="639"/>
                    <a:pt x="1512" y="639"/>
                  </a:cubicBezTo>
                  <a:cubicBezTo>
                    <a:pt x="1499" y="639"/>
                    <a:pt x="1499" y="639"/>
                    <a:pt x="1499" y="639"/>
                  </a:cubicBezTo>
                  <a:cubicBezTo>
                    <a:pt x="1486" y="634"/>
                    <a:pt x="1486" y="634"/>
                    <a:pt x="1486" y="634"/>
                  </a:cubicBezTo>
                  <a:cubicBezTo>
                    <a:pt x="1454" y="650"/>
                    <a:pt x="1454" y="650"/>
                    <a:pt x="1454" y="650"/>
                  </a:cubicBezTo>
                  <a:cubicBezTo>
                    <a:pt x="1452" y="634"/>
                    <a:pt x="1452" y="634"/>
                    <a:pt x="1452" y="634"/>
                  </a:cubicBezTo>
                  <a:cubicBezTo>
                    <a:pt x="1412" y="642"/>
                    <a:pt x="1412" y="642"/>
                    <a:pt x="1412" y="642"/>
                  </a:cubicBezTo>
                  <a:cubicBezTo>
                    <a:pt x="1238" y="558"/>
                    <a:pt x="1238" y="558"/>
                    <a:pt x="1238" y="558"/>
                  </a:cubicBezTo>
                  <a:cubicBezTo>
                    <a:pt x="1233" y="576"/>
                    <a:pt x="1233" y="576"/>
                    <a:pt x="1233" y="576"/>
                  </a:cubicBezTo>
                  <a:cubicBezTo>
                    <a:pt x="1154" y="523"/>
                    <a:pt x="1154" y="523"/>
                    <a:pt x="1154" y="523"/>
                  </a:cubicBezTo>
                  <a:cubicBezTo>
                    <a:pt x="1144" y="602"/>
                    <a:pt x="1144" y="602"/>
                    <a:pt x="1144" y="602"/>
                  </a:cubicBezTo>
                  <a:cubicBezTo>
                    <a:pt x="1025" y="605"/>
                    <a:pt x="1025" y="605"/>
                    <a:pt x="1025" y="605"/>
                  </a:cubicBezTo>
                  <a:cubicBezTo>
                    <a:pt x="986" y="679"/>
                    <a:pt x="986" y="679"/>
                    <a:pt x="986" y="679"/>
                  </a:cubicBezTo>
                  <a:cubicBezTo>
                    <a:pt x="978" y="687"/>
                    <a:pt x="978" y="687"/>
                    <a:pt x="978" y="687"/>
                  </a:cubicBezTo>
                  <a:cubicBezTo>
                    <a:pt x="954" y="688"/>
                    <a:pt x="954" y="688"/>
                    <a:pt x="954" y="688"/>
                  </a:cubicBezTo>
                  <a:cubicBezTo>
                    <a:pt x="953" y="687"/>
                    <a:pt x="952" y="685"/>
                    <a:pt x="951" y="684"/>
                  </a:cubicBezTo>
                  <a:cubicBezTo>
                    <a:pt x="944" y="671"/>
                    <a:pt x="906" y="660"/>
                    <a:pt x="878" y="655"/>
                  </a:cubicBezTo>
                  <a:cubicBezTo>
                    <a:pt x="869" y="653"/>
                    <a:pt x="860" y="651"/>
                    <a:pt x="851" y="652"/>
                  </a:cubicBezTo>
                  <a:cubicBezTo>
                    <a:pt x="792" y="653"/>
                    <a:pt x="733" y="667"/>
                    <a:pt x="678" y="697"/>
                  </a:cubicBezTo>
                  <a:cubicBezTo>
                    <a:pt x="648" y="710"/>
                    <a:pt x="628" y="737"/>
                    <a:pt x="604" y="758"/>
                  </a:cubicBezTo>
                  <a:cubicBezTo>
                    <a:pt x="565" y="791"/>
                    <a:pt x="530" y="830"/>
                    <a:pt x="488" y="860"/>
                  </a:cubicBezTo>
                  <a:cubicBezTo>
                    <a:pt x="458" y="882"/>
                    <a:pt x="426" y="902"/>
                    <a:pt x="391" y="910"/>
                  </a:cubicBezTo>
                  <a:cubicBezTo>
                    <a:pt x="346" y="921"/>
                    <a:pt x="300" y="919"/>
                    <a:pt x="254" y="918"/>
                  </a:cubicBezTo>
                  <a:cubicBezTo>
                    <a:pt x="232" y="918"/>
                    <a:pt x="215" y="909"/>
                    <a:pt x="198" y="894"/>
                  </a:cubicBezTo>
                  <a:cubicBezTo>
                    <a:pt x="138" y="839"/>
                    <a:pt x="138" y="839"/>
                    <a:pt x="138" y="839"/>
                  </a:cubicBezTo>
                  <a:cubicBezTo>
                    <a:pt x="138" y="839"/>
                    <a:pt x="70" y="659"/>
                    <a:pt x="36" y="573"/>
                  </a:cubicBezTo>
                  <a:cubicBezTo>
                    <a:pt x="2" y="488"/>
                    <a:pt x="0" y="503"/>
                    <a:pt x="0" y="503"/>
                  </a:cubicBezTo>
                  <a:cubicBezTo>
                    <a:pt x="115" y="418"/>
                    <a:pt x="115" y="418"/>
                    <a:pt x="115" y="418"/>
                  </a:cubicBezTo>
                  <a:cubicBezTo>
                    <a:pt x="114" y="418"/>
                    <a:pt x="114" y="418"/>
                    <a:pt x="114" y="418"/>
                  </a:cubicBezTo>
                  <a:cubicBezTo>
                    <a:pt x="125" y="411"/>
                    <a:pt x="125" y="411"/>
                    <a:pt x="125" y="411"/>
                  </a:cubicBezTo>
                  <a:cubicBezTo>
                    <a:pt x="153" y="467"/>
                    <a:pt x="153" y="467"/>
                    <a:pt x="153" y="467"/>
                  </a:cubicBezTo>
                  <a:cubicBezTo>
                    <a:pt x="278" y="378"/>
                    <a:pt x="278" y="378"/>
                    <a:pt x="278" y="378"/>
                  </a:cubicBezTo>
                  <a:cubicBezTo>
                    <a:pt x="400" y="170"/>
                    <a:pt x="400" y="170"/>
                    <a:pt x="400" y="170"/>
                  </a:cubicBezTo>
                  <a:cubicBezTo>
                    <a:pt x="550" y="75"/>
                    <a:pt x="550" y="75"/>
                    <a:pt x="550" y="75"/>
                  </a:cubicBezTo>
                  <a:cubicBezTo>
                    <a:pt x="653" y="61"/>
                    <a:pt x="653" y="61"/>
                    <a:pt x="653" y="61"/>
                  </a:cubicBezTo>
                  <a:cubicBezTo>
                    <a:pt x="653" y="60"/>
                    <a:pt x="653" y="60"/>
                    <a:pt x="653" y="60"/>
                  </a:cubicBezTo>
                  <a:cubicBezTo>
                    <a:pt x="654" y="60"/>
                    <a:pt x="654" y="60"/>
                    <a:pt x="654" y="60"/>
                  </a:cubicBezTo>
                  <a:cubicBezTo>
                    <a:pt x="654" y="60"/>
                    <a:pt x="654" y="60"/>
                    <a:pt x="654" y="60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2" name="Freeform 142"/>
            <p:cNvSpPr>
              <a:spLocks/>
            </p:cNvSpPr>
            <p:nvPr/>
          </p:nvSpPr>
          <p:spPr bwMode="auto">
            <a:xfrm>
              <a:off x="2435889" y="3370762"/>
              <a:ext cx="435320" cy="441251"/>
            </a:xfrm>
            <a:custGeom>
              <a:avLst/>
              <a:gdLst>
                <a:gd name="T0" fmla="*/ 605 w 1190"/>
                <a:gd name="T1" fmla="*/ 1088 h 1353"/>
                <a:gd name="T2" fmla="*/ 664 w 1190"/>
                <a:gd name="T3" fmla="*/ 1046 h 1353"/>
                <a:gd name="T4" fmla="*/ 842 w 1190"/>
                <a:gd name="T5" fmla="*/ 788 h 1353"/>
                <a:gd name="T6" fmla="*/ 927 w 1190"/>
                <a:gd name="T7" fmla="*/ 585 h 1353"/>
                <a:gd name="T8" fmla="*/ 957 w 1190"/>
                <a:gd name="T9" fmla="*/ 523 h 1353"/>
                <a:gd name="T10" fmla="*/ 1005 w 1190"/>
                <a:gd name="T11" fmla="*/ 454 h 1353"/>
                <a:gd name="T12" fmla="*/ 1066 w 1190"/>
                <a:gd name="T13" fmla="*/ 402 h 1353"/>
                <a:gd name="T14" fmla="*/ 1096 w 1190"/>
                <a:gd name="T15" fmla="*/ 368 h 1353"/>
                <a:gd name="T16" fmla="*/ 1124 w 1190"/>
                <a:gd name="T17" fmla="*/ 235 h 1353"/>
                <a:gd name="T18" fmla="*/ 1152 w 1190"/>
                <a:gd name="T19" fmla="*/ 169 h 1353"/>
                <a:gd name="T20" fmla="*/ 1190 w 1190"/>
                <a:gd name="T21" fmla="*/ 119 h 1353"/>
                <a:gd name="T22" fmla="*/ 1163 w 1190"/>
                <a:gd name="T23" fmla="*/ 57 h 1353"/>
                <a:gd name="T24" fmla="*/ 1141 w 1190"/>
                <a:gd name="T25" fmla="*/ 26 h 1353"/>
                <a:gd name="T26" fmla="*/ 1054 w 1190"/>
                <a:gd name="T27" fmla="*/ 0 h 1353"/>
                <a:gd name="T28" fmla="*/ 1031 w 1190"/>
                <a:gd name="T29" fmla="*/ 65 h 1353"/>
                <a:gd name="T30" fmla="*/ 987 w 1190"/>
                <a:gd name="T31" fmla="*/ 59 h 1353"/>
                <a:gd name="T32" fmla="*/ 983 w 1190"/>
                <a:gd name="T33" fmla="*/ 113 h 1353"/>
                <a:gd name="T34" fmla="*/ 908 w 1190"/>
                <a:gd name="T35" fmla="*/ 93 h 1353"/>
                <a:gd name="T36" fmla="*/ 759 w 1190"/>
                <a:gd name="T37" fmla="*/ 131 h 1353"/>
                <a:gd name="T38" fmla="*/ 770 w 1190"/>
                <a:gd name="T39" fmla="*/ 162 h 1353"/>
                <a:gd name="T40" fmla="*/ 727 w 1190"/>
                <a:gd name="T41" fmla="*/ 179 h 1353"/>
                <a:gd name="T42" fmla="*/ 714 w 1190"/>
                <a:gd name="T43" fmla="*/ 141 h 1353"/>
                <a:gd name="T44" fmla="*/ 661 w 1190"/>
                <a:gd name="T45" fmla="*/ 130 h 1353"/>
                <a:gd name="T46" fmla="*/ 550 w 1190"/>
                <a:gd name="T47" fmla="*/ 164 h 1353"/>
                <a:gd name="T48" fmla="*/ 550 w 1190"/>
                <a:gd name="T49" fmla="*/ 165 h 1353"/>
                <a:gd name="T50" fmla="*/ 444 w 1190"/>
                <a:gd name="T51" fmla="*/ 397 h 1353"/>
                <a:gd name="T52" fmla="*/ 342 w 1190"/>
                <a:gd name="T53" fmla="*/ 504 h 1353"/>
                <a:gd name="T54" fmla="*/ 110 w 1190"/>
                <a:gd name="T55" fmla="*/ 668 h 1353"/>
                <a:gd name="T56" fmla="*/ 110 w 1190"/>
                <a:gd name="T57" fmla="*/ 667 h 1353"/>
                <a:gd name="T58" fmla="*/ 71 w 1190"/>
                <a:gd name="T59" fmla="*/ 704 h 1353"/>
                <a:gd name="T60" fmla="*/ 8 w 1190"/>
                <a:gd name="T61" fmla="*/ 842 h 1353"/>
                <a:gd name="T62" fmla="*/ 14 w 1190"/>
                <a:gd name="T63" fmla="*/ 980 h 1353"/>
                <a:gd name="T64" fmla="*/ 313 w 1190"/>
                <a:gd name="T65" fmla="*/ 1197 h 1353"/>
                <a:gd name="T66" fmla="*/ 193 w 1190"/>
                <a:gd name="T67" fmla="*/ 1353 h 1353"/>
                <a:gd name="T68" fmla="*/ 312 w 1190"/>
                <a:gd name="T69" fmla="*/ 1197 h 1353"/>
                <a:gd name="T70" fmla="*/ 603 w 1190"/>
                <a:gd name="T71" fmla="*/ 1086 h 1353"/>
                <a:gd name="T72" fmla="*/ 605 w 1190"/>
                <a:gd name="T73" fmla="*/ 1088 h 1353"/>
                <a:gd name="T74" fmla="*/ 605 w 1190"/>
                <a:gd name="T75" fmla="*/ 1088 h 1353"/>
                <a:gd name="T76" fmla="*/ 605 w 1190"/>
                <a:gd name="T77" fmla="*/ 1088 h 13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</a:cxnLst>
              <a:rect l="0" t="0" r="r" b="b"/>
              <a:pathLst>
                <a:path w="1190" h="1353">
                  <a:moveTo>
                    <a:pt x="605" y="1088"/>
                  </a:moveTo>
                  <a:cubicBezTo>
                    <a:pt x="664" y="1046"/>
                    <a:pt x="664" y="1046"/>
                    <a:pt x="664" y="1046"/>
                  </a:cubicBezTo>
                  <a:cubicBezTo>
                    <a:pt x="842" y="788"/>
                    <a:pt x="842" y="788"/>
                    <a:pt x="842" y="788"/>
                  </a:cubicBezTo>
                  <a:cubicBezTo>
                    <a:pt x="927" y="585"/>
                    <a:pt x="927" y="585"/>
                    <a:pt x="927" y="585"/>
                  </a:cubicBezTo>
                  <a:cubicBezTo>
                    <a:pt x="957" y="523"/>
                    <a:pt x="957" y="523"/>
                    <a:pt x="957" y="523"/>
                  </a:cubicBezTo>
                  <a:cubicBezTo>
                    <a:pt x="1005" y="454"/>
                    <a:pt x="1005" y="454"/>
                    <a:pt x="1005" y="454"/>
                  </a:cubicBezTo>
                  <a:cubicBezTo>
                    <a:pt x="1066" y="402"/>
                    <a:pt x="1066" y="402"/>
                    <a:pt x="1066" y="402"/>
                  </a:cubicBezTo>
                  <a:cubicBezTo>
                    <a:pt x="1096" y="368"/>
                    <a:pt x="1096" y="368"/>
                    <a:pt x="1096" y="368"/>
                  </a:cubicBezTo>
                  <a:cubicBezTo>
                    <a:pt x="1124" y="235"/>
                    <a:pt x="1124" y="235"/>
                    <a:pt x="1124" y="235"/>
                  </a:cubicBezTo>
                  <a:cubicBezTo>
                    <a:pt x="1152" y="169"/>
                    <a:pt x="1152" y="169"/>
                    <a:pt x="1152" y="169"/>
                  </a:cubicBezTo>
                  <a:cubicBezTo>
                    <a:pt x="1190" y="119"/>
                    <a:pt x="1190" y="119"/>
                    <a:pt x="1190" y="119"/>
                  </a:cubicBezTo>
                  <a:cubicBezTo>
                    <a:pt x="1163" y="57"/>
                    <a:pt x="1163" y="57"/>
                    <a:pt x="1163" y="57"/>
                  </a:cubicBezTo>
                  <a:cubicBezTo>
                    <a:pt x="1141" y="26"/>
                    <a:pt x="1141" y="26"/>
                    <a:pt x="1141" y="26"/>
                  </a:cubicBezTo>
                  <a:cubicBezTo>
                    <a:pt x="1054" y="0"/>
                    <a:pt x="1054" y="0"/>
                    <a:pt x="1054" y="0"/>
                  </a:cubicBezTo>
                  <a:cubicBezTo>
                    <a:pt x="1031" y="65"/>
                    <a:pt x="1031" y="65"/>
                    <a:pt x="1031" y="65"/>
                  </a:cubicBezTo>
                  <a:cubicBezTo>
                    <a:pt x="987" y="59"/>
                    <a:pt x="987" y="59"/>
                    <a:pt x="987" y="59"/>
                  </a:cubicBezTo>
                  <a:cubicBezTo>
                    <a:pt x="983" y="113"/>
                    <a:pt x="983" y="113"/>
                    <a:pt x="983" y="113"/>
                  </a:cubicBezTo>
                  <a:cubicBezTo>
                    <a:pt x="908" y="93"/>
                    <a:pt x="908" y="93"/>
                    <a:pt x="908" y="93"/>
                  </a:cubicBezTo>
                  <a:cubicBezTo>
                    <a:pt x="759" y="131"/>
                    <a:pt x="759" y="131"/>
                    <a:pt x="759" y="131"/>
                  </a:cubicBezTo>
                  <a:cubicBezTo>
                    <a:pt x="770" y="162"/>
                    <a:pt x="770" y="162"/>
                    <a:pt x="770" y="162"/>
                  </a:cubicBezTo>
                  <a:cubicBezTo>
                    <a:pt x="727" y="179"/>
                    <a:pt x="727" y="179"/>
                    <a:pt x="727" y="179"/>
                  </a:cubicBezTo>
                  <a:cubicBezTo>
                    <a:pt x="714" y="141"/>
                    <a:pt x="714" y="141"/>
                    <a:pt x="714" y="141"/>
                  </a:cubicBezTo>
                  <a:cubicBezTo>
                    <a:pt x="661" y="130"/>
                    <a:pt x="661" y="130"/>
                    <a:pt x="661" y="130"/>
                  </a:cubicBezTo>
                  <a:cubicBezTo>
                    <a:pt x="550" y="164"/>
                    <a:pt x="550" y="164"/>
                    <a:pt x="550" y="164"/>
                  </a:cubicBezTo>
                  <a:cubicBezTo>
                    <a:pt x="550" y="164"/>
                    <a:pt x="550" y="165"/>
                    <a:pt x="550" y="165"/>
                  </a:cubicBezTo>
                  <a:cubicBezTo>
                    <a:pt x="519" y="244"/>
                    <a:pt x="489" y="324"/>
                    <a:pt x="444" y="397"/>
                  </a:cubicBezTo>
                  <a:cubicBezTo>
                    <a:pt x="419" y="439"/>
                    <a:pt x="382" y="476"/>
                    <a:pt x="342" y="504"/>
                  </a:cubicBezTo>
                  <a:cubicBezTo>
                    <a:pt x="110" y="668"/>
                    <a:pt x="110" y="668"/>
                    <a:pt x="110" y="668"/>
                  </a:cubicBezTo>
                  <a:cubicBezTo>
                    <a:pt x="110" y="667"/>
                    <a:pt x="110" y="667"/>
                    <a:pt x="110" y="667"/>
                  </a:cubicBezTo>
                  <a:cubicBezTo>
                    <a:pt x="71" y="704"/>
                    <a:pt x="71" y="704"/>
                    <a:pt x="71" y="704"/>
                  </a:cubicBezTo>
                  <a:cubicBezTo>
                    <a:pt x="35" y="737"/>
                    <a:pt x="16" y="793"/>
                    <a:pt x="8" y="842"/>
                  </a:cubicBezTo>
                  <a:cubicBezTo>
                    <a:pt x="0" y="887"/>
                    <a:pt x="2" y="936"/>
                    <a:pt x="14" y="980"/>
                  </a:cubicBezTo>
                  <a:cubicBezTo>
                    <a:pt x="57" y="1128"/>
                    <a:pt x="177" y="1177"/>
                    <a:pt x="313" y="1197"/>
                  </a:cubicBezTo>
                  <a:cubicBezTo>
                    <a:pt x="193" y="1353"/>
                    <a:pt x="193" y="1353"/>
                    <a:pt x="193" y="1353"/>
                  </a:cubicBezTo>
                  <a:cubicBezTo>
                    <a:pt x="312" y="1197"/>
                    <a:pt x="312" y="1197"/>
                    <a:pt x="312" y="1197"/>
                  </a:cubicBezTo>
                  <a:cubicBezTo>
                    <a:pt x="409" y="1186"/>
                    <a:pt x="506" y="1150"/>
                    <a:pt x="603" y="1086"/>
                  </a:cubicBezTo>
                  <a:cubicBezTo>
                    <a:pt x="605" y="1088"/>
                    <a:pt x="605" y="1088"/>
                    <a:pt x="605" y="1088"/>
                  </a:cubicBezTo>
                  <a:cubicBezTo>
                    <a:pt x="605" y="1088"/>
                    <a:pt x="605" y="1088"/>
                    <a:pt x="605" y="1088"/>
                  </a:cubicBezTo>
                  <a:cubicBezTo>
                    <a:pt x="605" y="1088"/>
                    <a:pt x="605" y="1088"/>
                    <a:pt x="605" y="1088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3" name="Freeform 143"/>
            <p:cNvSpPr>
              <a:spLocks/>
            </p:cNvSpPr>
            <p:nvPr/>
          </p:nvSpPr>
          <p:spPr bwMode="auto">
            <a:xfrm>
              <a:off x="2628265" y="3301296"/>
              <a:ext cx="248439" cy="131103"/>
            </a:xfrm>
            <a:custGeom>
              <a:avLst/>
              <a:gdLst>
                <a:gd name="T0" fmla="*/ 643 w 679"/>
                <a:gd name="T1" fmla="*/ 159 h 401"/>
                <a:gd name="T2" fmla="*/ 618 w 679"/>
                <a:gd name="T3" fmla="*/ 244 h 401"/>
                <a:gd name="T4" fmla="*/ 528 w 679"/>
                <a:gd name="T5" fmla="*/ 214 h 401"/>
                <a:gd name="T6" fmla="*/ 505 w 679"/>
                <a:gd name="T7" fmla="*/ 277 h 401"/>
                <a:gd name="T8" fmla="*/ 461 w 679"/>
                <a:gd name="T9" fmla="*/ 271 h 401"/>
                <a:gd name="T10" fmla="*/ 457 w 679"/>
                <a:gd name="T11" fmla="*/ 325 h 401"/>
                <a:gd name="T12" fmla="*/ 382 w 679"/>
                <a:gd name="T13" fmla="*/ 305 h 401"/>
                <a:gd name="T14" fmla="*/ 230 w 679"/>
                <a:gd name="T15" fmla="*/ 347 h 401"/>
                <a:gd name="T16" fmla="*/ 256 w 679"/>
                <a:gd name="T17" fmla="*/ 386 h 401"/>
                <a:gd name="T18" fmla="*/ 194 w 679"/>
                <a:gd name="T19" fmla="*/ 401 h 401"/>
                <a:gd name="T20" fmla="*/ 183 w 679"/>
                <a:gd name="T21" fmla="*/ 359 h 401"/>
                <a:gd name="T22" fmla="*/ 136 w 679"/>
                <a:gd name="T23" fmla="*/ 343 h 401"/>
                <a:gd name="T24" fmla="*/ 24 w 679"/>
                <a:gd name="T25" fmla="*/ 376 h 401"/>
                <a:gd name="T26" fmla="*/ 26 w 679"/>
                <a:gd name="T27" fmla="*/ 327 h 401"/>
                <a:gd name="T28" fmla="*/ 17 w 679"/>
                <a:gd name="T29" fmla="*/ 243 h 401"/>
                <a:gd name="T30" fmla="*/ 0 w 679"/>
                <a:gd name="T31" fmla="*/ 165 h 401"/>
                <a:gd name="T32" fmla="*/ 24 w 679"/>
                <a:gd name="T33" fmla="*/ 164 h 401"/>
                <a:gd name="T34" fmla="*/ 32 w 679"/>
                <a:gd name="T35" fmla="*/ 156 h 401"/>
                <a:gd name="T36" fmla="*/ 71 w 679"/>
                <a:gd name="T37" fmla="*/ 82 h 401"/>
                <a:gd name="T38" fmla="*/ 190 w 679"/>
                <a:gd name="T39" fmla="*/ 79 h 401"/>
                <a:gd name="T40" fmla="*/ 200 w 679"/>
                <a:gd name="T41" fmla="*/ 0 h 401"/>
                <a:gd name="T42" fmla="*/ 279 w 679"/>
                <a:gd name="T43" fmla="*/ 53 h 401"/>
                <a:gd name="T44" fmla="*/ 284 w 679"/>
                <a:gd name="T45" fmla="*/ 35 h 401"/>
                <a:gd name="T46" fmla="*/ 445 w 679"/>
                <a:gd name="T47" fmla="*/ 97 h 401"/>
                <a:gd name="T48" fmla="*/ 501 w 679"/>
                <a:gd name="T49" fmla="*/ 97 h 401"/>
                <a:gd name="T50" fmla="*/ 506 w 679"/>
                <a:gd name="T51" fmla="*/ 111 h 401"/>
                <a:gd name="T52" fmla="*/ 524 w 679"/>
                <a:gd name="T53" fmla="*/ 97 h 401"/>
                <a:gd name="T54" fmla="*/ 567 w 679"/>
                <a:gd name="T55" fmla="*/ 93 h 401"/>
                <a:gd name="T56" fmla="*/ 585 w 679"/>
                <a:gd name="T57" fmla="*/ 36 h 401"/>
                <a:gd name="T58" fmla="*/ 679 w 679"/>
                <a:gd name="T59" fmla="*/ 89 h 401"/>
                <a:gd name="T60" fmla="*/ 643 w 679"/>
                <a:gd name="T61" fmla="*/ 159 h 40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679" h="401">
                  <a:moveTo>
                    <a:pt x="643" y="159"/>
                  </a:moveTo>
                  <a:cubicBezTo>
                    <a:pt x="618" y="244"/>
                    <a:pt x="618" y="244"/>
                    <a:pt x="618" y="244"/>
                  </a:cubicBezTo>
                  <a:cubicBezTo>
                    <a:pt x="528" y="214"/>
                    <a:pt x="528" y="214"/>
                    <a:pt x="528" y="214"/>
                  </a:cubicBezTo>
                  <a:cubicBezTo>
                    <a:pt x="505" y="277"/>
                    <a:pt x="505" y="277"/>
                    <a:pt x="505" y="277"/>
                  </a:cubicBezTo>
                  <a:cubicBezTo>
                    <a:pt x="461" y="271"/>
                    <a:pt x="461" y="271"/>
                    <a:pt x="461" y="271"/>
                  </a:cubicBezTo>
                  <a:cubicBezTo>
                    <a:pt x="457" y="325"/>
                    <a:pt x="457" y="325"/>
                    <a:pt x="457" y="325"/>
                  </a:cubicBezTo>
                  <a:cubicBezTo>
                    <a:pt x="382" y="305"/>
                    <a:pt x="382" y="305"/>
                    <a:pt x="382" y="305"/>
                  </a:cubicBezTo>
                  <a:cubicBezTo>
                    <a:pt x="230" y="347"/>
                    <a:pt x="230" y="347"/>
                    <a:pt x="230" y="347"/>
                  </a:cubicBezTo>
                  <a:cubicBezTo>
                    <a:pt x="256" y="386"/>
                    <a:pt x="256" y="386"/>
                    <a:pt x="256" y="386"/>
                  </a:cubicBezTo>
                  <a:cubicBezTo>
                    <a:pt x="194" y="401"/>
                    <a:pt x="194" y="401"/>
                    <a:pt x="194" y="401"/>
                  </a:cubicBezTo>
                  <a:cubicBezTo>
                    <a:pt x="183" y="359"/>
                    <a:pt x="183" y="359"/>
                    <a:pt x="183" y="359"/>
                  </a:cubicBezTo>
                  <a:cubicBezTo>
                    <a:pt x="136" y="343"/>
                    <a:pt x="136" y="343"/>
                    <a:pt x="136" y="343"/>
                  </a:cubicBezTo>
                  <a:cubicBezTo>
                    <a:pt x="24" y="376"/>
                    <a:pt x="24" y="376"/>
                    <a:pt x="24" y="376"/>
                  </a:cubicBezTo>
                  <a:cubicBezTo>
                    <a:pt x="30" y="360"/>
                    <a:pt x="27" y="343"/>
                    <a:pt x="26" y="327"/>
                  </a:cubicBezTo>
                  <a:cubicBezTo>
                    <a:pt x="25" y="299"/>
                    <a:pt x="22" y="270"/>
                    <a:pt x="17" y="243"/>
                  </a:cubicBezTo>
                  <a:cubicBezTo>
                    <a:pt x="13" y="217"/>
                    <a:pt x="11" y="189"/>
                    <a:pt x="0" y="165"/>
                  </a:cubicBezTo>
                  <a:cubicBezTo>
                    <a:pt x="24" y="164"/>
                    <a:pt x="24" y="164"/>
                    <a:pt x="24" y="164"/>
                  </a:cubicBezTo>
                  <a:cubicBezTo>
                    <a:pt x="32" y="156"/>
                    <a:pt x="32" y="156"/>
                    <a:pt x="32" y="156"/>
                  </a:cubicBezTo>
                  <a:cubicBezTo>
                    <a:pt x="71" y="82"/>
                    <a:pt x="71" y="82"/>
                    <a:pt x="71" y="82"/>
                  </a:cubicBezTo>
                  <a:cubicBezTo>
                    <a:pt x="190" y="79"/>
                    <a:pt x="190" y="79"/>
                    <a:pt x="190" y="79"/>
                  </a:cubicBezTo>
                  <a:cubicBezTo>
                    <a:pt x="200" y="0"/>
                    <a:pt x="200" y="0"/>
                    <a:pt x="200" y="0"/>
                  </a:cubicBezTo>
                  <a:cubicBezTo>
                    <a:pt x="279" y="53"/>
                    <a:pt x="279" y="53"/>
                    <a:pt x="279" y="53"/>
                  </a:cubicBezTo>
                  <a:cubicBezTo>
                    <a:pt x="284" y="35"/>
                    <a:pt x="284" y="35"/>
                    <a:pt x="284" y="35"/>
                  </a:cubicBezTo>
                  <a:cubicBezTo>
                    <a:pt x="445" y="97"/>
                    <a:pt x="445" y="97"/>
                    <a:pt x="445" y="97"/>
                  </a:cubicBezTo>
                  <a:cubicBezTo>
                    <a:pt x="501" y="97"/>
                    <a:pt x="501" y="97"/>
                    <a:pt x="501" y="97"/>
                  </a:cubicBezTo>
                  <a:cubicBezTo>
                    <a:pt x="506" y="111"/>
                    <a:pt x="506" y="111"/>
                    <a:pt x="506" y="111"/>
                  </a:cubicBezTo>
                  <a:cubicBezTo>
                    <a:pt x="524" y="97"/>
                    <a:pt x="524" y="97"/>
                    <a:pt x="524" y="97"/>
                  </a:cubicBezTo>
                  <a:cubicBezTo>
                    <a:pt x="567" y="93"/>
                    <a:pt x="567" y="93"/>
                    <a:pt x="567" y="93"/>
                  </a:cubicBezTo>
                  <a:cubicBezTo>
                    <a:pt x="585" y="36"/>
                    <a:pt x="585" y="36"/>
                    <a:pt x="585" y="36"/>
                  </a:cubicBezTo>
                  <a:cubicBezTo>
                    <a:pt x="679" y="89"/>
                    <a:pt x="679" y="89"/>
                    <a:pt x="679" y="89"/>
                  </a:cubicBezTo>
                  <a:cubicBezTo>
                    <a:pt x="643" y="159"/>
                    <a:pt x="643" y="159"/>
                    <a:pt x="643" y="159"/>
                  </a:cubicBezTo>
                  <a:close/>
                </a:path>
              </a:pathLst>
            </a:custGeom>
            <a:solidFill>
              <a:srgbClr val="F6E8AC"/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4" name="Freeform 144"/>
            <p:cNvSpPr>
              <a:spLocks/>
            </p:cNvSpPr>
            <p:nvPr/>
          </p:nvSpPr>
          <p:spPr bwMode="auto">
            <a:xfrm>
              <a:off x="2036845" y="5197401"/>
              <a:ext cx="802485" cy="673128"/>
            </a:xfrm>
            <a:custGeom>
              <a:avLst/>
              <a:gdLst>
                <a:gd name="T0" fmla="*/ 525 w 730"/>
                <a:gd name="T1" fmla="*/ 428 h 688"/>
                <a:gd name="T2" fmla="*/ 463 w 730"/>
                <a:gd name="T3" fmla="*/ 462 h 688"/>
                <a:gd name="T4" fmla="*/ 409 w 730"/>
                <a:gd name="T5" fmla="*/ 463 h 688"/>
                <a:gd name="T6" fmla="*/ 451 w 730"/>
                <a:gd name="T7" fmla="*/ 508 h 688"/>
                <a:gd name="T8" fmla="*/ 419 w 730"/>
                <a:gd name="T9" fmla="*/ 542 h 688"/>
                <a:gd name="T10" fmla="*/ 387 w 730"/>
                <a:gd name="T11" fmla="*/ 555 h 688"/>
                <a:gd name="T12" fmla="*/ 344 w 730"/>
                <a:gd name="T13" fmla="*/ 545 h 688"/>
                <a:gd name="T14" fmla="*/ 322 w 730"/>
                <a:gd name="T15" fmla="*/ 563 h 688"/>
                <a:gd name="T16" fmla="*/ 337 w 730"/>
                <a:gd name="T17" fmla="*/ 518 h 688"/>
                <a:gd name="T18" fmla="*/ 354 w 730"/>
                <a:gd name="T19" fmla="*/ 490 h 688"/>
                <a:gd name="T20" fmla="*/ 345 w 730"/>
                <a:gd name="T21" fmla="*/ 424 h 688"/>
                <a:gd name="T22" fmla="*/ 304 w 730"/>
                <a:gd name="T23" fmla="*/ 389 h 688"/>
                <a:gd name="T24" fmla="*/ 253 w 730"/>
                <a:gd name="T25" fmla="*/ 346 h 688"/>
                <a:gd name="T26" fmla="*/ 166 w 730"/>
                <a:gd name="T27" fmla="*/ 337 h 688"/>
                <a:gd name="T28" fmla="*/ 123 w 730"/>
                <a:gd name="T29" fmla="*/ 322 h 688"/>
                <a:gd name="T30" fmla="*/ 84 w 730"/>
                <a:gd name="T31" fmla="*/ 295 h 688"/>
                <a:gd name="T32" fmla="*/ 34 w 730"/>
                <a:gd name="T33" fmla="*/ 330 h 688"/>
                <a:gd name="T34" fmla="*/ 9 w 730"/>
                <a:gd name="T35" fmla="*/ 326 h 688"/>
                <a:gd name="T36" fmla="*/ 0 w 730"/>
                <a:gd name="T37" fmla="*/ 272 h 688"/>
                <a:gd name="T38" fmla="*/ 78 w 730"/>
                <a:gd name="T39" fmla="*/ 196 h 688"/>
                <a:gd name="T40" fmla="*/ 206 w 730"/>
                <a:gd name="T41" fmla="*/ 152 h 688"/>
                <a:gd name="T42" fmla="*/ 314 w 730"/>
                <a:gd name="T43" fmla="*/ 35 h 688"/>
                <a:gd name="T44" fmla="*/ 392 w 730"/>
                <a:gd name="T45" fmla="*/ 57 h 688"/>
                <a:gd name="T46" fmla="*/ 449 w 730"/>
                <a:gd name="T47" fmla="*/ 17 h 688"/>
                <a:gd name="T48" fmla="*/ 482 w 730"/>
                <a:gd name="T49" fmla="*/ 15 h 688"/>
                <a:gd name="T50" fmla="*/ 491 w 730"/>
                <a:gd name="T51" fmla="*/ 53 h 688"/>
                <a:gd name="T52" fmla="*/ 567 w 730"/>
                <a:gd name="T53" fmla="*/ 76 h 688"/>
                <a:gd name="T54" fmla="*/ 579 w 730"/>
                <a:gd name="T55" fmla="*/ 101 h 688"/>
                <a:gd name="T56" fmla="*/ 631 w 730"/>
                <a:gd name="T57" fmla="*/ 116 h 688"/>
                <a:gd name="T58" fmla="*/ 611 w 730"/>
                <a:gd name="T59" fmla="*/ 220 h 688"/>
                <a:gd name="T60" fmla="*/ 611 w 730"/>
                <a:gd name="T61" fmla="*/ 327 h 688"/>
                <a:gd name="T62" fmla="*/ 586 w 730"/>
                <a:gd name="T63" fmla="*/ 378 h 688"/>
                <a:gd name="T64" fmla="*/ 648 w 730"/>
                <a:gd name="T65" fmla="*/ 460 h 688"/>
                <a:gd name="T66" fmla="*/ 698 w 730"/>
                <a:gd name="T67" fmla="*/ 516 h 688"/>
                <a:gd name="T68" fmla="*/ 730 w 730"/>
                <a:gd name="T69" fmla="*/ 575 h 688"/>
                <a:gd name="T70" fmla="*/ 730 w 730"/>
                <a:gd name="T71" fmla="*/ 611 h 688"/>
                <a:gd name="T72" fmla="*/ 707 w 730"/>
                <a:gd name="T73" fmla="*/ 641 h 688"/>
                <a:gd name="T74" fmla="*/ 672 w 730"/>
                <a:gd name="T75" fmla="*/ 668 h 688"/>
                <a:gd name="T76" fmla="*/ 653 w 730"/>
                <a:gd name="T77" fmla="*/ 664 h 688"/>
                <a:gd name="T78" fmla="*/ 656 w 730"/>
                <a:gd name="T79" fmla="*/ 688 h 688"/>
                <a:gd name="T80" fmla="*/ 571 w 730"/>
                <a:gd name="T81" fmla="*/ 421 h 6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730" h="688">
                  <a:moveTo>
                    <a:pt x="571" y="421"/>
                  </a:moveTo>
                  <a:lnTo>
                    <a:pt x="525" y="428"/>
                  </a:lnTo>
                  <a:lnTo>
                    <a:pt x="504" y="414"/>
                  </a:lnTo>
                  <a:lnTo>
                    <a:pt x="463" y="462"/>
                  </a:lnTo>
                  <a:lnTo>
                    <a:pt x="435" y="470"/>
                  </a:lnTo>
                  <a:lnTo>
                    <a:pt x="409" y="463"/>
                  </a:lnTo>
                  <a:lnTo>
                    <a:pt x="405" y="480"/>
                  </a:lnTo>
                  <a:lnTo>
                    <a:pt x="451" y="508"/>
                  </a:lnTo>
                  <a:lnTo>
                    <a:pt x="442" y="543"/>
                  </a:lnTo>
                  <a:lnTo>
                    <a:pt x="419" y="542"/>
                  </a:lnTo>
                  <a:lnTo>
                    <a:pt x="416" y="556"/>
                  </a:lnTo>
                  <a:lnTo>
                    <a:pt x="387" y="555"/>
                  </a:lnTo>
                  <a:lnTo>
                    <a:pt x="383" y="560"/>
                  </a:lnTo>
                  <a:lnTo>
                    <a:pt x="344" y="545"/>
                  </a:lnTo>
                  <a:lnTo>
                    <a:pt x="336" y="568"/>
                  </a:lnTo>
                  <a:lnTo>
                    <a:pt x="322" y="563"/>
                  </a:lnTo>
                  <a:lnTo>
                    <a:pt x="324" y="523"/>
                  </a:lnTo>
                  <a:lnTo>
                    <a:pt x="337" y="518"/>
                  </a:lnTo>
                  <a:lnTo>
                    <a:pt x="349" y="515"/>
                  </a:lnTo>
                  <a:lnTo>
                    <a:pt x="354" y="490"/>
                  </a:lnTo>
                  <a:lnTo>
                    <a:pt x="367" y="455"/>
                  </a:lnTo>
                  <a:lnTo>
                    <a:pt x="345" y="424"/>
                  </a:lnTo>
                  <a:lnTo>
                    <a:pt x="329" y="406"/>
                  </a:lnTo>
                  <a:lnTo>
                    <a:pt x="304" y="389"/>
                  </a:lnTo>
                  <a:lnTo>
                    <a:pt x="256" y="378"/>
                  </a:lnTo>
                  <a:lnTo>
                    <a:pt x="253" y="346"/>
                  </a:lnTo>
                  <a:lnTo>
                    <a:pt x="233" y="330"/>
                  </a:lnTo>
                  <a:lnTo>
                    <a:pt x="166" y="337"/>
                  </a:lnTo>
                  <a:lnTo>
                    <a:pt x="157" y="311"/>
                  </a:lnTo>
                  <a:lnTo>
                    <a:pt x="123" y="322"/>
                  </a:lnTo>
                  <a:lnTo>
                    <a:pt x="107" y="297"/>
                  </a:lnTo>
                  <a:lnTo>
                    <a:pt x="84" y="295"/>
                  </a:lnTo>
                  <a:lnTo>
                    <a:pt x="54" y="303"/>
                  </a:lnTo>
                  <a:lnTo>
                    <a:pt x="34" y="330"/>
                  </a:lnTo>
                  <a:lnTo>
                    <a:pt x="22" y="332"/>
                  </a:lnTo>
                  <a:lnTo>
                    <a:pt x="9" y="326"/>
                  </a:lnTo>
                  <a:lnTo>
                    <a:pt x="13" y="283"/>
                  </a:lnTo>
                  <a:lnTo>
                    <a:pt x="0" y="272"/>
                  </a:lnTo>
                  <a:lnTo>
                    <a:pt x="8" y="225"/>
                  </a:lnTo>
                  <a:lnTo>
                    <a:pt x="78" y="196"/>
                  </a:lnTo>
                  <a:lnTo>
                    <a:pt x="94" y="204"/>
                  </a:lnTo>
                  <a:lnTo>
                    <a:pt x="206" y="152"/>
                  </a:lnTo>
                  <a:lnTo>
                    <a:pt x="222" y="121"/>
                  </a:lnTo>
                  <a:lnTo>
                    <a:pt x="314" y="35"/>
                  </a:lnTo>
                  <a:lnTo>
                    <a:pt x="378" y="55"/>
                  </a:lnTo>
                  <a:lnTo>
                    <a:pt x="392" y="57"/>
                  </a:lnTo>
                  <a:lnTo>
                    <a:pt x="419" y="57"/>
                  </a:lnTo>
                  <a:lnTo>
                    <a:pt x="449" y="17"/>
                  </a:lnTo>
                  <a:lnTo>
                    <a:pt x="456" y="0"/>
                  </a:lnTo>
                  <a:lnTo>
                    <a:pt x="482" y="15"/>
                  </a:lnTo>
                  <a:lnTo>
                    <a:pt x="480" y="48"/>
                  </a:lnTo>
                  <a:lnTo>
                    <a:pt x="491" y="53"/>
                  </a:lnTo>
                  <a:lnTo>
                    <a:pt x="550" y="57"/>
                  </a:lnTo>
                  <a:lnTo>
                    <a:pt x="567" y="76"/>
                  </a:lnTo>
                  <a:lnTo>
                    <a:pt x="568" y="98"/>
                  </a:lnTo>
                  <a:lnTo>
                    <a:pt x="579" y="101"/>
                  </a:lnTo>
                  <a:lnTo>
                    <a:pt x="640" y="30"/>
                  </a:lnTo>
                  <a:lnTo>
                    <a:pt x="631" y="116"/>
                  </a:lnTo>
                  <a:lnTo>
                    <a:pt x="627" y="144"/>
                  </a:lnTo>
                  <a:lnTo>
                    <a:pt x="611" y="220"/>
                  </a:lnTo>
                  <a:lnTo>
                    <a:pt x="626" y="222"/>
                  </a:lnTo>
                  <a:lnTo>
                    <a:pt x="611" y="327"/>
                  </a:lnTo>
                  <a:lnTo>
                    <a:pt x="590" y="319"/>
                  </a:lnTo>
                  <a:lnTo>
                    <a:pt x="586" y="378"/>
                  </a:lnTo>
                  <a:lnTo>
                    <a:pt x="628" y="422"/>
                  </a:lnTo>
                  <a:lnTo>
                    <a:pt x="648" y="460"/>
                  </a:lnTo>
                  <a:lnTo>
                    <a:pt x="662" y="480"/>
                  </a:lnTo>
                  <a:lnTo>
                    <a:pt x="698" y="516"/>
                  </a:lnTo>
                  <a:lnTo>
                    <a:pt x="690" y="547"/>
                  </a:lnTo>
                  <a:lnTo>
                    <a:pt x="730" y="575"/>
                  </a:lnTo>
                  <a:lnTo>
                    <a:pt x="721" y="594"/>
                  </a:lnTo>
                  <a:lnTo>
                    <a:pt x="730" y="611"/>
                  </a:lnTo>
                  <a:lnTo>
                    <a:pt x="708" y="630"/>
                  </a:lnTo>
                  <a:lnTo>
                    <a:pt x="707" y="641"/>
                  </a:lnTo>
                  <a:lnTo>
                    <a:pt x="681" y="666"/>
                  </a:lnTo>
                  <a:lnTo>
                    <a:pt x="672" y="668"/>
                  </a:lnTo>
                  <a:lnTo>
                    <a:pt x="665" y="655"/>
                  </a:lnTo>
                  <a:lnTo>
                    <a:pt x="653" y="664"/>
                  </a:lnTo>
                  <a:lnTo>
                    <a:pt x="659" y="675"/>
                  </a:lnTo>
                  <a:lnTo>
                    <a:pt x="656" y="688"/>
                  </a:lnTo>
                  <a:lnTo>
                    <a:pt x="542" y="608"/>
                  </a:lnTo>
                  <a:lnTo>
                    <a:pt x="571" y="421"/>
                  </a:ln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5" name="Freeform 145"/>
            <p:cNvSpPr>
              <a:spLocks/>
            </p:cNvSpPr>
            <p:nvPr/>
          </p:nvSpPr>
          <p:spPr bwMode="auto">
            <a:xfrm>
              <a:off x="3674755" y="3686780"/>
              <a:ext cx="369362" cy="342434"/>
            </a:xfrm>
            <a:custGeom>
              <a:avLst/>
              <a:gdLst>
                <a:gd name="T0" fmla="*/ 186 w 1006"/>
                <a:gd name="T1" fmla="*/ 776 h 1050"/>
                <a:gd name="T2" fmla="*/ 211 w 1006"/>
                <a:gd name="T3" fmla="*/ 802 h 1050"/>
                <a:gd name="T4" fmla="*/ 242 w 1006"/>
                <a:gd name="T5" fmla="*/ 784 h 1050"/>
                <a:gd name="T6" fmla="*/ 265 w 1006"/>
                <a:gd name="T7" fmla="*/ 842 h 1050"/>
                <a:gd name="T8" fmla="*/ 336 w 1006"/>
                <a:gd name="T9" fmla="*/ 904 h 1050"/>
                <a:gd name="T10" fmla="*/ 419 w 1006"/>
                <a:gd name="T11" fmla="*/ 951 h 1050"/>
                <a:gd name="T12" fmla="*/ 451 w 1006"/>
                <a:gd name="T13" fmla="*/ 934 h 1050"/>
                <a:gd name="T14" fmla="*/ 628 w 1006"/>
                <a:gd name="T15" fmla="*/ 991 h 1050"/>
                <a:gd name="T16" fmla="*/ 672 w 1006"/>
                <a:gd name="T17" fmla="*/ 976 h 1050"/>
                <a:gd name="T18" fmla="*/ 726 w 1006"/>
                <a:gd name="T19" fmla="*/ 1047 h 1050"/>
                <a:gd name="T20" fmla="*/ 786 w 1006"/>
                <a:gd name="T21" fmla="*/ 995 h 1050"/>
                <a:gd name="T22" fmla="*/ 953 w 1006"/>
                <a:gd name="T23" fmla="*/ 1050 h 1050"/>
                <a:gd name="T24" fmla="*/ 1006 w 1006"/>
                <a:gd name="T25" fmla="*/ 847 h 1050"/>
                <a:gd name="T26" fmla="*/ 922 w 1006"/>
                <a:gd name="T27" fmla="*/ 823 h 1050"/>
                <a:gd name="T28" fmla="*/ 790 w 1006"/>
                <a:gd name="T29" fmla="*/ 863 h 1050"/>
                <a:gd name="T30" fmla="*/ 762 w 1006"/>
                <a:gd name="T31" fmla="*/ 882 h 1050"/>
                <a:gd name="T32" fmla="*/ 701 w 1006"/>
                <a:gd name="T33" fmla="*/ 830 h 1050"/>
                <a:gd name="T34" fmla="*/ 705 w 1006"/>
                <a:gd name="T35" fmla="*/ 784 h 1050"/>
                <a:gd name="T36" fmla="*/ 743 w 1006"/>
                <a:gd name="T37" fmla="*/ 786 h 1050"/>
                <a:gd name="T38" fmla="*/ 818 w 1006"/>
                <a:gd name="T39" fmla="*/ 275 h 1050"/>
                <a:gd name="T40" fmla="*/ 590 w 1006"/>
                <a:gd name="T41" fmla="*/ 231 h 1050"/>
                <a:gd name="T42" fmla="*/ 479 w 1006"/>
                <a:gd name="T43" fmla="*/ 0 h 1050"/>
                <a:gd name="T44" fmla="*/ 32 w 1006"/>
                <a:gd name="T45" fmla="*/ 210 h 1050"/>
                <a:gd name="T46" fmla="*/ 0 w 1006"/>
                <a:gd name="T47" fmla="*/ 282 h 1050"/>
                <a:gd name="T48" fmla="*/ 186 w 1006"/>
                <a:gd name="T49" fmla="*/ 776 h 10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</a:cxnLst>
              <a:rect l="0" t="0" r="r" b="b"/>
              <a:pathLst>
                <a:path w="1006" h="1050">
                  <a:moveTo>
                    <a:pt x="186" y="776"/>
                  </a:moveTo>
                  <a:cubicBezTo>
                    <a:pt x="211" y="802"/>
                    <a:pt x="211" y="802"/>
                    <a:pt x="211" y="802"/>
                  </a:cubicBezTo>
                  <a:cubicBezTo>
                    <a:pt x="242" y="784"/>
                    <a:pt x="242" y="784"/>
                    <a:pt x="242" y="784"/>
                  </a:cubicBezTo>
                  <a:cubicBezTo>
                    <a:pt x="265" y="842"/>
                    <a:pt x="265" y="842"/>
                    <a:pt x="265" y="842"/>
                  </a:cubicBezTo>
                  <a:cubicBezTo>
                    <a:pt x="336" y="904"/>
                    <a:pt x="336" y="904"/>
                    <a:pt x="336" y="904"/>
                  </a:cubicBezTo>
                  <a:cubicBezTo>
                    <a:pt x="419" y="951"/>
                    <a:pt x="419" y="951"/>
                    <a:pt x="419" y="951"/>
                  </a:cubicBezTo>
                  <a:cubicBezTo>
                    <a:pt x="451" y="934"/>
                    <a:pt x="451" y="934"/>
                    <a:pt x="451" y="934"/>
                  </a:cubicBezTo>
                  <a:cubicBezTo>
                    <a:pt x="628" y="991"/>
                    <a:pt x="628" y="991"/>
                    <a:pt x="628" y="991"/>
                  </a:cubicBezTo>
                  <a:cubicBezTo>
                    <a:pt x="672" y="976"/>
                    <a:pt x="672" y="976"/>
                    <a:pt x="672" y="976"/>
                  </a:cubicBezTo>
                  <a:cubicBezTo>
                    <a:pt x="726" y="1047"/>
                    <a:pt x="726" y="1047"/>
                    <a:pt x="726" y="1047"/>
                  </a:cubicBezTo>
                  <a:cubicBezTo>
                    <a:pt x="786" y="995"/>
                    <a:pt x="786" y="995"/>
                    <a:pt x="786" y="995"/>
                  </a:cubicBezTo>
                  <a:cubicBezTo>
                    <a:pt x="953" y="1050"/>
                    <a:pt x="953" y="1050"/>
                    <a:pt x="953" y="1050"/>
                  </a:cubicBezTo>
                  <a:cubicBezTo>
                    <a:pt x="1006" y="847"/>
                    <a:pt x="1006" y="847"/>
                    <a:pt x="1006" y="847"/>
                  </a:cubicBezTo>
                  <a:cubicBezTo>
                    <a:pt x="1006" y="847"/>
                    <a:pt x="964" y="819"/>
                    <a:pt x="922" y="823"/>
                  </a:cubicBezTo>
                  <a:cubicBezTo>
                    <a:pt x="880" y="826"/>
                    <a:pt x="818" y="845"/>
                    <a:pt x="790" y="863"/>
                  </a:cubicBezTo>
                  <a:cubicBezTo>
                    <a:pt x="762" y="880"/>
                    <a:pt x="762" y="882"/>
                    <a:pt x="762" y="882"/>
                  </a:cubicBezTo>
                  <a:cubicBezTo>
                    <a:pt x="701" y="830"/>
                    <a:pt x="701" y="830"/>
                    <a:pt x="701" y="830"/>
                  </a:cubicBezTo>
                  <a:cubicBezTo>
                    <a:pt x="705" y="784"/>
                    <a:pt x="705" y="784"/>
                    <a:pt x="705" y="784"/>
                  </a:cubicBezTo>
                  <a:cubicBezTo>
                    <a:pt x="743" y="786"/>
                    <a:pt x="743" y="786"/>
                    <a:pt x="743" y="786"/>
                  </a:cubicBezTo>
                  <a:cubicBezTo>
                    <a:pt x="818" y="275"/>
                    <a:pt x="818" y="275"/>
                    <a:pt x="818" y="275"/>
                  </a:cubicBezTo>
                  <a:cubicBezTo>
                    <a:pt x="590" y="231"/>
                    <a:pt x="590" y="231"/>
                    <a:pt x="590" y="231"/>
                  </a:cubicBezTo>
                  <a:cubicBezTo>
                    <a:pt x="479" y="0"/>
                    <a:pt x="479" y="0"/>
                    <a:pt x="479" y="0"/>
                  </a:cubicBezTo>
                  <a:cubicBezTo>
                    <a:pt x="32" y="210"/>
                    <a:pt x="32" y="210"/>
                    <a:pt x="32" y="210"/>
                  </a:cubicBezTo>
                  <a:cubicBezTo>
                    <a:pt x="0" y="282"/>
                    <a:pt x="0" y="282"/>
                    <a:pt x="0" y="282"/>
                  </a:cubicBezTo>
                  <a:cubicBezTo>
                    <a:pt x="186" y="776"/>
                    <a:pt x="186" y="776"/>
                    <a:pt x="186" y="776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6" name="Freeform 146"/>
            <p:cNvSpPr>
              <a:spLocks/>
            </p:cNvSpPr>
            <p:nvPr/>
          </p:nvSpPr>
          <p:spPr bwMode="auto">
            <a:xfrm>
              <a:off x="4010078" y="2980386"/>
              <a:ext cx="292413" cy="431467"/>
            </a:xfrm>
            <a:custGeom>
              <a:avLst/>
              <a:gdLst>
                <a:gd name="T0" fmla="*/ 134 w 266"/>
                <a:gd name="T1" fmla="*/ 391 h 441"/>
                <a:gd name="T2" fmla="*/ 171 w 266"/>
                <a:gd name="T3" fmla="*/ 399 h 441"/>
                <a:gd name="T4" fmla="*/ 159 w 266"/>
                <a:gd name="T5" fmla="*/ 418 h 441"/>
                <a:gd name="T6" fmla="*/ 165 w 266"/>
                <a:gd name="T7" fmla="*/ 441 h 441"/>
                <a:gd name="T8" fmla="*/ 248 w 266"/>
                <a:gd name="T9" fmla="*/ 411 h 441"/>
                <a:gd name="T10" fmla="*/ 251 w 266"/>
                <a:gd name="T11" fmla="*/ 194 h 441"/>
                <a:gd name="T12" fmla="*/ 251 w 266"/>
                <a:gd name="T13" fmla="*/ 158 h 441"/>
                <a:gd name="T14" fmla="*/ 266 w 266"/>
                <a:gd name="T15" fmla="*/ 131 h 441"/>
                <a:gd name="T16" fmla="*/ 244 w 266"/>
                <a:gd name="T17" fmla="*/ 118 h 441"/>
                <a:gd name="T18" fmla="*/ 237 w 266"/>
                <a:gd name="T19" fmla="*/ 4 h 441"/>
                <a:gd name="T20" fmla="*/ 224 w 266"/>
                <a:gd name="T21" fmla="*/ 7 h 441"/>
                <a:gd name="T22" fmla="*/ 195 w 266"/>
                <a:gd name="T23" fmla="*/ 33 h 441"/>
                <a:gd name="T24" fmla="*/ 166 w 266"/>
                <a:gd name="T25" fmla="*/ 2 h 441"/>
                <a:gd name="T26" fmla="*/ 137 w 266"/>
                <a:gd name="T27" fmla="*/ 0 h 441"/>
                <a:gd name="T28" fmla="*/ 137 w 266"/>
                <a:gd name="T29" fmla="*/ 9 h 441"/>
                <a:gd name="T30" fmla="*/ 112 w 266"/>
                <a:gd name="T31" fmla="*/ 9 h 441"/>
                <a:gd name="T32" fmla="*/ 109 w 266"/>
                <a:gd name="T33" fmla="*/ 14 h 441"/>
                <a:gd name="T34" fmla="*/ 102 w 266"/>
                <a:gd name="T35" fmla="*/ 15 h 441"/>
                <a:gd name="T36" fmla="*/ 101 w 266"/>
                <a:gd name="T37" fmla="*/ 9 h 441"/>
                <a:gd name="T38" fmla="*/ 8 w 266"/>
                <a:gd name="T39" fmla="*/ 14 h 441"/>
                <a:gd name="T40" fmla="*/ 9 w 266"/>
                <a:gd name="T41" fmla="*/ 219 h 441"/>
                <a:gd name="T42" fmla="*/ 11 w 266"/>
                <a:gd name="T43" fmla="*/ 244 h 441"/>
                <a:gd name="T44" fmla="*/ 0 w 266"/>
                <a:gd name="T45" fmla="*/ 271 h 441"/>
                <a:gd name="T46" fmla="*/ 5 w 266"/>
                <a:gd name="T47" fmla="*/ 288 h 441"/>
                <a:gd name="T48" fmla="*/ 17 w 266"/>
                <a:gd name="T49" fmla="*/ 283 h 441"/>
                <a:gd name="T50" fmla="*/ 49 w 266"/>
                <a:gd name="T51" fmla="*/ 293 h 441"/>
                <a:gd name="T52" fmla="*/ 152 w 266"/>
                <a:gd name="T53" fmla="*/ 322 h 441"/>
                <a:gd name="T54" fmla="*/ 134 w 266"/>
                <a:gd name="T55" fmla="*/ 391 h 441"/>
                <a:gd name="T56" fmla="*/ 134 w 266"/>
                <a:gd name="T57" fmla="*/ 391 h 44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266" h="441">
                  <a:moveTo>
                    <a:pt x="134" y="391"/>
                  </a:moveTo>
                  <a:lnTo>
                    <a:pt x="171" y="399"/>
                  </a:lnTo>
                  <a:lnTo>
                    <a:pt x="159" y="418"/>
                  </a:lnTo>
                  <a:lnTo>
                    <a:pt x="165" y="441"/>
                  </a:lnTo>
                  <a:lnTo>
                    <a:pt x="248" y="411"/>
                  </a:lnTo>
                  <a:lnTo>
                    <a:pt x="251" y="194"/>
                  </a:lnTo>
                  <a:lnTo>
                    <a:pt x="251" y="158"/>
                  </a:lnTo>
                  <a:lnTo>
                    <a:pt x="266" y="131"/>
                  </a:lnTo>
                  <a:lnTo>
                    <a:pt x="244" y="118"/>
                  </a:lnTo>
                  <a:lnTo>
                    <a:pt x="237" y="4"/>
                  </a:lnTo>
                  <a:lnTo>
                    <a:pt x="224" y="7"/>
                  </a:lnTo>
                  <a:lnTo>
                    <a:pt x="195" y="33"/>
                  </a:lnTo>
                  <a:lnTo>
                    <a:pt x="166" y="2"/>
                  </a:lnTo>
                  <a:lnTo>
                    <a:pt x="137" y="0"/>
                  </a:lnTo>
                  <a:lnTo>
                    <a:pt x="137" y="9"/>
                  </a:lnTo>
                  <a:lnTo>
                    <a:pt x="112" y="9"/>
                  </a:lnTo>
                  <a:lnTo>
                    <a:pt x="109" y="14"/>
                  </a:lnTo>
                  <a:lnTo>
                    <a:pt x="102" y="15"/>
                  </a:lnTo>
                  <a:lnTo>
                    <a:pt x="101" y="9"/>
                  </a:lnTo>
                  <a:lnTo>
                    <a:pt x="8" y="14"/>
                  </a:lnTo>
                  <a:lnTo>
                    <a:pt x="9" y="219"/>
                  </a:lnTo>
                  <a:lnTo>
                    <a:pt x="11" y="244"/>
                  </a:lnTo>
                  <a:lnTo>
                    <a:pt x="0" y="271"/>
                  </a:lnTo>
                  <a:lnTo>
                    <a:pt x="5" y="288"/>
                  </a:lnTo>
                  <a:lnTo>
                    <a:pt x="17" y="283"/>
                  </a:lnTo>
                  <a:lnTo>
                    <a:pt x="49" y="293"/>
                  </a:lnTo>
                  <a:lnTo>
                    <a:pt x="152" y="322"/>
                  </a:lnTo>
                  <a:lnTo>
                    <a:pt x="134" y="391"/>
                  </a:lnTo>
                  <a:lnTo>
                    <a:pt x="134" y="391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9" name="Freeform 41"/>
            <p:cNvSpPr>
              <a:spLocks/>
            </p:cNvSpPr>
            <p:nvPr/>
          </p:nvSpPr>
          <p:spPr bwMode="auto">
            <a:xfrm>
              <a:off x="4245019" y="3557632"/>
              <a:ext cx="657377" cy="343413"/>
            </a:xfrm>
            <a:custGeom>
              <a:avLst/>
              <a:gdLst>
                <a:gd name="T0" fmla="*/ 413 w 1794"/>
                <a:gd name="T1" fmla="*/ 36 h 1052"/>
                <a:gd name="T2" fmla="*/ 386 w 1794"/>
                <a:gd name="T3" fmla="*/ 129 h 1052"/>
                <a:gd name="T4" fmla="*/ 407 w 1794"/>
                <a:gd name="T5" fmla="*/ 175 h 1052"/>
                <a:gd name="T6" fmla="*/ 552 w 1794"/>
                <a:gd name="T7" fmla="*/ 256 h 1052"/>
                <a:gd name="T8" fmla="*/ 697 w 1794"/>
                <a:gd name="T9" fmla="*/ 241 h 1052"/>
                <a:gd name="T10" fmla="*/ 691 w 1794"/>
                <a:gd name="T11" fmla="*/ 262 h 1052"/>
                <a:gd name="T12" fmla="*/ 706 w 1794"/>
                <a:gd name="T13" fmla="*/ 331 h 1052"/>
                <a:gd name="T14" fmla="*/ 748 w 1794"/>
                <a:gd name="T15" fmla="*/ 343 h 1052"/>
                <a:gd name="T16" fmla="*/ 844 w 1794"/>
                <a:gd name="T17" fmla="*/ 313 h 1052"/>
                <a:gd name="T18" fmla="*/ 835 w 1794"/>
                <a:gd name="T19" fmla="*/ 295 h 1052"/>
                <a:gd name="T20" fmla="*/ 844 w 1794"/>
                <a:gd name="T21" fmla="*/ 220 h 1052"/>
                <a:gd name="T22" fmla="*/ 905 w 1794"/>
                <a:gd name="T23" fmla="*/ 223 h 1052"/>
                <a:gd name="T24" fmla="*/ 920 w 1794"/>
                <a:gd name="T25" fmla="*/ 244 h 1052"/>
                <a:gd name="T26" fmla="*/ 1049 w 1794"/>
                <a:gd name="T27" fmla="*/ 217 h 1052"/>
                <a:gd name="T28" fmla="*/ 1125 w 1794"/>
                <a:gd name="T29" fmla="*/ 166 h 1052"/>
                <a:gd name="T30" fmla="*/ 1203 w 1794"/>
                <a:gd name="T31" fmla="*/ 181 h 1052"/>
                <a:gd name="T32" fmla="*/ 1300 w 1794"/>
                <a:gd name="T33" fmla="*/ 123 h 1052"/>
                <a:gd name="T34" fmla="*/ 1342 w 1794"/>
                <a:gd name="T35" fmla="*/ 175 h 1052"/>
                <a:gd name="T36" fmla="*/ 1453 w 1794"/>
                <a:gd name="T37" fmla="*/ 156 h 1052"/>
                <a:gd name="T38" fmla="*/ 1459 w 1794"/>
                <a:gd name="T39" fmla="*/ 132 h 1052"/>
                <a:gd name="T40" fmla="*/ 1420 w 1794"/>
                <a:gd name="T41" fmla="*/ 96 h 1052"/>
                <a:gd name="T42" fmla="*/ 1387 w 1794"/>
                <a:gd name="T43" fmla="*/ 123 h 1052"/>
                <a:gd name="T44" fmla="*/ 1339 w 1794"/>
                <a:gd name="T45" fmla="*/ 105 h 1052"/>
                <a:gd name="T46" fmla="*/ 1357 w 1794"/>
                <a:gd name="T47" fmla="*/ 15 h 1052"/>
                <a:gd name="T48" fmla="*/ 1417 w 1794"/>
                <a:gd name="T49" fmla="*/ 15 h 1052"/>
                <a:gd name="T50" fmla="*/ 1432 w 1794"/>
                <a:gd name="T51" fmla="*/ 0 h 1052"/>
                <a:gd name="T52" fmla="*/ 1526 w 1794"/>
                <a:gd name="T53" fmla="*/ 36 h 1052"/>
                <a:gd name="T54" fmla="*/ 1520 w 1794"/>
                <a:gd name="T55" fmla="*/ 120 h 1052"/>
                <a:gd name="T56" fmla="*/ 1544 w 1794"/>
                <a:gd name="T57" fmla="*/ 111 h 1052"/>
                <a:gd name="T58" fmla="*/ 1589 w 1794"/>
                <a:gd name="T59" fmla="*/ 45 h 1052"/>
                <a:gd name="T60" fmla="*/ 1649 w 1794"/>
                <a:gd name="T61" fmla="*/ 96 h 1052"/>
                <a:gd name="T62" fmla="*/ 1628 w 1794"/>
                <a:gd name="T63" fmla="*/ 111 h 1052"/>
                <a:gd name="T64" fmla="*/ 1692 w 1794"/>
                <a:gd name="T65" fmla="*/ 105 h 1052"/>
                <a:gd name="T66" fmla="*/ 1749 w 1794"/>
                <a:gd name="T67" fmla="*/ 178 h 1052"/>
                <a:gd name="T68" fmla="*/ 1794 w 1794"/>
                <a:gd name="T69" fmla="*/ 283 h 1052"/>
                <a:gd name="T70" fmla="*/ 1667 w 1794"/>
                <a:gd name="T71" fmla="*/ 431 h 1052"/>
                <a:gd name="T72" fmla="*/ 1526 w 1794"/>
                <a:gd name="T73" fmla="*/ 422 h 1052"/>
                <a:gd name="T74" fmla="*/ 1493 w 1794"/>
                <a:gd name="T75" fmla="*/ 461 h 1052"/>
                <a:gd name="T76" fmla="*/ 1318 w 1794"/>
                <a:gd name="T77" fmla="*/ 699 h 1052"/>
                <a:gd name="T78" fmla="*/ 1010 w 1794"/>
                <a:gd name="T79" fmla="*/ 729 h 1052"/>
                <a:gd name="T80" fmla="*/ 838 w 1794"/>
                <a:gd name="T81" fmla="*/ 735 h 1052"/>
                <a:gd name="T82" fmla="*/ 754 w 1794"/>
                <a:gd name="T83" fmla="*/ 826 h 1052"/>
                <a:gd name="T84" fmla="*/ 778 w 1794"/>
                <a:gd name="T85" fmla="*/ 841 h 1052"/>
                <a:gd name="T86" fmla="*/ 585 w 1794"/>
                <a:gd name="T87" fmla="*/ 1052 h 1052"/>
                <a:gd name="T88" fmla="*/ 374 w 1794"/>
                <a:gd name="T89" fmla="*/ 868 h 1052"/>
                <a:gd name="T90" fmla="*/ 293 w 1794"/>
                <a:gd name="T91" fmla="*/ 805 h 1052"/>
                <a:gd name="T92" fmla="*/ 0 w 1794"/>
                <a:gd name="T93" fmla="*/ 618 h 1052"/>
                <a:gd name="T94" fmla="*/ 39 w 1794"/>
                <a:gd name="T95" fmla="*/ 518 h 1052"/>
                <a:gd name="T96" fmla="*/ 57 w 1794"/>
                <a:gd name="T97" fmla="*/ 30 h 1052"/>
                <a:gd name="T98" fmla="*/ 413 w 1794"/>
                <a:gd name="T99" fmla="*/ 36 h 1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</a:cxnLst>
              <a:rect l="0" t="0" r="r" b="b"/>
              <a:pathLst>
                <a:path w="1794" h="1052">
                  <a:moveTo>
                    <a:pt x="413" y="36"/>
                  </a:moveTo>
                  <a:cubicBezTo>
                    <a:pt x="386" y="129"/>
                    <a:pt x="386" y="129"/>
                    <a:pt x="386" y="129"/>
                  </a:cubicBezTo>
                  <a:cubicBezTo>
                    <a:pt x="407" y="175"/>
                    <a:pt x="407" y="175"/>
                    <a:pt x="407" y="175"/>
                  </a:cubicBezTo>
                  <a:cubicBezTo>
                    <a:pt x="552" y="256"/>
                    <a:pt x="552" y="256"/>
                    <a:pt x="552" y="256"/>
                  </a:cubicBezTo>
                  <a:cubicBezTo>
                    <a:pt x="697" y="241"/>
                    <a:pt x="697" y="241"/>
                    <a:pt x="697" y="241"/>
                  </a:cubicBezTo>
                  <a:cubicBezTo>
                    <a:pt x="691" y="262"/>
                    <a:pt x="691" y="262"/>
                    <a:pt x="691" y="262"/>
                  </a:cubicBezTo>
                  <a:cubicBezTo>
                    <a:pt x="706" y="331"/>
                    <a:pt x="706" y="331"/>
                    <a:pt x="706" y="331"/>
                  </a:cubicBezTo>
                  <a:cubicBezTo>
                    <a:pt x="748" y="343"/>
                    <a:pt x="748" y="343"/>
                    <a:pt x="748" y="343"/>
                  </a:cubicBezTo>
                  <a:cubicBezTo>
                    <a:pt x="844" y="313"/>
                    <a:pt x="844" y="313"/>
                    <a:pt x="844" y="313"/>
                  </a:cubicBezTo>
                  <a:cubicBezTo>
                    <a:pt x="835" y="295"/>
                    <a:pt x="835" y="295"/>
                    <a:pt x="835" y="295"/>
                  </a:cubicBezTo>
                  <a:cubicBezTo>
                    <a:pt x="844" y="220"/>
                    <a:pt x="844" y="220"/>
                    <a:pt x="844" y="220"/>
                  </a:cubicBezTo>
                  <a:cubicBezTo>
                    <a:pt x="905" y="223"/>
                    <a:pt x="905" y="223"/>
                    <a:pt x="905" y="223"/>
                  </a:cubicBezTo>
                  <a:cubicBezTo>
                    <a:pt x="920" y="244"/>
                    <a:pt x="920" y="244"/>
                    <a:pt x="920" y="244"/>
                  </a:cubicBezTo>
                  <a:cubicBezTo>
                    <a:pt x="1049" y="217"/>
                    <a:pt x="1049" y="217"/>
                    <a:pt x="1049" y="217"/>
                  </a:cubicBezTo>
                  <a:cubicBezTo>
                    <a:pt x="1125" y="166"/>
                    <a:pt x="1125" y="166"/>
                    <a:pt x="1125" y="166"/>
                  </a:cubicBezTo>
                  <a:cubicBezTo>
                    <a:pt x="1203" y="181"/>
                    <a:pt x="1203" y="181"/>
                    <a:pt x="1203" y="181"/>
                  </a:cubicBezTo>
                  <a:cubicBezTo>
                    <a:pt x="1300" y="123"/>
                    <a:pt x="1300" y="123"/>
                    <a:pt x="1300" y="123"/>
                  </a:cubicBezTo>
                  <a:cubicBezTo>
                    <a:pt x="1342" y="175"/>
                    <a:pt x="1342" y="175"/>
                    <a:pt x="1342" y="175"/>
                  </a:cubicBezTo>
                  <a:cubicBezTo>
                    <a:pt x="1453" y="156"/>
                    <a:pt x="1453" y="156"/>
                    <a:pt x="1453" y="156"/>
                  </a:cubicBezTo>
                  <a:cubicBezTo>
                    <a:pt x="1459" y="132"/>
                    <a:pt x="1459" y="132"/>
                    <a:pt x="1459" y="132"/>
                  </a:cubicBezTo>
                  <a:cubicBezTo>
                    <a:pt x="1420" y="96"/>
                    <a:pt x="1420" y="96"/>
                    <a:pt x="1420" y="96"/>
                  </a:cubicBezTo>
                  <a:cubicBezTo>
                    <a:pt x="1387" y="123"/>
                    <a:pt x="1387" y="123"/>
                    <a:pt x="1387" y="123"/>
                  </a:cubicBezTo>
                  <a:cubicBezTo>
                    <a:pt x="1339" y="105"/>
                    <a:pt x="1339" y="105"/>
                    <a:pt x="1339" y="105"/>
                  </a:cubicBezTo>
                  <a:cubicBezTo>
                    <a:pt x="1357" y="15"/>
                    <a:pt x="1357" y="15"/>
                    <a:pt x="1357" y="15"/>
                  </a:cubicBezTo>
                  <a:cubicBezTo>
                    <a:pt x="1417" y="15"/>
                    <a:pt x="1417" y="15"/>
                    <a:pt x="1417" y="15"/>
                  </a:cubicBezTo>
                  <a:cubicBezTo>
                    <a:pt x="1432" y="0"/>
                    <a:pt x="1432" y="0"/>
                    <a:pt x="1432" y="0"/>
                  </a:cubicBezTo>
                  <a:cubicBezTo>
                    <a:pt x="1526" y="36"/>
                    <a:pt x="1526" y="36"/>
                    <a:pt x="1526" y="36"/>
                  </a:cubicBezTo>
                  <a:cubicBezTo>
                    <a:pt x="1520" y="120"/>
                    <a:pt x="1520" y="120"/>
                    <a:pt x="1520" y="120"/>
                  </a:cubicBezTo>
                  <a:cubicBezTo>
                    <a:pt x="1544" y="111"/>
                    <a:pt x="1544" y="111"/>
                    <a:pt x="1544" y="111"/>
                  </a:cubicBezTo>
                  <a:cubicBezTo>
                    <a:pt x="1589" y="45"/>
                    <a:pt x="1589" y="45"/>
                    <a:pt x="1589" y="45"/>
                  </a:cubicBezTo>
                  <a:cubicBezTo>
                    <a:pt x="1649" y="96"/>
                    <a:pt x="1649" y="96"/>
                    <a:pt x="1649" y="96"/>
                  </a:cubicBezTo>
                  <a:cubicBezTo>
                    <a:pt x="1628" y="111"/>
                    <a:pt x="1628" y="111"/>
                    <a:pt x="1628" y="111"/>
                  </a:cubicBezTo>
                  <a:cubicBezTo>
                    <a:pt x="1692" y="105"/>
                    <a:pt x="1692" y="105"/>
                    <a:pt x="1692" y="105"/>
                  </a:cubicBezTo>
                  <a:cubicBezTo>
                    <a:pt x="1749" y="178"/>
                    <a:pt x="1749" y="178"/>
                    <a:pt x="1749" y="178"/>
                  </a:cubicBezTo>
                  <a:cubicBezTo>
                    <a:pt x="1794" y="283"/>
                    <a:pt x="1794" y="283"/>
                    <a:pt x="1794" y="283"/>
                  </a:cubicBezTo>
                  <a:cubicBezTo>
                    <a:pt x="1667" y="431"/>
                    <a:pt x="1667" y="431"/>
                    <a:pt x="1667" y="431"/>
                  </a:cubicBezTo>
                  <a:cubicBezTo>
                    <a:pt x="1526" y="422"/>
                    <a:pt x="1526" y="422"/>
                    <a:pt x="1526" y="422"/>
                  </a:cubicBezTo>
                  <a:cubicBezTo>
                    <a:pt x="1493" y="461"/>
                    <a:pt x="1493" y="461"/>
                    <a:pt x="1493" y="461"/>
                  </a:cubicBezTo>
                  <a:cubicBezTo>
                    <a:pt x="1482" y="604"/>
                    <a:pt x="1458" y="670"/>
                    <a:pt x="1318" y="699"/>
                  </a:cubicBezTo>
                  <a:cubicBezTo>
                    <a:pt x="1224" y="714"/>
                    <a:pt x="1286" y="703"/>
                    <a:pt x="1010" y="729"/>
                  </a:cubicBezTo>
                  <a:cubicBezTo>
                    <a:pt x="838" y="735"/>
                    <a:pt x="838" y="735"/>
                    <a:pt x="838" y="735"/>
                  </a:cubicBezTo>
                  <a:cubicBezTo>
                    <a:pt x="754" y="826"/>
                    <a:pt x="754" y="826"/>
                    <a:pt x="754" y="826"/>
                  </a:cubicBezTo>
                  <a:cubicBezTo>
                    <a:pt x="778" y="841"/>
                    <a:pt x="778" y="841"/>
                    <a:pt x="778" y="841"/>
                  </a:cubicBezTo>
                  <a:cubicBezTo>
                    <a:pt x="585" y="1052"/>
                    <a:pt x="585" y="1052"/>
                    <a:pt x="585" y="1052"/>
                  </a:cubicBezTo>
                  <a:cubicBezTo>
                    <a:pt x="374" y="868"/>
                    <a:pt x="374" y="868"/>
                    <a:pt x="374" y="868"/>
                  </a:cubicBezTo>
                  <a:cubicBezTo>
                    <a:pt x="293" y="805"/>
                    <a:pt x="293" y="805"/>
                    <a:pt x="293" y="805"/>
                  </a:cubicBezTo>
                  <a:cubicBezTo>
                    <a:pt x="0" y="618"/>
                    <a:pt x="0" y="618"/>
                    <a:pt x="0" y="618"/>
                  </a:cubicBezTo>
                  <a:cubicBezTo>
                    <a:pt x="39" y="518"/>
                    <a:pt x="39" y="518"/>
                    <a:pt x="39" y="518"/>
                  </a:cubicBezTo>
                  <a:cubicBezTo>
                    <a:pt x="57" y="30"/>
                    <a:pt x="57" y="30"/>
                    <a:pt x="57" y="30"/>
                  </a:cubicBezTo>
                  <a:lnTo>
                    <a:pt x="413" y="36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20" name="Freeform 319"/>
            <p:cNvSpPr/>
            <p:nvPr/>
          </p:nvSpPr>
          <p:spPr>
            <a:xfrm>
              <a:off x="1365744" y="3146638"/>
              <a:ext cx="496183" cy="461680"/>
            </a:xfrm>
            <a:custGeom>
              <a:avLst/>
              <a:gdLst>
                <a:gd name="connsiteX0" fmla="*/ 314325 w 314325"/>
                <a:gd name="connsiteY0" fmla="*/ 326231 h 328612"/>
                <a:gd name="connsiteX1" fmla="*/ 254794 w 314325"/>
                <a:gd name="connsiteY1" fmla="*/ 326231 h 328612"/>
                <a:gd name="connsiteX2" fmla="*/ 197644 w 314325"/>
                <a:gd name="connsiteY2" fmla="*/ 328612 h 328612"/>
                <a:gd name="connsiteX3" fmla="*/ 173831 w 314325"/>
                <a:gd name="connsiteY3" fmla="*/ 326231 h 328612"/>
                <a:gd name="connsiteX4" fmla="*/ 128588 w 314325"/>
                <a:gd name="connsiteY4" fmla="*/ 314325 h 328612"/>
                <a:gd name="connsiteX5" fmla="*/ 104775 w 314325"/>
                <a:gd name="connsiteY5" fmla="*/ 304800 h 328612"/>
                <a:gd name="connsiteX6" fmla="*/ 85725 w 314325"/>
                <a:gd name="connsiteY6" fmla="*/ 302419 h 328612"/>
                <a:gd name="connsiteX7" fmla="*/ 71438 w 314325"/>
                <a:gd name="connsiteY7" fmla="*/ 307181 h 328612"/>
                <a:gd name="connsiteX8" fmla="*/ 59531 w 314325"/>
                <a:gd name="connsiteY8" fmla="*/ 311944 h 328612"/>
                <a:gd name="connsiteX9" fmla="*/ 47625 w 314325"/>
                <a:gd name="connsiteY9" fmla="*/ 314325 h 328612"/>
                <a:gd name="connsiteX10" fmla="*/ 42863 w 314325"/>
                <a:gd name="connsiteY10" fmla="*/ 307181 h 328612"/>
                <a:gd name="connsiteX11" fmla="*/ 35719 w 314325"/>
                <a:gd name="connsiteY11" fmla="*/ 302419 h 328612"/>
                <a:gd name="connsiteX12" fmla="*/ 30956 w 314325"/>
                <a:gd name="connsiteY12" fmla="*/ 290512 h 328612"/>
                <a:gd name="connsiteX13" fmla="*/ 35719 w 314325"/>
                <a:gd name="connsiteY13" fmla="*/ 278606 h 328612"/>
                <a:gd name="connsiteX14" fmla="*/ 35719 w 314325"/>
                <a:gd name="connsiteY14" fmla="*/ 266700 h 328612"/>
                <a:gd name="connsiteX15" fmla="*/ 11906 w 314325"/>
                <a:gd name="connsiteY15" fmla="*/ 188119 h 328612"/>
                <a:gd name="connsiteX16" fmla="*/ 11906 w 314325"/>
                <a:gd name="connsiteY16" fmla="*/ 80962 h 328612"/>
                <a:gd name="connsiteX17" fmla="*/ 7144 w 314325"/>
                <a:gd name="connsiteY17" fmla="*/ 73819 h 328612"/>
                <a:gd name="connsiteX18" fmla="*/ 7144 w 314325"/>
                <a:gd name="connsiteY18" fmla="*/ 54769 h 328612"/>
                <a:gd name="connsiteX19" fmla="*/ 14288 w 314325"/>
                <a:gd name="connsiteY19" fmla="*/ 45244 h 328612"/>
                <a:gd name="connsiteX20" fmla="*/ 21431 w 314325"/>
                <a:gd name="connsiteY20" fmla="*/ 40481 h 328612"/>
                <a:gd name="connsiteX21" fmla="*/ 19050 w 314325"/>
                <a:gd name="connsiteY21" fmla="*/ 33337 h 328612"/>
                <a:gd name="connsiteX22" fmla="*/ 14288 w 314325"/>
                <a:gd name="connsiteY22" fmla="*/ 30956 h 328612"/>
                <a:gd name="connsiteX23" fmla="*/ 9525 w 314325"/>
                <a:gd name="connsiteY23" fmla="*/ 26194 h 328612"/>
                <a:gd name="connsiteX24" fmla="*/ 9525 w 314325"/>
                <a:gd name="connsiteY24" fmla="*/ 16669 h 328612"/>
                <a:gd name="connsiteX25" fmla="*/ 4763 w 314325"/>
                <a:gd name="connsiteY25" fmla="*/ 11906 h 328612"/>
                <a:gd name="connsiteX26" fmla="*/ 0 w 314325"/>
                <a:gd name="connsiteY26" fmla="*/ 0 h 328612"/>
                <a:gd name="connsiteX27" fmla="*/ 16669 w 314325"/>
                <a:gd name="connsiteY27" fmla="*/ 7144 h 328612"/>
                <a:gd name="connsiteX28" fmla="*/ 23813 w 314325"/>
                <a:gd name="connsiteY28" fmla="*/ 14287 h 328612"/>
                <a:gd name="connsiteX29" fmla="*/ 26194 w 314325"/>
                <a:gd name="connsiteY29" fmla="*/ 30956 h 328612"/>
                <a:gd name="connsiteX30" fmla="*/ 221456 w 314325"/>
                <a:gd name="connsiteY30" fmla="*/ 200025 h 328612"/>
                <a:gd name="connsiteX31" fmla="*/ 238125 w 314325"/>
                <a:gd name="connsiteY31" fmla="*/ 190500 h 328612"/>
                <a:gd name="connsiteX32" fmla="*/ 257175 w 314325"/>
                <a:gd name="connsiteY32" fmla="*/ 197644 h 328612"/>
                <a:gd name="connsiteX33" fmla="*/ 261938 w 314325"/>
                <a:gd name="connsiteY33" fmla="*/ 207169 h 328612"/>
                <a:gd name="connsiteX34" fmla="*/ 261938 w 314325"/>
                <a:gd name="connsiteY34" fmla="*/ 216694 h 328612"/>
                <a:gd name="connsiteX35" fmla="*/ 285750 w 314325"/>
                <a:gd name="connsiteY35" fmla="*/ 240506 h 328612"/>
                <a:gd name="connsiteX36" fmla="*/ 288131 w 314325"/>
                <a:gd name="connsiteY36" fmla="*/ 259556 h 328612"/>
                <a:gd name="connsiteX37" fmla="*/ 314325 w 314325"/>
                <a:gd name="connsiteY37" fmla="*/ 326231 h 328612"/>
                <a:gd name="connsiteX0" fmla="*/ 314325 w 314325"/>
                <a:gd name="connsiteY0" fmla="*/ 326231 h 328612"/>
                <a:gd name="connsiteX1" fmla="*/ 254794 w 314325"/>
                <a:gd name="connsiteY1" fmla="*/ 326231 h 328612"/>
                <a:gd name="connsiteX2" fmla="*/ 197644 w 314325"/>
                <a:gd name="connsiteY2" fmla="*/ 328612 h 328612"/>
                <a:gd name="connsiteX3" fmla="*/ 173831 w 314325"/>
                <a:gd name="connsiteY3" fmla="*/ 326231 h 328612"/>
                <a:gd name="connsiteX4" fmla="*/ 128588 w 314325"/>
                <a:gd name="connsiteY4" fmla="*/ 314325 h 328612"/>
                <a:gd name="connsiteX5" fmla="*/ 104775 w 314325"/>
                <a:gd name="connsiteY5" fmla="*/ 304800 h 328612"/>
                <a:gd name="connsiteX6" fmla="*/ 85725 w 314325"/>
                <a:gd name="connsiteY6" fmla="*/ 302419 h 328612"/>
                <a:gd name="connsiteX7" fmla="*/ 71438 w 314325"/>
                <a:gd name="connsiteY7" fmla="*/ 307181 h 328612"/>
                <a:gd name="connsiteX8" fmla="*/ 59531 w 314325"/>
                <a:gd name="connsiteY8" fmla="*/ 311944 h 328612"/>
                <a:gd name="connsiteX9" fmla="*/ 47625 w 314325"/>
                <a:gd name="connsiteY9" fmla="*/ 314325 h 328612"/>
                <a:gd name="connsiteX10" fmla="*/ 42863 w 314325"/>
                <a:gd name="connsiteY10" fmla="*/ 307181 h 328612"/>
                <a:gd name="connsiteX11" fmla="*/ 35719 w 314325"/>
                <a:gd name="connsiteY11" fmla="*/ 302419 h 328612"/>
                <a:gd name="connsiteX12" fmla="*/ 30956 w 314325"/>
                <a:gd name="connsiteY12" fmla="*/ 290512 h 328612"/>
                <a:gd name="connsiteX13" fmla="*/ 35719 w 314325"/>
                <a:gd name="connsiteY13" fmla="*/ 278606 h 328612"/>
                <a:gd name="connsiteX14" fmla="*/ 35719 w 314325"/>
                <a:gd name="connsiteY14" fmla="*/ 266700 h 328612"/>
                <a:gd name="connsiteX15" fmla="*/ 11906 w 314325"/>
                <a:gd name="connsiteY15" fmla="*/ 188119 h 328612"/>
                <a:gd name="connsiteX16" fmla="*/ 11906 w 314325"/>
                <a:gd name="connsiteY16" fmla="*/ 80962 h 328612"/>
                <a:gd name="connsiteX17" fmla="*/ 7144 w 314325"/>
                <a:gd name="connsiteY17" fmla="*/ 73819 h 328612"/>
                <a:gd name="connsiteX18" fmla="*/ 7144 w 314325"/>
                <a:gd name="connsiteY18" fmla="*/ 54769 h 328612"/>
                <a:gd name="connsiteX19" fmla="*/ 14288 w 314325"/>
                <a:gd name="connsiteY19" fmla="*/ 45244 h 328612"/>
                <a:gd name="connsiteX20" fmla="*/ 21431 w 314325"/>
                <a:gd name="connsiteY20" fmla="*/ 40481 h 328612"/>
                <a:gd name="connsiteX21" fmla="*/ 19050 w 314325"/>
                <a:gd name="connsiteY21" fmla="*/ 33337 h 328612"/>
                <a:gd name="connsiteX22" fmla="*/ 14288 w 314325"/>
                <a:gd name="connsiteY22" fmla="*/ 30956 h 328612"/>
                <a:gd name="connsiteX23" fmla="*/ 9525 w 314325"/>
                <a:gd name="connsiteY23" fmla="*/ 26194 h 328612"/>
                <a:gd name="connsiteX24" fmla="*/ 9525 w 314325"/>
                <a:gd name="connsiteY24" fmla="*/ 16669 h 328612"/>
                <a:gd name="connsiteX25" fmla="*/ 4763 w 314325"/>
                <a:gd name="connsiteY25" fmla="*/ 11906 h 328612"/>
                <a:gd name="connsiteX26" fmla="*/ 0 w 314325"/>
                <a:gd name="connsiteY26" fmla="*/ 0 h 328612"/>
                <a:gd name="connsiteX27" fmla="*/ 16669 w 314325"/>
                <a:gd name="connsiteY27" fmla="*/ 7144 h 328612"/>
                <a:gd name="connsiteX28" fmla="*/ 23813 w 314325"/>
                <a:gd name="connsiteY28" fmla="*/ 14287 h 328612"/>
                <a:gd name="connsiteX29" fmla="*/ 26194 w 314325"/>
                <a:gd name="connsiteY29" fmla="*/ 30956 h 328612"/>
                <a:gd name="connsiteX30" fmla="*/ 221456 w 314325"/>
                <a:gd name="connsiteY30" fmla="*/ 200025 h 328612"/>
                <a:gd name="connsiteX31" fmla="*/ 238125 w 314325"/>
                <a:gd name="connsiteY31" fmla="*/ 190500 h 328612"/>
                <a:gd name="connsiteX32" fmla="*/ 257175 w 314325"/>
                <a:gd name="connsiteY32" fmla="*/ 197644 h 328612"/>
                <a:gd name="connsiteX33" fmla="*/ 261938 w 314325"/>
                <a:gd name="connsiteY33" fmla="*/ 207169 h 328612"/>
                <a:gd name="connsiteX34" fmla="*/ 261938 w 314325"/>
                <a:gd name="connsiteY34" fmla="*/ 216694 h 328612"/>
                <a:gd name="connsiteX35" fmla="*/ 285750 w 314325"/>
                <a:gd name="connsiteY35" fmla="*/ 240506 h 328612"/>
                <a:gd name="connsiteX36" fmla="*/ 288131 w 314325"/>
                <a:gd name="connsiteY36" fmla="*/ 259556 h 328612"/>
                <a:gd name="connsiteX37" fmla="*/ 297656 w 314325"/>
                <a:gd name="connsiteY37" fmla="*/ 288131 h 328612"/>
                <a:gd name="connsiteX38" fmla="*/ 314325 w 314325"/>
                <a:gd name="connsiteY38" fmla="*/ 326231 h 328612"/>
                <a:gd name="connsiteX0" fmla="*/ 314325 w 314325"/>
                <a:gd name="connsiteY0" fmla="*/ 326231 h 328612"/>
                <a:gd name="connsiteX1" fmla="*/ 254794 w 314325"/>
                <a:gd name="connsiteY1" fmla="*/ 326231 h 328612"/>
                <a:gd name="connsiteX2" fmla="*/ 197644 w 314325"/>
                <a:gd name="connsiteY2" fmla="*/ 328612 h 328612"/>
                <a:gd name="connsiteX3" fmla="*/ 173831 w 314325"/>
                <a:gd name="connsiteY3" fmla="*/ 326231 h 328612"/>
                <a:gd name="connsiteX4" fmla="*/ 128588 w 314325"/>
                <a:gd name="connsiteY4" fmla="*/ 314325 h 328612"/>
                <a:gd name="connsiteX5" fmla="*/ 104775 w 314325"/>
                <a:gd name="connsiteY5" fmla="*/ 304800 h 328612"/>
                <a:gd name="connsiteX6" fmla="*/ 85725 w 314325"/>
                <a:gd name="connsiteY6" fmla="*/ 302419 h 328612"/>
                <a:gd name="connsiteX7" fmla="*/ 71438 w 314325"/>
                <a:gd name="connsiteY7" fmla="*/ 307181 h 328612"/>
                <a:gd name="connsiteX8" fmla="*/ 59531 w 314325"/>
                <a:gd name="connsiteY8" fmla="*/ 311944 h 328612"/>
                <a:gd name="connsiteX9" fmla="*/ 47625 w 314325"/>
                <a:gd name="connsiteY9" fmla="*/ 314325 h 328612"/>
                <a:gd name="connsiteX10" fmla="*/ 42863 w 314325"/>
                <a:gd name="connsiteY10" fmla="*/ 307181 h 328612"/>
                <a:gd name="connsiteX11" fmla="*/ 35719 w 314325"/>
                <a:gd name="connsiteY11" fmla="*/ 302419 h 328612"/>
                <a:gd name="connsiteX12" fmla="*/ 30956 w 314325"/>
                <a:gd name="connsiteY12" fmla="*/ 290512 h 328612"/>
                <a:gd name="connsiteX13" fmla="*/ 35719 w 314325"/>
                <a:gd name="connsiteY13" fmla="*/ 278606 h 328612"/>
                <a:gd name="connsiteX14" fmla="*/ 35719 w 314325"/>
                <a:gd name="connsiteY14" fmla="*/ 266700 h 328612"/>
                <a:gd name="connsiteX15" fmla="*/ 11906 w 314325"/>
                <a:gd name="connsiteY15" fmla="*/ 188119 h 328612"/>
                <a:gd name="connsiteX16" fmla="*/ 11906 w 314325"/>
                <a:gd name="connsiteY16" fmla="*/ 80962 h 328612"/>
                <a:gd name="connsiteX17" fmla="*/ 7144 w 314325"/>
                <a:gd name="connsiteY17" fmla="*/ 73819 h 328612"/>
                <a:gd name="connsiteX18" fmla="*/ 7144 w 314325"/>
                <a:gd name="connsiteY18" fmla="*/ 54769 h 328612"/>
                <a:gd name="connsiteX19" fmla="*/ 14288 w 314325"/>
                <a:gd name="connsiteY19" fmla="*/ 45244 h 328612"/>
                <a:gd name="connsiteX20" fmla="*/ 21431 w 314325"/>
                <a:gd name="connsiteY20" fmla="*/ 40481 h 328612"/>
                <a:gd name="connsiteX21" fmla="*/ 19050 w 314325"/>
                <a:gd name="connsiteY21" fmla="*/ 33337 h 328612"/>
                <a:gd name="connsiteX22" fmla="*/ 14288 w 314325"/>
                <a:gd name="connsiteY22" fmla="*/ 30956 h 328612"/>
                <a:gd name="connsiteX23" fmla="*/ 9525 w 314325"/>
                <a:gd name="connsiteY23" fmla="*/ 26194 h 328612"/>
                <a:gd name="connsiteX24" fmla="*/ 9525 w 314325"/>
                <a:gd name="connsiteY24" fmla="*/ 16669 h 328612"/>
                <a:gd name="connsiteX25" fmla="*/ 4763 w 314325"/>
                <a:gd name="connsiteY25" fmla="*/ 11906 h 328612"/>
                <a:gd name="connsiteX26" fmla="*/ 0 w 314325"/>
                <a:gd name="connsiteY26" fmla="*/ 0 h 328612"/>
                <a:gd name="connsiteX27" fmla="*/ 16669 w 314325"/>
                <a:gd name="connsiteY27" fmla="*/ 7144 h 328612"/>
                <a:gd name="connsiteX28" fmla="*/ 23813 w 314325"/>
                <a:gd name="connsiteY28" fmla="*/ 14287 h 328612"/>
                <a:gd name="connsiteX29" fmla="*/ 26194 w 314325"/>
                <a:gd name="connsiteY29" fmla="*/ 30956 h 328612"/>
                <a:gd name="connsiteX30" fmla="*/ 221456 w 314325"/>
                <a:gd name="connsiteY30" fmla="*/ 200025 h 328612"/>
                <a:gd name="connsiteX31" fmla="*/ 238125 w 314325"/>
                <a:gd name="connsiteY31" fmla="*/ 190500 h 328612"/>
                <a:gd name="connsiteX32" fmla="*/ 257175 w 314325"/>
                <a:gd name="connsiteY32" fmla="*/ 197644 h 328612"/>
                <a:gd name="connsiteX33" fmla="*/ 261938 w 314325"/>
                <a:gd name="connsiteY33" fmla="*/ 207169 h 328612"/>
                <a:gd name="connsiteX34" fmla="*/ 261938 w 314325"/>
                <a:gd name="connsiteY34" fmla="*/ 216694 h 328612"/>
                <a:gd name="connsiteX35" fmla="*/ 285750 w 314325"/>
                <a:gd name="connsiteY35" fmla="*/ 240506 h 328612"/>
                <a:gd name="connsiteX36" fmla="*/ 288131 w 314325"/>
                <a:gd name="connsiteY36" fmla="*/ 259556 h 328612"/>
                <a:gd name="connsiteX37" fmla="*/ 307181 w 314325"/>
                <a:gd name="connsiteY37" fmla="*/ 285750 h 328612"/>
                <a:gd name="connsiteX38" fmla="*/ 314325 w 314325"/>
                <a:gd name="connsiteY38" fmla="*/ 326231 h 328612"/>
                <a:gd name="connsiteX0" fmla="*/ 314325 w 314325"/>
                <a:gd name="connsiteY0" fmla="*/ 326231 h 328612"/>
                <a:gd name="connsiteX1" fmla="*/ 254794 w 314325"/>
                <a:gd name="connsiteY1" fmla="*/ 326231 h 328612"/>
                <a:gd name="connsiteX2" fmla="*/ 197644 w 314325"/>
                <a:gd name="connsiteY2" fmla="*/ 328612 h 328612"/>
                <a:gd name="connsiteX3" fmla="*/ 173831 w 314325"/>
                <a:gd name="connsiteY3" fmla="*/ 326231 h 328612"/>
                <a:gd name="connsiteX4" fmla="*/ 128588 w 314325"/>
                <a:gd name="connsiteY4" fmla="*/ 314325 h 328612"/>
                <a:gd name="connsiteX5" fmla="*/ 104775 w 314325"/>
                <a:gd name="connsiteY5" fmla="*/ 304800 h 328612"/>
                <a:gd name="connsiteX6" fmla="*/ 85725 w 314325"/>
                <a:gd name="connsiteY6" fmla="*/ 302419 h 328612"/>
                <a:gd name="connsiteX7" fmla="*/ 71438 w 314325"/>
                <a:gd name="connsiteY7" fmla="*/ 307181 h 328612"/>
                <a:gd name="connsiteX8" fmla="*/ 59531 w 314325"/>
                <a:gd name="connsiteY8" fmla="*/ 311944 h 328612"/>
                <a:gd name="connsiteX9" fmla="*/ 47625 w 314325"/>
                <a:gd name="connsiteY9" fmla="*/ 314325 h 328612"/>
                <a:gd name="connsiteX10" fmla="*/ 42863 w 314325"/>
                <a:gd name="connsiteY10" fmla="*/ 307181 h 328612"/>
                <a:gd name="connsiteX11" fmla="*/ 35719 w 314325"/>
                <a:gd name="connsiteY11" fmla="*/ 302419 h 328612"/>
                <a:gd name="connsiteX12" fmla="*/ 30956 w 314325"/>
                <a:gd name="connsiteY12" fmla="*/ 290512 h 328612"/>
                <a:gd name="connsiteX13" fmla="*/ 35719 w 314325"/>
                <a:gd name="connsiteY13" fmla="*/ 278606 h 328612"/>
                <a:gd name="connsiteX14" fmla="*/ 35719 w 314325"/>
                <a:gd name="connsiteY14" fmla="*/ 266700 h 328612"/>
                <a:gd name="connsiteX15" fmla="*/ 11906 w 314325"/>
                <a:gd name="connsiteY15" fmla="*/ 188119 h 328612"/>
                <a:gd name="connsiteX16" fmla="*/ 11906 w 314325"/>
                <a:gd name="connsiteY16" fmla="*/ 80962 h 328612"/>
                <a:gd name="connsiteX17" fmla="*/ 7144 w 314325"/>
                <a:gd name="connsiteY17" fmla="*/ 73819 h 328612"/>
                <a:gd name="connsiteX18" fmla="*/ 7144 w 314325"/>
                <a:gd name="connsiteY18" fmla="*/ 54769 h 328612"/>
                <a:gd name="connsiteX19" fmla="*/ 14288 w 314325"/>
                <a:gd name="connsiteY19" fmla="*/ 45244 h 328612"/>
                <a:gd name="connsiteX20" fmla="*/ 21431 w 314325"/>
                <a:gd name="connsiteY20" fmla="*/ 40481 h 328612"/>
                <a:gd name="connsiteX21" fmla="*/ 19050 w 314325"/>
                <a:gd name="connsiteY21" fmla="*/ 33337 h 328612"/>
                <a:gd name="connsiteX22" fmla="*/ 14288 w 314325"/>
                <a:gd name="connsiteY22" fmla="*/ 30956 h 328612"/>
                <a:gd name="connsiteX23" fmla="*/ 9525 w 314325"/>
                <a:gd name="connsiteY23" fmla="*/ 26194 h 328612"/>
                <a:gd name="connsiteX24" fmla="*/ 9525 w 314325"/>
                <a:gd name="connsiteY24" fmla="*/ 16669 h 328612"/>
                <a:gd name="connsiteX25" fmla="*/ 4763 w 314325"/>
                <a:gd name="connsiteY25" fmla="*/ 11906 h 328612"/>
                <a:gd name="connsiteX26" fmla="*/ 0 w 314325"/>
                <a:gd name="connsiteY26" fmla="*/ 0 h 328612"/>
                <a:gd name="connsiteX27" fmla="*/ 16669 w 314325"/>
                <a:gd name="connsiteY27" fmla="*/ 7144 h 328612"/>
                <a:gd name="connsiteX28" fmla="*/ 23813 w 314325"/>
                <a:gd name="connsiteY28" fmla="*/ 14287 h 328612"/>
                <a:gd name="connsiteX29" fmla="*/ 26194 w 314325"/>
                <a:gd name="connsiteY29" fmla="*/ 30956 h 328612"/>
                <a:gd name="connsiteX30" fmla="*/ 221456 w 314325"/>
                <a:gd name="connsiteY30" fmla="*/ 200025 h 328612"/>
                <a:gd name="connsiteX31" fmla="*/ 238125 w 314325"/>
                <a:gd name="connsiteY31" fmla="*/ 183356 h 328612"/>
                <a:gd name="connsiteX32" fmla="*/ 257175 w 314325"/>
                <a:gd name="connsiteY32" fmla="*/ 197644 h 328612"/>
                <a:gd name="connsiteX33" fmla="*/ 261938 w 314325"/>
                <a:gd name="connsiteY33" fmla="*/ 207169 h 328612"/>
                <a:gd name="connsiteX34" fmla="*/ 261938 w 314325"/>
                <a:gd name="connsiteY34" fmla="*/ 216694 h 328612"/>
                <a:gd name="connsiteX35" fmla="*/ 285750 w 314325"/>
                <a:gd name="connsiteY35" fmla="*/ 240506 h 328612"/>
                <a:gd name="connsiteX36" fmla="*/ 288131 w 314325"/>
                <a:gd name="connsiteY36" fmla="*/ 259556 h 328612"/>
                <a:gd name="connsiteX37" fmla="*/ 307181 w 314325"/>
                <a:gd name="connsiteY37" fmla="*/ 285750 h 328612"/>
                <a:gd name="connsiteX38" fmla="*/ 314325 w 314325"/>
                <a:gd name="connsiteY38" fmla="*/ 326231 h 32861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</a:cxnLst>
              <a:rect l="l" t="t" r="r" b="b"/>
              <a:pathLst>
                <a:path w="314325" h="328612">
                  <a:moveTo>
                    <a:pt x="314325" y="326231"/>
                  </a:moveTo>
                  <a:lnTo>
                    <a:pt x="254794" y="326231"/>
                  </a:lnTo>
                  <a:lnTo>
                    <a:pt x="197644" y="328612"/>
                  </a:lnTo>
                  <a:lnTo>
                    <a:pt x="173831" y="326231"/>
                  </a:lnTo>
                  <a:lnTo>
                    <a:pt x="128588" y="314325"/>
                  </a:lnTo>
                  <a:lnTo>
                    <a:pt x="104775" y="304800"/>
                  </a:lnTo>
                  <a:lnTo>
                    <a:pt x="85725" y="302419"/>
                  </a:lnTo>
                  <a:lnTo>
                    <a:pt x="71438" y="307181"/>
                  </a:lnTo>
                  <a:lnTo>
                    <a:pt x="59531" y="311944"/>
                  </a:lnTo>
                  <a:lnTo>
                    <a:pt x="47625" y="314325"/>
                  </a:lnTo>
                  <a:lnTo>
                    <a:pt x="42863" y="307181"/>
                  </a:lnTo>
                  <a:lnTo>
                    <a:pt x="35719" y="302419"/>
                  </a:lnTo>
                  <a:lnTo>
                    <a:pt x="30956" y="290512"/>
                  </a:lnTo>
                  <a:lnTo>
                    <a:pt x="35719" y="278606"/>
                  </a:lnTo>
                  <a:lnTo>
                    <a:pt x="35719" y="266700"/>
                  </a:lnTo>
                  <a:lnTo>
                    <a:pt x="11906" y="188119"/>
                  </a:lnTo>
                  <a:lnTo>
                    <a:pt x="11906" y="80962"/>
                  </a:lnTo>
                  <a:lnTo>
                    <a:pt x="7144" y="73819"/>
                  </a:lnTo>
                  <a:lnTo>
                    <a:pt x="7144" y="54769"/>
                  </a:lnTo>
                  <a:lnTo>
                    <a:pt x="14288" y="45244"/>
                  </a:lnTo>
                  <a:lnTo>
                    <a:pt x="21431" y="40481"/>
                  </a:lnTo>
                  <a:lnTo>
                    <a:pt x="19050" y="33337"/>
                  </a:lnTo>
                  <a:lnTo>
                    <a:pt x="14288" y="30956"/>
                  </a:lnTo>
                  <a:lnTo>
                    <a:pt x="9525" y="26194"/>
                  </a:lnTo>
                  <a:lnTo>
                    <a:pt x="9525" y="16669"/>
                  </a:lnTo>
                  <a:lnTo>
                    <a:pt x="4763" y="11906"/>
                  </a:lnTo>
                  <a:lnTo>
                    <a:pt x="0" y="0"/>
                  </a:lnTo>
                  <a:lnTo>
                    <a:pt x="16669" y="7144"/>
                  </a:lnTo>
                  <a:lnTo>
                    <a:pt x="23813" y="14287"/>
                  </a:lnTo>
                  <a:lnTo>
                    <a:pt x="26194" y="30956"/>
                  </a:lnTo>
                  <a:lnTo>
                    <a:pt x="221456" y="200025"/>
                  </a:lnTo>
                  <a:lnTo>
                    <a:pt x="238125" y="183356"/>
                  </a:lnTo>
                  <a:lnTo>
                    <a:pt x="257175" y="197644"/>
                  </a:lnTo>
                  <a:lnTo>
                    <a:pt x="261938" y="207169"/>
                  </a:lnTo>
                  <a:lnTo>
                    <a:pt x="261938" y="216694"/>
                  </a:lnTo>
                  <a:lnTo>
                    <a:pt x="285750" y="240506"/>
                  </a:lnTo>
                  <a:lnTo>
                    <a:pt x="288131" y="259556"/>
                  </a:lnTo>
                  <a:lnTo>
                    <a:pt x="307181" y="285750"/>
                  </a:lnTo>
                  <a:lnTo>
                    <a:pt x="314325" y="326231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 err="1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321" name="Freeform 320"/>
            <p:cNvSpPr/>
            <p:nvPr/>
          </p:nvSpPr>
          <p:spPr>
            <a:xfrm>
              <a:off x="4292319" y="2678815"/>
              <a:ext cx="335377" cy="177339"/>
            </a:xfrm>
            <a:custGeom>
              <a:avLst/>
              <a:gdLst>
                <a:gd name="connsiteX0" fmla="*/ 85725 w 404812"/>
                <a:gd name="connsiteY0" fmla="*/ 214313 h 240507"/>
                <a:gd name="connsiteX1" fmla="*/ 52387 w 404812"/>
                <a:gd name="connsiteY1" fmla="*/ 176213 h 240507"/>
                <a:gd name="connsiteX2" fmla="*/ 35719 w 404812"/>
                <a:gd name="connsiteY2" fmla="*/ 185738 h 240507"/>
                <a:gd name="connsiteX3" fmla="*/ 23812 w 404812"/>
                <a:gd name="connsiteY3" fmla="*/ 173832 h 240507"/>
                <a:gd name="connsiteX4" fmla="*/ 33337 w 404812"/>
                <a:gd name="connsiteY4" fmla="*/ 161925 h 240507"/>
                <a:gd name="connsiteX5" fmla="*/ 0 w 404812"/>
                <a:gd name="connsiteY5" fmla="*/ 116682 h 240507"/>
                <a:gd name="connsiteX6" fmla="*/ 100012 w 404812"/>
                <a:gd name="connsiteY6" fmla="*/ 50007 h 240507"/>
                <a:gd name="connsiteX7" fmla="*/ 90487 w 404812"/>
                <a:gd name="connsiteY7" fmla="*/ 40482 h 240507"/>
                <a:gd name="connsiteX8" fmla="*/ 109537 w 404812"/>
                <a:gd name="connsiteY8" fmla="*/ 30957 h 240507"/>
                <a:gd name="connsiteX9" fmla="*/ 116681 w 404812"/>
                <a:gd name="connsiteY9" fmla="*/ 47625 h 240507"/>
                <a:gd name="connsiteX10" fmla="*/ 178594 w 404812"/>
                <a:gd name="connsiteY10" fmla="*/ 19050 h 240507"/>
                <a:gd name="connsiteX11" fmla="*/ 173831 w 404812"/>
                <a:gd name="connsiteY11" fmla="*/ 9525 h 240507"/>
                <a:gd name="connsiteX12" fmla="*/ 202406 w 404812"/>
                <a:gd name="connsiteY12" fmla="*/ 0 h 240507"/>
                <a:gd name="connsiteX13" fmla="*/ 214312 w 404812"/>
                <a:gd name="connsiteY13" fmla="*/ 30957 h 240507"/>
                <a:gd name="connsiteX14" fmla="*/ 245269 w 404812"/>
                <a:gd name="connsiteY14" fmla="*/ 21432 h 240507"/>
                <a:gd name="connsiteX15" fmla="*/ 261937 w 404812"/>
                <a:gd name="connsiteY15" fmla="*/ 40482 h 240507"/>
                <a:gd name="connsiteX16" fmla="*/ 283369 w 404812"/>
                <a:gd name="connsiteY16" fmla="*/ 28575 h 240507"/>
                <a:gd name="connsiteX17" fmla="*/ 295275 w 404812"/>
                <a:gd name="connsiteY17" fmla="*/ 38100 h 240507"/>
                <a:gd name="connsiteX18" fmla="*/ 302419 w 404812"/>
                <a:gd name="connsiteY18" fmla="*/ 23813 h 240507"/>
                <a:gd name="connsiteX19" fmla="*/ 321469 w 404812"/>
                <a:gd name="connsiteY19" fmla="*/ 21432 h 240507"/>
                <a:gd name="connsiteX20" fmla="*/ 326231 w 404812"/>
                <a:gd name="connsiteY20" fmla="*/ 35719 h 240507"/>
                <a:gd name="connsiteX21" fmla="*/ 402431 w 404812"/>
                <a:gd name="connsiteY21" fmla="*/ 69057 h 240507"/>
                <a:gd name="connsiteX22" fmla="*/ 404812 w 404812"/>
                <a:gd name="connsiteY22" fmla="*/ 80963 h 240507"/>
                <a:gd name="connsiteX23" fmla="*/ 404812 w 404812"/>
                <a:gd name="connsiteY23" fmla="*/ 80963 h 240507"/>
                <a:gd name="connsiteX24" fmla="*/ 402431 w 404812"/>
                <a:gd name="connsiteY24" fmla="*/ 107157 h 240507"/>
                <a:gd name="connsiteX25" fmla="*/ 397669 w 404812"/>
                <a:gd name="connsiteY25" fmla="*/ 114300 h 240507"/>
                <a:gd name="connsiteX26" fmla="*/ 397669 w 404812"/>
                <a:gd name="connsiteY26" fmla="*/ 114300 h 240507"/>
                <a:gd name="connsiteX27" fmla="*/ 376237 w 404812"/>
                <a:gd name="connsiteY27" fmla="*/ 116682 h 240507"/>
                <a:gd name="connsiteX28" fmla="*/ 359569 w 404812"/>
                <a:gd name="connsiteY28" fmla="*/ 111919 h 240507"/>
                <a:gd name="connsiteX29" fmla="*/ 342900 w 404812"/>
                <a:gd name="connsiteY29" fmla="*/ 102394 h 240507"/>
                <a:gd name="connsiteX30" fmla="*/ 338137 w 404812"/>
                <a:gd name="connsiteY30" fmla="*/ 95250 h 240507"/>
                <a:gd name="connsiteX31" fmla="*/ 323850 w 404812"/>
                <a:gd name="connsiteY31" fmla="*/ 95250 h 240507"/>
                <a:gd name="connsiteX32" fmla="*/ 309562 w 404812"/>
                <a:gd name="connsiteY32" fmla="*/ 80963 h 240507"/>
                <a:gd name="connsiteX33" fmla="*/ 304800 w 404812"/>
                <a:gd name="connsiteY33" fmla="*/ 80963 h 240507"/>
                <a:gd name="connsiteX34" fmla="*/ 290512 w 404812"/>
                <a:gd name="connsiteY34" fmla="*/ 80963 h 240507"/>
                <a:gd name="connsiteX35" fmla="*/ 285750 w 404812"/>
                <a:gd name="connsiteY35" fmla="*/ 78582 h 240507"/>
                <a:gd name="connsiteX36" fmla="*/ 261937 w 404812"/>
                <a:gd name="connsiteY36" fmla="*/ 107157 h 240507"/>
                <a:gd name="connsiteX37" fmla="*/ 254794 w 404812"/>
                <a:gd name="connsiteY37" fmla="*/ 109538 h 240507"/>
                <a:gd name="connsiteX38" fmla="*/ 257175 w 404812"/>
                <a:gd name="connsiteY38" fmla="*/ 123825 h 240507"/>
                <a:gd name="connsiteX39" fmla="*/ 247650 w 404812"/>
                <a:gd name="connsiteY39" fmla="*/ 140494 h 240507"/>
                <a:gd name="connsiteX40" fmla="*/ 233362 w 404812"/>
                <a:gd name="connsiteY40" fmla="*/ 152400 h 240507"/>
                <a:gd name="connsiteX41" fmla="*/ 216694 w 404812"/>
                <a:gd name="connsiteY41" fmla="*/ 152400 h 240507"/>
                <a:gd name="connsiteX42" fmla="*/ 211931 w 404812"/>
                <a:gd name="connsiteY42" fmla="*/ 169069 h 240507"/>
                <a:gd name="connsiteX43" fmla="*/ 211931 w 404812"/>
                <a:gd name="connsiteY43" fmla="*/ 169069 h 240507"/>
                <a:gd name="connsiteX44" fmla="*/ 188119 w 404812"/>
                <a:gd name="connsiteY44" fmla="*/ 190500 h 240507"/>
                <a:gd name="connsiteX45" fmla="*/ 195262 w 404812"/>
                <a:gd name="connsiteY45" fmla="*/ 211932 h 240507"/>
                <a:gd name="connsiteX46" fmla="*/ 157162 w 404812"/>
                <a:gd name="connsiteY46" fmla="*/ 240507 h 240507"/>
                <a:gd name="connsiteX47" fmla="*/ 138112 w 404812"/>
                <a:gd name="connsiteY47" fmla="*/ 202407 h 240507"/>
                <a:gd name="connsiteX48" fmla="*/ 85725 w 404812"/>
                <a:gd name="connsiteY48" fmla="*/ 214313 h 24050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  <a:cxn ang="0">
                  <a:pos x="connsiteX24" y="connsiteY24"/>
                </a:cxn>
                <a:cxn ang="0">
                  <a:pos x="connsiteX25" y="connsiteY25"/>
                </a:cxn>
                <a:cxn ang="0">
                  <a:pos x="connsiteX26" y="connsiteY26"/>
                </a:cxn>
                <a:cxn ang="0">
                  <a:pos x="connsiteX27" y="connsiteY27"/>
                </a:cxn>
                <a:cxn ang="0">
                  <a:pos x="connsiteX28" y="connsiteY28"/>
                </a:cxn>
                <a:cxn ang="0">
                  <a:pos x="connsiteX29" y="connsiteY29"/>
                </a:cxn>
                <a:cxn ang="0">
                  <a:pos x="connsiteX30" y="connsiteY30"/>
                </a:cxn>
                <a:cxn ang="0">
                  <a:pos x="connsiteX31" y="connsiteY31"/>
                </a:cxn>
                <a:cxn ang="0">
                  <a:pos x="connsiteX32" y="connsiteY32"/>
                </a:cxn>
                <a:cxn ang="0">
                  <a:pos x="connsiteX33" y="connsiteY33"/>
                </a:cxn>
                <a:cxn ang="0">
                  <a:pos x="connsiteX34" y="connsiteY34"/>
                </a:cxn>
                <a:cxn ang="0">
                  <a:pos x="connsiteX35" y="connsiteY35"/>
                </a:cxn>
                <a:cxn ang="0">
                  <a:pos x="connsiteX36" y="connsiteY36"/>
                </a:cxn>
                <a:cxn ang="0">
                  <a:pos x="connsiteX37" y="connsiteY37"/>
                </a:cxn>
                <a:cxn ang="0">
                  <a:pos x="connsiteX38" y="connsiteY38"/>
                </a:cxn>
                <a:cxn ang="0">
                  <a:pos x="connsiteX39" y="connsiteY39"/>
                </a:cxn>
                <a:cxn ang="0">
                  <a:pos x="connsiteX40" y="connsiteY40"/>
                </a:cxn>
                <a:cxn ang="0">
                  <a:pos x="connsiteX41" y="connsiteY41"/>
                </a:cxn>
                <a:cxn ang="0">
                  <a:pos x="connsiteX42" y="connsiteY42"/>
                </a:cxn>
                <a:cxn ang="0">
                  <a:pos x="connsiteX43" y="connsiteY43"/>
                </a:cxn>
                <a:cxn ang="0">
                  <a:pos x="connsiteX44" y="connsiteY44"/>
                </a:cxn>
                <a:cxn ang="0">
                  <a:pos x="connsiteX45" y="connsiteY45"/>
                </a:cxn>
                <a:cxn ang="0">
                  <a:pos x="connsiteX46" y="connsiteY46"/>
                </a:cxn>
                <a:cxn ang="0">
                  <a:pos x="connsiteX47" y="connsiteY47"/>
                </a:cxn>
                <a:cxn ang="0">
                  <a:pos x="connsiteX48" y="connsiteY48"/>
                </a:cxn>
              </a:cxnLst>
              <a:rect l="l" t="t" r="r" b="b"/>
              <a:pathLst>
                <a:path w="404812" h="240507">
                  <a:moveTo>
                    <a:pt x="85725" y="214313"/>
                  </a:moveTo>
                  <a:lnTo>
                    <a:pt x="52387" y="176213"/>
                  </a:lnTo>
                  <a:lnTo>
                    <a:pt x="35719" y="185738"/>
                  </a:lnTo>
                  <a:lnTo>
                    <a:pt x="23812" y="173832"/>
                  </a:lnTo>
                  <a:lnTo>
                    <a:pt x="33337" y="161925"/>
                  </a:lnTo>
                  <a:lnTo>
                    <a:pt x="0" y="116682"/>
                  </a:lnTo>
                  <a:lnTo>
                    <a:pt x="100012" y="50007"/>
                  </a:lnTo>
                  <a:lnTo>
                    <a:pt x="90487" y="40482"/>
                  </a:lnTo>
                  <a:lnTo>
                    <a:pt x="109537" y="30957"/>
                  </a:lnTo>
                  <a:lnTo>
                    <a:pt x="116681" y="47625"/>
                  </a:lnTo>
                  <a:lnTo>
                    <a:pt x="178594" y="19050"/>
                  </a:lnTo>
                  <a:lnTo>
                    <a:pt x="173831" y="9525"/>
                  </a:lnTo>
                  <a:lnTo>
                    <a:pt x="202406" y="0"/>
                  </a:lnTo>
                  <a:lnTo>
                    <a:pt x="214312" y="30957"/>
                  </a:lnTo>
                  <a:lnTo>
                    <a:pt x="245269" y="21432"/>
                  </a:lnTo>
                  <a:lnTo>
                    <a:pt x="261937" y="40482"/>
                  </a:lnTo>
                  <a:lnTo>
                    <a:pt x="283369" y="28575"/>
                  </a:lnTo>
                  <a:lnTo>
                    <a:pt x="295275" y="38100"/>
                  </a:lnTo>
                  <a:lnTo>
                    <a:pt x="302419" y="23813"/>
                  </a:lnTo>
                  <a:lnTo>
                    <a:pt x="321469" y="21432"/>
                  </a:lnTo>
                  <a:lnTo>
                    <a:pt x="326231" y="35719"/>
                  </a:lnTo>
                  <a:lnTo>
                    <a:pt x="402431" y="69057"/>
                  </a:lnTo>
                  <a:lnTo>
                    <a:pt x="404812" y="80963"/>
                  </a:lnTo>
                  <a:lnTo>
                    <a:pt x="404812" y="80963"/>
                  </a:lnTo>
                  <a:lnTo>
                    <a:pt x="402431" y="107157"/>
                  </a:lnTo>
                  <a:lnTo>
                    <a:pt x="397669" y="114300"/>
                  </a:lnTo>
                  <a:lnTo>
                    <a:pt x="397669" y="114300"/>
                  </a:lnTo>
                  <a:lnTo>
                    <a:pt x="376237" y="116682"/>
                  </a:lnTo>
                  <a:lnTo>
                    <a:pt x="359569" y="111919"/>
                  </a:lnTo>
                  <a:lnTo>
                    <a:pt x="342900" y="102394"/>
                  </a:lnTo>
                  <a:lnTo>
                    <a:pt x="338137" y="95250"/>
                  </a:lnTo>
                  <a:lnTo>
                    <a:pt x="323850" y="95250"/>
                  </a:lnTo>
                  <a:lnTo>
                    <a:pt x="309562" y="80963"/>
                  </a:lnTo>
                  <a:lnTo>
                    <a:pt x="304800" y="80963"/>
                  </a:lnTo>
                  <a:lnTo>
                    <a:pt x="290512" y="80963"/>
                  </a:lnTo>
                  <a:lnTo>
                    <a:pt x="285750" y="78582"/>
                  </a:lnTo>
                  <a:lnTo>
                    <a:pt x="261937" y="107157"/>
                  </a:lnTo>
                  <a:lnTo>
                    <a:pt x="254794" y="109538"/>
                  </a:lnTo>
                  <a:lnTo>
                    <a:pt x="257175" y="123825"/>
                  </a:lnTo>
                  <a:lnTo>
                    <a:pt x="247650" y="140494"/>
                  </a:lnTo>
                  <a:lnTo>
                    <a:pt x="233362" y="152400"/>
                  </a:lnTo>
                  <a:lnTo>
                    <a:pt x="216694" y="152400"/>
                  </a:lnTo>
                  <a:lnTo>
                    <a:pt x="211931" y="169069"/>
                  </a:lnTo>
                  <a:lnTo>
                    <a:pt x="211931" y="169069"/>
                  </a:lnTo>
                  <a:lnTo>
                    <a:pt x="188119" y="190500"/>
                  </a:lnTo>
                  <a:lnTo>
                    <a:pt x="195262" y="211932"/>
                  </a:lnTo>
                  <a:lnTo>
                    <a:pt x="157162" y="240507"/>
                  </a:lnTo>
                  <a:lnTo>
                    <a:pt x="138112" y="202407"/>
                  </a:lnTo>
                  <a:lnTo>
                    <a:pt x="85725" y="214313"/>
                  </a:lnTo>
                  <a:close/>
                </a:path>
              </a:pathLst>
            </a:custGeom>
            <a:solidFill>
              <a:schemeClr val="accent6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sz="1200" dirty="0" err="1">
                <a:solidFill>
                  <a:schemeClr val="tx1"/>
                </a:solidFill>
                <a:latin typeface="Arial" charset="0"/>
              </a:endParaRPr>
            </a:p>
          </p:txBody>
        </p:sp>
        <p:sp>
          <p:nvSpPr>
            <p:cNvPr id="247" name="Freeform 76"/>
            <p:cNvSpPr>
              <a:spLocks/>
            </p:cNvSpPr>
            <p:nvPr/>
          </p:nvSpPr>
          <p:spPr bwMode="auto">
            <a:xfrm>
              <a:off x="2379825" y="2414881"/>
              <a:ext cx="341883" cy="433424"/>
            </a:xfrm>
            <a:custGeom>
              <a:avLst/>
              <a:gdLst>
                <a:gd name="T0" fmla="*/ 934 w 934"/>
                <a:gd name="T1" fmla="*/ 1202 h 1331"/>
                <a:gd name="T2" fmla="*/ 828 w 934"/>
                <a:gd name="T3" fmla="*/ 1122 h 1331"/>
                <a:gd name="T4" fmla="*/ 805 w 934"/>
                <a:gd name="T5" fmla="*/ 934 h 1331"/>
                <a:gd name="T6" fmla="*/ 744 w 934"/>
                <a:gd name="T7" fmla="*/ 811 h 1331"/>
                <a:gd name="T8" fmla="*/ 737 w 934"/>
                <a:gd name="T9" fmla="*/ 513 h 1331"/>
                <a:gd name="T10" fmla="*/ 786 w 934"/>
                <a:gd name="T11" fmla="*/ 343 h 1331"/>
                <a:gd name="T12" fmla="*/ 809 w 934"/>
                <a:gd name="T13" fmla="*/ 306 h 1331"/>
                <a:gd name="T14" fmla="*/ 734 w 934"/>
                <a:gd name="T15" fmla="*/ 44 h 1331"/>
                <a:gd name="T16" fmla="*/ 635 w 934"/>
                <a:gd name="T17" fmla="*/ 28 h 1331"/>
                <a:gd name="T18" fmla="*/ 510 w 934"/>
                <a:gd name="T19" fmla="*/ 6 h 1331"/>
                <a:gd name="T20" fmla="*/ 384 w 934"/>
                <a:gd name="T21" fmla="*/ 51 h 1331"/>
                <a:gd name="T22" fmla="*/ 471 w 934"/>
                <a:gd name="T23" fmla="*/ 150 h 1331"/>
                <a:gd name="T24" fmla="*/ 249 w 934"/>
                <a:gd name="T25" fmla="*/ 310 h 1331"/>
                <a:gd name="T26" fmla="*/ 78 w 934"/>
                <a:gd name="T27" fmla="*/ 435 h 1331"/>
                <a:gd name="T28" fmla="*/ 0 w 934"/>
                <a:gd name="T29" fmla="*/ 566 h 1331"/>
                <a:gd name="T30" fmla="*/ 17 w 934"/>
                <a:gd name="T31" fmla="*/ 707 h 1331"/>
                <a:gd name="T32" fmla="*/ 9 w 934"/>
                <a:gd name="T33" fmla="*/ 850 h 1331"/>
                <a:gd name="T34" fmla="*/ 51 w 934"/>
                <a:gd name="T35" fmla="*/ 891 h 1331"/>
                <a:gd name="T36" fmla="*/ 110 w 934"/>
                <a:gd name="T37" fmla="*/ 1004 h 1331"/>
                <a:gd name="T38" fmla="*/ 138 w 934"/>
                <a:gd name="T39" fmla="*/ 1120 h 1331"/>
                <a:gd name="T40" fmla="*/ 303 w 934"/>
                <a:gd name="T41" fmla="*/ 1281 h 1331"/>
                <a:gd name="T42" fmla="*/ 396 w 934"/>
                <a:gd name="T43" fmla="*/ 1328 h 1331"/>
                <a:gd name="T44" fmla="*/ 516 w 934"/>
                <a:gd name="T45" fmla="*/ 1314 h 1331"/>
                <a:gd name="T46" fmla="*/ 934 w 934"/>
                <a:gd name="T47" fmla="*/ 1202 h 1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934" h="1331">
                  <a:moveTo>
                    <a:pt x="934" y="1202"/>
                  </a:moveTo>
                  <a:cubicBezTo>
                    <a:pt x="828" y="1122"/>
                    <a:pt x="828" y="1122"/>
                    <a:pt x="828" y="1122"/>
                  </a:cubicBezTo>
                  <a:cubicBezTo>
                    <a:pt x="828" y="1122"/>
                    <a:pt x="819" y="981"/>
                    <a:pt x="805" y="934"/>
                  </a:cubicBezTo>
                  <a:cubicBezTo>
                    <a:pt x="791" y="887"/>
                    <a:pt x="744" y="811"/>
                    <a:pt x="744" y="811"/>
                  </a:cubicBezTo>
                  <a:cubicBezTo>
                    <a:pt x="737" y="513"/>
                    <a:pt x="737" y="513"/>
                    <a:pt x="737" y="513"/>
                  </a:cubicBezTo>
                  <a:cubicBezTo>
                    <a:pt x="786" y="343"/>
                    <a:pt x="786" y="343"/>
                    <a:pt x="786" y="343"/>
                  </a:cubicBezTo>
                  <a:cubicBezTo>
                    <a:pt x="809" y="306"/>
                    <a:pt x="809" y="306"/>
                    <a:pt x="809" y="306"/>
                  </a:cubicBezTo>
                  <a:cubicBezTo>
                    <a:pt x="734" y="44"/>
                    <a:pt x="734" y="44"/>
                    <a:pt x="734" y="44"/>
                  </a:cubicBezTo>
                  <a:cubicBezTo>
                    <a:pt x="734" y="44"/>
                    <a:pt x="654" y="32"/>
                    <a:pt x="635" y="28"/>
                  </a:cubicBezTo>
                  <a:cubicBezTo>
                    <a:pt x="616" y="25"/>
                    <a:pt x="537" y="0"/>
                    <a:pt x="510" y="6"/>
                  </a:cubicBezTo>
                  <a:cubicBezTo>
                    <a:pt x="482" y="11"/>
                    <a:pt x="384" y="51"/>
                    <a:pt x="384" y="51"/>
                  </a:cubicBezTo>
                  <a:cubicBezTo>
                    <a:pt x="471" y="150"/>
                    <a:pt x="471" y="150"/>
                    <a:pt x="471" y="150"/>
                  </a:cubicBezTo>
                  <a:cubicBezTo>
                    <a:pt x="249" y="310"/>
                    <a:pt x="249" y="310"/>
                    <a:pt x="249" y="310"/>
                  </a:cubicBezTo>
                  <a:cubicBezTo>
                    <a:pt x="78" y="435"/>
                    <a:pt x="78" y="435"/>
                    <a:pt x="78" y="435"/>
                  </a:cubicBezTo>
                  <a:cubicBezTo>
                    <a:pt x="0" y="566"/>
                    <a:pt x="0" y="566"/>
                    <a:pt x="0" y="566"/>
                  </a:cubicBezTo>
                  <a:cubicBezTo>
                    <a:pt x="17" y="707"/>
                    <a:pt x="17" y="707"/>
                    <a:pt x="17" y="707"/>
                  </a:cubicBezTo>
                  <a:cubicBezTo>
                    <a:pt x="9" y="850"/>
                    <a:pt x="9" y="850"/>
                    <a:pt x="9" y="850"/>
                  </a:cubicBezTo>
                  <a:cubicBezTo>
                    <a:pt x="9" y="850"/>
                    <a:pt x="37" y="873"/>
                    <a:pt x="51" y="891"/>
                  </a:cubicBezTo>
                  <a:cubicBezTo>
                    <a:pt x="65" y="908"/>
                    <a:pt x="98" y="966"/>
                    <a:pt x="110" y="1004"/>
                  </a:cubicBezTo>
                  <a:cubicBezTo>
                    <a:pt x="121" y="1035"/>
                    <a:pt x="138" y="1120"/>
                    <a:pt x="138" y="1120"/>
                  </a:cubicBezTo>
                  <a:cubicBezTo>
                    <a:pt x="303" y="1281"/>
                    <a:pt x="303" y="1281"/>
                    <a:pt x="303" y="1281"/>
                  </a:cubicBezTo>
                  <a:cubicBezTo>
                    <a:pt x="303" y="1281"/>
                    <a:pt x="356" y="1324"/>
                    <a:pt x="396" y="1328"/>
                  </a:cubicBezTo>
                  <a:cubicBezTo>
                    <a:pt x="436" y="1331"/>
                    <a:pt x="478" y="1328"/>
                    <a:pt x="516" y="1314"/>
                  </a:cubicBezTo>
                  <a:cubicBezTo>
                    <a:pt x="555" y="1300"/>
                    <a:pt x="934" y="1202"/>
                    <a:pt x="934" y="1202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0" name="Freeform 100"/>
            <p:cNvSpPr>
              <a:spLocks/>
            </p:cNvSpPr>
            <p:nvPr/>
          </p:nvSpPr>
          <p:spPr bwMode="auto">
            <a:xfrm>
              <a:off x="2449079" y="1947213"/>
              <a:ext cx="192376" cy="428532"/>
            </a:xfrm>
            <a:custGeom>
              <a:avLst/>
              <a:gdLst>
                <a:gd name="T0" fmla="*/ 389 w 526"/>
                <a:gd name="T1" fmla="*/ 1315 h 1315"/>
                <a:gd name="T2" fmla="*/ 409 w 526"/>
                <a:gd name="T3" fmla="*/ 1149 h 1315"/>
                <a:gd name="T4" fmla="*/ 341 w 526"/>
                <a:gd name="T5" fmla="*/ 1151 h 1315"/>
                <a:gd name="T6" fmla="*/ 336 w 526"/>
                <a:gd name="T7" fmla="*/ 1089 h 1315"/>
                <a:gd name="T8" fmla="*/ 409 w 526"/>
                <a:gd name="T9" fmla="*/ 1096 h 1315"/>
                <a:gd name="T10" fmla="*/ 380 w 526"/>
                <a:gd name="T11" fmla="*/ 999 h 1315"/>
                <a:gd name="T12" fmla="*/ 250 w 526"/>
                <a:gd name="T13" fmla="*/ 711 h 1315"/>
                <a:gd name="T14" fmla="*/ 243 w 526"/>
                <a:gd name="T15" fmla="*/ 601 h 1315"/>
                <a:gd name="T16" fmla="*/ 180 w 526"/>
                <a:gd name="T17" fmla="*/ 655 h 1315"/>
                <a:gd name="T18" fmla="*/ 77 w 526"/>
                <a:gd name="T19" fmla="*/ 702 h 1315"/>
                <a:gd name="T20" fmla="*/ 39 w 526"/>
                <a:gd name="T21" fmla="*/ 541 h 1315"/>
                <a:gd name="T22" fmla="*/ 0 w 526"/>
                <a:gd name="T23" fmla="*/ 417 h 1315"/>
                <a:gd name="T24" fmla="*/ 0 w 526"/>
                <a:gd name="T25" fmla="*/ 334 h 1315"/>
                <a:gd name="T26" fmla="*/ 142 w 526"/>
                <a:gd name="T27" fmla="*/ 332 h 1315"/>
                <a:gd name="T28" fmla="*/ 131 w 526"/>
                <a:gd name="T29" fmla="*/ 289 h 1315"/>
                <a:gd name="T30" fmla="*/ 140 w 526"/>
                <a:gd name="T31" fmla="*/ 162 h 1315"/>
                <a:gd name="T32" fmla="*/ 137 w 526"/>
                <a:gd name="T33" fmla="*/ 26 h 1315"/>
                <a:gd name="T34" fmla="*/ 175 w 526"/>
                <a:gd name="T35" fmla="*/ 18 h 1315"/>
                <a:gd name="T36" fmla="*/ 339 w 526"/>
                <a:gd name="T37" fmla="*/ 139 h 1315"/>
                <a:gd name="T38" fmla="*/ 387 w 526"/>
                <a:gd name="T39" fmla="*/ 222 h 1315"/>
                <a:gd name="T40" fmla="*/ 419 w 526"/>
                <a:gd name="T41" fmla="*/ 599 h 1315"/>
                <a:gd name="T42" fmla="*/ 526 w 526"/>
                <a:gd name="T43" fmla="*/ 1077 h 1315"/>
                <a:gd name="T44" fmla="*/ 517 w 526"/>
                <a:gd name="T45" fmla="*/ 1300 h 1315"/>
                <a:gd name="T46" fmla="*/ 389 w 526"/>
                <a:gd name="T47" fmla="*/ 1315 h 13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526" h="1315">
                  <a:moveTo>
                    <a:pt x="389" y="1315"/>
                  </a:moveTo>
                  <a:cubicBezTo>
                    <a:pt x="396" y="1259"/>
                    <a:pt x="402" y="1204"/>
                    <a:pt x="409" y="1149"/>
                  </a:cubicBezTo>
                  <a:cubicBezTo>
                    <a:pt x="386" y="1150"/>
                    <a:pt x="364" y="1150"/>
                    <a:pt x="341" y="1151"/>
                  </a:cubicBezTo>
                  <a:cubicBezTo>
                    <a:pt x="340" y="1130"/>
                    <a:pt x="338" y="1110"/>
                    <a:pt x="336" y="1089"/>
                  </a:cubicBezTo>
                  <a:cubicBezTo>
                    <a:pt x="361" y="1091"/>
                    <a:pt x="385" y="1094"/>
                    <a:pt x="409" y="1096"/>
                  </a:cubicBezTo>
                  <a:cubicBezTo>
                    <a:pt x="402" y="1063"/>
                    <a:pt x="397" y="1029"/>
                    <a:pt x="380" y="999"/>
                  </a:cubicBezTo>
                  <a:cubicBezTo>
                    <a:pt x="337" y="903"/>
                    <a:pt x="293" y="807"/>
                    <a:pt x="250" y="711"/>
                  </a:cubicBezTo>
                  <a:cubicBezTo>
                    <a:pt x="250" y="674"/>
                    <a:pt x="245" y="638"/>
                    <a:pt x="243" y="601"/>
                  </a:cubicBezTo>
                  <a:cubicBezTo>
                    <a:pt x="223" y="620"/>
                    <a:pt x="209" y="649"/>
                    <a:pt x="180" y="655"/>
                  </a:cubicBezTo>
                  <a:cubicBezTo>
                    <a:pt x="145" y="669"/>
                    <a:pt x="110" y="682"/>
                    <a:pt x="77" y="702"/>
                  </a:cubicBezTo>
                  <a:cubicBezTo>
                    <a:pt x="67" y="647"/>
                    <a:pt x="59" y="592"/>
                    <a:pt x="39" y="541"/>
                  </a:cubicBezTo>
                  <a:cubicBezTo>
                    <a:pt x="26" y="499"/>
                    <a:pt x="9" y="459"/>
                    <a:pt x="0" y="417"/>
                  </a:cubicBezTo>
                  <a:cubicBezTo>
                    <a:pt x="0" y="390"/>
                    <a:pt x="0" y="362"/>
                    <a:pt x="0" y="334"/>
                  </a:cubicBezTo>
                  <a:cubicBezTo>
                    <a:pt x="47" y="333"/>
                    <a:pt x="95" y="332"/>
                    <a:pt x="142" y="332"/>
                  </a:cubicBezTo>
                  <a:cubicBezTo>
                    <a:pt x="147" y="309"/>
                    <a:pt x="130" y="304"/>
                    <a:pt x="131" y="289"/>
                  </a:cubicBezTo>
                  <a:cubicBezTo>
                    <a:pt x="138" y="247"/>
                    <a:pt x="145" y="205"/>
                    <a:pt x="140" y="162"/>
                  </a:cubicBezTo>
                  <a:cubicBezTo>
                    <a:pt x="139" y="117"/>
                    <a:pt x="138" y="72"/>
                    <a:pt x="137" y="26"/>
                  </a:cubicBezTo>
                  <a:cubicBezTo>
                    <a:pt x="146" y="5"/>
                    <a:pt x="158" y="0"/>
                    <a:pt x="175" y="18"/>
                  </a:cubicBezTo>
                  <a:cubicBezTo>
                    <a:pt x="232" y="55"/>
                    <a:pt x="286" y="96"/>
                    <a:pt x="339" y="139"/>
                  </a:cubicBezTo>
                  <a:cubicBezTo>
                    <a:pt x="363" y="161"/>
                    <a:pt x="379" y="191"/>
                    <a:pt x="387" y="222"/>
                  </a:cubicBezTo>
                  <a:cubicBezTo>
                    <a:pt x="400" y="348"/>
                    <a:pt x="410" y="473"/>
                    <a:pt x="419" y="599"/>
                  </a:cubicBezTo>
                  <a:cubicBezTo>
                    <a:pt x="454" y="758"/>
                    <a:pt x="492" y="918"/>
                    <a:pt x="526" y="1077"/>
                  </a:cubicBezTo>
                  <a:cubicBezTo>
                    <a:pt x="523" y="1152"/>
                    <a:pt x="520" y="1226"/>
                    <a:pt x="517" y="1300"/>
                  </a:cubicBezTo>
                  <a:cubicBezTo>
                    <a:pt x="474" y="1305"/>
                    <a:pt x="432" y="1310"/>
                    <a:pt x="389" y="1315"/>
                  </a:cubicBezTo>
                  <a:close/>
                </a:path>
              </a:pathLst>
            </a:custGeom>
            <a:solidFill>
              <a:schemeClr val="tx2">
                <a:lumMod val="10000"/>
                <a:lumOff val="9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5" name="Freeform 115"/>
            <p:cNvSpPr>
              <a:spLocks/>
            </p:cNvSpPr>
            <p:nvPr/>
          </p:nvSpPr>
          <p:spPr bwMode="auto">
            <a:xfrm>
              <a:off x="3177913" y="2066578"/>
              <a:ext cx="436420" cy="463752"/>
            </a:xfrm>
            <a:custGeom>
              <a:avLst/>
              <a:gdLst>
                <a:gd name="T0" fmla="*/ 946 w 1192"/>
                <a:gd name="T1" fmla="*/ 0 h 1423"/>
                <a:gd name="T2" fmla="*/ 1006 w 1192"/>
                <a:gd name="T3" fmla="*/ 57 h 1423"/>
                <a:gd name="T4" fmla="*/ 1103 w 1192"/>
                <a:gd name="T5" fmla="*/ 55 h 1423"/>
                <a:gd name="T6" fmla="*/ 1103 w 1192"/>
                <a:gd name="T7" fmla="*/ 149 h 1423"/>
                <a:gd name="T8" fmla="*/ 1192 w 1192"/>
                <a:gd name="T9" fmla="*/ 224 h 1423"/>
                <a:gd name="T10" fmla="*/ 1128 w 1192"/>
                <a:gd name="T11" fmla="*/ 277 h 1423"/>
                <a:gd name="T12" fmla="*/ 1139 w 1192"/>
                <a:gd name="T13" fmla="*/ 332 h 1423"/>
                <a:gd name="T14" fmla="*/ 1017 w 1192"/>
                <a:gd name="T15" fmla="*/ 385 h 1423"/>
                <a:gd name="T16" fmla="*/ 948 w 1192"/>
                <a:gd name="T17" fmla="*/ 338 h 1423"/>
                <a:gd name="T18" fmla="*/ 939 w 1192"/>
                <a:gd name="T19" fmla="*/ 366 h 1423"/>
                <a:gd name="T20" fmla="*/ 964 w 1192"/>
                <a:gd name="T21" fmla="*/ 377 h 1423"/>
                <a:gd name="T22" fmla="*/ 745 w 1192"/>
                <a:gd name="T23" fmla="*/ 599 h 1423"/>
                <a:gd name="T24" fmla="*/ 753 w 1192"/>
                <a:gd name="T25" fmla="*/ 621 h 1423"/>
                <a:gd name="T26" fmla="*/ 615 w 1192"/>
                <a:gd name="T27" fmla="*/ 743 h 1423"/>
                <a:gd name="T28" fmla="*/ 942 w 1192"/>
                <a:gd name="T29" fmla="*/ 740 h 1423"/>
                <a:gd name="T30" fmla="*/ 973 w 1192"/>
                <a:gd name="T31" fmla="*/ 968 h 1423"/>
                <a:gd name="T32" fmla="*/ 959 w 1192"/>
                <a:gd name="T33" fmla="*/ 1038 h 1423"/>
                <a:gd name="T34" fmla="*/ 937 w 1192"/>
                <a:gd name="T35" fmla="*/ 1076 h 1423"/>
                <a:gd name="T36" fmla="*/ 856 w 1192"/>
                <a:gd name="T37" fmla="*/ 1165 h 1423"/>
                <a:gd name="T38" fmla="*/ 812 w 1192"/>
                <a:gd name="T39" fmla="*/ 1154 h 1423"/>
                <a:gd name="T40" fmla="*/ 673 w 1192"/>
                <a:gd name="T41" fmla="*/ 1146 h 1423"/>
                <a:gd name="T42" fmla="*/ 615 w 1192"/>
                <a:gd name="T43" fmla="*/ 1113 h 1423"/>
                <a:gd name="T44" fmla="*/ 559 w 1192"/>
                <a:gd name="T45" fmla="*/ 1140 h 1423"/>
                <a:gd name="T46" fmla="*/ 540 w 1192"/>
                <a:gd name="T47" fmla="*/ 1101 h 1423"/>
                <a:gd name="T48" fmla="*/ 545 w 1192"/>
                <a:gd name="T49" fmla="*/ 1054 h 1423"/>
                <a:gd name="T50" fmla="*/ 567 w 1192"/>
                <a:gd name="T51" fmla="*/ 1043 h 1423"/>
                <a:gd name="T52" fmla="*/ 517 w 1192"/>
                <a:gd name="T53" fmla="*/ 985 h 1423"/>
                <a:gd name="T54" fmla="*/ 534 w 1192"/>
                <a:gd name="T55" fmla="*/ 968 h 1423"/>
                <a:gd name="T56" fmla="*/ 503 w 1192"/>
                <a:gd name="T57" fmla="*/ 907 h 1423"/>
                <a:gd name="T58" fmla="*/ 428 w 1192"/>
                <a:gd name="T59" fmla="*/ 882 h 1423"/>
                <a:gd name="T60" fmla="*/ 392 w 1192"/>
                <a:gd name="T61" fmla="*/ 929 h 1423"/>
                <a:gd name="T62" fmla="*/ 481 w 1192"/>
                <a:gd name="T63" fmla="*/ 976 h 1423"/>
                <a:gd name="T64" fmla="*/ 426 w 1192"/>
                <a:gd name="T65" fmla="*/ 1054 h 1423"/>
                <a:gd name="T66" fmla="*/ 478 w 1192"/>
                <a:gd name="T67" fmla="*/ 1093 h 1423"/>
                <a:gd name="T68" fmla="*/ 262 w 1192"/>
                <a:gd name="T69" fmla="*/ 1310 h 1423"/>
                <a:gd name="T70" fmla="*/ 240 w 1192"/>
                <a:gd name="T71" fmla="*/ 1385 h 1423"/>
                <a:gd name="T72" fmla="*/ 201 w 1192"/>
                <a:gd name="T73" fmla="*/ 1404 h 1423"/>
                <a:gd name="T74" fmla="*/ 156 w 1192"/>
                <a:gd name="T75" fmla="*/ 1423 h 1423"/>
                <a:gd name="T76" fmla="*/ 122 w 1192"/>
                <a:gd name="T77" fmla="*/ 1401 h 1423"/>
                <a:gd name="T78" fmla="*/ 0 w 1192"/>
                <a:gd name="T79" fmla="*/ 1338 h 1423"/>
                <a:gd name="T80" fmla="*/ 140 w 1192"/>
                <a:gd name="T81" fmla="*/ 1163 h 1423"/>
                <a:gd name="T82" fmla="*/ 146 w 1192"/>
                <a:gd name="T83" fmla="*/ 1164 h 1423"/>
                <a:gd name="T84" fmla="*/ 155 w 1192"/>
                <a:gd name="T85" fmla="*/ 1053 h 1423"/>
                <a:gd name="T86" fmla="*/ 19 w 1192"/>
                <a:gd name="T87" fmla="*/ 898 h 1423"/>
                <a:gd name="T88" fmla="*/ 156 w 1192"/>
                <a:gd name="T89" fmla="*/ 1055 h 1423"/>
                <a:gd name="T90" fmla="*/ 170 w 1192"/>
                <a:gd name="T91" fmla="*/ 930 h 1423"/>
                <a:gd name="T92" fmla="*/ 270 w 1192"/>
                <a:gd name="T93" fmla="*/ 769 h 1423"/>
                <a:gd name="T94" fmla="*/ 946 w 1192"/>
                <a:gd name="T95" fmla="*/ 0 h 1423"/>
                <a:gd name="T96" fmla="*/ 946 w 1192"/>
                <a:gd name="T97" fmla="*/ 0 h 14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1192" h="1423">
                  <a:moveTo>
                    <a:pt x="946" y="0"/>
                  </a:moveTo>
                  <a:cubicBezTo>
                    <a:pt x="1006" y="57"/>
                    <a:pt x="1006" y="57"/>
                    <a:pt x="1006" y="57"/>
                  </a:cubicBezTo>
                  <a:cubicBezTo>
                    <a:pt x="1103" y="55"/>
                    <a:pt x="1103" y="55"/>
                    <a:pt x="1103" y="55"/>
                  </a:cubicBezTo>
                  <a:cubicBezTo>
                    <a:pt x="1103" y="149"/>
                    <a:pt x="1103" y="149"/>
                    <a:pt x="1103" y="149"/>
                  </a:cubicBezTo>
                  <a:cubicBezTo>
                    <a:pt x="1192" y="224"/>
                    <a:pt x="1192" y="224"/>
                    <a:pt x="1192" y="224"/>
                  </a:cubicBezTo>
                  <a:cubicBezTo>
                    <a:pt x="1128" y="277"/>
                    <a:pt x="1128" y="277"/>
                    <a:pt x="1128" y="277"/>
                  </a:cubicBezTo>
                  <a:cubicBezTo>
                    <a:pt x="1139" y="332"/>
                    <a:pt x="1139" y="332"/>
                    <a:pt x="1139" y="332"/>
                  </a:cubicBezTo>
                  <a:cubicBezTo>
                    <a:pt x="1017" y="385"/>
                    <a:pt x="1017" y="385"/>
                    <a:pt x="1017" y="385"/>
                  </a:cubicBezTo>
                  <a:cubicBezTo>
                    <a:pt x="948" y="338"/>
                    <a:pt x="948" y="338"/>
                    <a:pt x="948" y="338"/>
                  </a:cubicBezTo>
                  <a:cubicBezTo>
                    <a:pt x="939" y="366"/>
                    <a:pt x="939" y="366"/>
                    <a:pt x="939" y="366"/>
                  </a:cubicBezTo>
                  <a:cubicBezTo>
                    <a:pt x="964" y="377"/>
                    <a:pt x="964" y="377"/>
                    <a:pt x="964" y="377"/>
                  </a:cubicBezTo>
                  <a:cubicBezTo>
                    <a:pt x="745" y="599"/>
                    <a:pt x="745" y="599"/>
                    <a:pt x="745" y="599"/>
                  </a:cubicBezTo>
                  <a:cubicBezTo>
                    <a:pt x="753" y="621"/>
                    <a:pt x="753" y="621"/>
                    <a:pt x="753" y="621"/>
                  </a:cubicBezTo>
                  <a:cubicBezTo>
                    <a:pt x="615" y="743"/>
                    <a:pt x="615" y="743"/>
                    <a:pt x="615" y="743"/>
                  </a:cubicBezTo>
                  <a:cubicBezTo>
                    <a:pt x="942" y="740"/>
                    <a:pt x="942" y="740"/>
                    <a:pt x="942" y="740"/>
                  </a:cubicBezTo>
                  <a:cubicBezTo>
                    <a:pt x="973" y="968"/>
                    <a:pt x="973" y="968"/>
                    <a:pt x="973" y="968"/>
                  </a:cubicBezTo>
                  <a:cubicBezTo>
                    <a:pt x="959" y="1038"/>
                    <a:pt x="959" y="1038"/>
                    <a:pt x="959" y="1038"/>
                  </a:cubicBezTo>
                  <a:cubicBezTo>
                    <a:pt x="937" y="1076"/>
                    <a:pt x="937" y="1076"/>
                    <a:pt x="937" y="1076"/>
                  </a:cubicBezTo>
                  <a:cubicBezTo>
                    <a:pt x="856" y="1165"/>
                    <a:pt x="856" y="1165"/>
                    <a:pt x="856" y="1165"/>
                  </a:cubicBezTo>
                  <a:cubicBezTo>
                    <a:pt x="812" y="1154"/>
                    <a:pt x="812" y="1154"/>
                    <a:pt x="812" y="1154"/>
                  </a:cubicBezTo>
                  <a:cubicBezTo>
                    <a:pt x="673" y="1146"/>
                    <a:pt x="673" y="1146"/>
                    <a:pt x="673" y="1146"/>
                  </a:cubicBezTo>
                  <a:cubicBezTo>
                    <a:pt x="615" y="1113"/>
                    <a:pt x="615" y="1113"/>
                    <a:pt x="615" y="1113"/>
                  </a:cubicBezTo>
                  <a:cubicBezTo>
                    <a:pt x="559" y="1140"/>
                    <a:pt x="559" y="1140"/>
                    <a:pt x="559" y="1140"/>
                  </a:cubicBezTo>
                  <a:cubicBezTo>
                    <a:pt x="540" y="1101"/>
                    <a:pt x="540" y="1101"/>
                    <a:pt x="540" y="1101"/>
                  </a:cubicBezTo>
                  <a:cubicBezTo>
                    <a:pt x="545" y="1054"/>
                    <a:pt x="545" y="1054"/>
                    <a:pt x="545" y="1054"/>
                  </a:cubicBezTo>
                  <a:cubicBezTo>
                    <a:pt x="567" y="1043"/>
                    <a:pt x="567" y="1043"/>
                    <a:pt x="567" y="1043"/>
                  </a:cubicBezTo>
                  <a:cubicBezTo>
                    <a:pt x="517" y="985"/>
                    <a:pt x="517" y="985"/>
                    <a:pt x="517" y="985"/>
                  </a:cubicBezTo>
                  <a:cubicBezTo>
                    <a:pt x="534" y="968"/>
                    <a:pt x="534" y="968"/>
                    <a:pt x="534" y="968"/>
                  </a:cubicBezTo>
                  <a:cubicBezTo>
                    <a:pt x="503" y="907"/>
                    <a:pt x="503" y="907"/>
                    <a:pt x="503" y="907"/>
                  </a:cubicBezTo>
                  <a:cubicBezTo>
                    <a:pt x="428" y="882"/>
                    <a:pt x="428" y="882"/>
                    <a:pt x="428" y="882"/>
                  </a:cubicBezTo>
                  <a:cubicBezTo>
                    <a:pt x="392" y="929"/>
                    <a:pt x="392" y="929"/>
                    <a:pt x="392" y="929"/>
                  </a:cubicBezTo>
                  <a:cubicBezTo>
                    <a:pt x="481" y="976"/>
                    <a:pt x="481" y="976"/>
                    <a:pt x="481" y="976"/>
                  </a:cubicBezTo>
                  <a:cubicBezTo>
                    <a:pt x="426" y="1054"/>
                    <a:pt x="426" y="1054"/>
                    <a:pt x="426" y="1054"/>
                  </a:cubicBezTo>
                  <a:cubicBezTo>
                    <a:pt x="478" y="1093"/>
                    <a:pt x="478" y="1093"/>
                    <a:pt x="478" y="1093"/>
                  </a:cubicBezTo>
                  <a:cubicBezTo>
                    <a:pt x="262" y="1310"/>
                    <a:pt x="262" y="1310"/>
                    <a:pt x="262" y="1310"/>
                  </a:cubicBezTo>
                  <a:cubicBezTo>
                    <a:pt x="240" y="1385"/>
                    <a:pt x="240" y="1385"/>
                    <a:pt x="240" y="1385"/>
                  </a:cubicBezTo>
                  <a:cubicBezTo>
                    <a:pt x="201" y="1404"/>
                    <a:pt x="201" y="1404"/>
                    <a:pt x="201" y="1404"/>
                  </a:cubicBezTo>
                  <a:cubicBezTo>
                    <a:pt x="156" y="1423"/>
                    <a:pt x="156" y="1423"/>
                    <a:pt x="156" y="1423"/>
                  </a:cubicBezTo>
                  <a:cubicBezTo>
                    <a:pt x="122" y="1401"/>
                    <a:pt x="122" y="1401"/>
                    <a:pt x="122" y="1401"/>
                  </a:cubicBezTo>
                  <a:cubicBezTo>
                    <a:pt x="0" y="1338"/>
                    <a:pt x="0" y="1338"/>
                    <a:pt x="0" y="1338"/>
                  </a:cubicBezTo>
                  <a:cubicBezTo>
                    <a:pt x="140" y="1163"/>
                    <a:pt x="140" y="1163"/>
                    <a:pt x="140" y="1163"/>
                  </a:cubicBezTo>
                  <a:cubicBezTo>
                    <a:pt x="146" y="1164"/>
                    <a:pt x="146" y="1164"/>
                    <a:pt x="146" y="1164"/>
                  </a:cubicBezTo>
                  <a:cubicBezTo>
                    <a:pt x="155" y="1053"/>
                    <a:pt x="155" y="1053"/>
                    <a:pt x="155" y="1053"/>
                  </a:cubicBezTo>
                  <a:cubicBezTo>
                    <a:pt x="19" y="898"/>
                    <a:pt x="19" y="898"/>
                    <a:pt x="19" y="898"/>
                  </a:cubicBezTo>
                  <a:cubicBezTo>
                    <a:pt x="156" y="1055"/>
                    <a:pt x="156" y="1055"/>
                    <a:pt x="156" y="1055"/>
                  </a:cubicBezTo>
                  <a:cubicBezTo>
                    <a:pt x="170" y="930"/>
                    <a:pt x="170" y="930"/>
                    <a:pt x="170" y="930"/>
                  </a:cubicBezTo>
                  <a:cubicBezTo>
                    <a:pt x="270" y="769"/>
                    <a:pt x="270" y="769"/>
                    <a:pt x="270" y="769"/>
                  </a:cubicBezTo>
                  <a:cubicBezTo>
                    <a:pt x="457" y="548"/>
                    <a:pt x="707" y="271"/>
                    <a:pt x="946" y="0"/>
                  </a:cubicBezTo>
                  <a:cubicBezTo>
                    <a:pt x="946" y="0"/>
                    <a:pt x="946" y="0"/>
                    <a:pt x="946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4" name="Freeform 32"/>
            <p:cNvSpPr>
              <a:spLocks/>
            </p:cNvSpPr>
            <p:nvPr/>
          </p:nvSpPr>
          <p:spPr bwMode="auto">
            <a:xfrm>
              <a:off x="2997627" y="2433471"/>
              <a:ext cx="235249" cy="216224"/>
            </a:xfrm>
            <a:custGeom>
              <a:avLst/>
              <a:gdLst>
                <a:gd name="T0" fmla="*/ 298 w 642"/>
                <a:gd name="T1" fmla="*/ 534 h 664"/>
                <a:gd name="T2" fmla="*/ 86 w 642"/>
                <a:gd name="T3" fmla="*/ 414 h 664"/>
                <a:gd name="T4" fmla="*/ 88 w 642"/>
                <a:gd name="T5" fmla="*/ 352 h 664"/>
                <a:gd name="T6" fmla="*/ 38 w 642"/>
                <a:gd name="T7" fmla="*/ 361 h 664"/>
                <a:gd name="T8" fmla="*/ 2 w 642"/>
                <a:gd name="T9" fmla="*/ 335 h 664"/>
                <a:gd name="T10" fmla="*/ 0 w 642"/>
                <a:gd name="T11" fmla="*/ 239 h 664"/>
                <a:gd name="T12" fmla="*/ 67 w 642"/>
                <a:gd name="T13" fmla="*/ 265 h 664"/>
                <a:gd name="T14" fmla="*/ 47 w 642"/>
                <a:gd name="T15" fmla="*/ 40 h 664"/>
                <a:gd name="T16" fmla="*/ 228 w 642"/>
                <a:gd name="T17" fmla="*/ 31 h 664"/>
                <a:gd name="T18" fmla="*/ 443 w 642"/>
                <a:gd name="T19" fmla="*/ 0 h 664"/>
                <a:gd name="T20" fmla="*/ 642 w 642"/>
                <a:gd name="T21" fmla="*/ 32 h 664"/>
                <a:gd name="T22" fmla="*/ 494 w 642"/>
                <a:gd name="T23" fmla="*/ 212 h 664"/>
                <a:gd name="T24" fmla="*/ 620 w 642"/>
                <a:gd name="T25" fmla="*/ 272 h 664"/>
                <a:gd name="T26" fmla="*/ 639 w 642"/>
                <a:gd name="T27" fmla="*/ 482 h 664"/>
                <a:gd name="T28" fmla="*/ 630 w 642"/>
                <a:gd name="T29" fmla="*/ 650 h 664"/>
                <a:gd name="T30" fmla="*/ 589 w 642"/>
                <a:gd name="T31" fmla="*/ 664 h 664"/>
                <a:gd name="T32" fmla="*/ 567 w 642"/>
                <a:gd name="T33" fmla="*/ 608 h 664"/>
                <a:gd name="T34" fmla="*/ 462 w 642"/>
                <a:gd name="T35" fmla="*/ 573 h 664"/>
                <a:gd name="T36" fmla="*/ 393 w 642"/>
                <a:gd name="T37" fmla="*/ 559 h 664"/>
                <a:gd name="T38" fmla="*/ 360 w 642"/>
                <a:gd name="T39" fmla="*/ 527 h 664"/>
                <a:gd name="T40" fmla="*/ 357 w 642"/>
                <a:gd name="T41" fmla="*/ 487 h 664"/>
                <a:gd name="T42" fmla="*/ 377 w 642"/>
                <a:gd name="T43" fmla="*/ 453 h 664"/>
                <a:gd name="T44" fmla="*/ 365 w 642"/>
                <a:gd name="T45" fmla="*/ 415 h 664"/>
                <a:gd name="T46" fmla="*/ 298 w 642"/>
                <a:gd name="T47" fmla="*/ 534 h 6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</a:cxnLst>
              <a:rect l="0" t="0" r="r" b="b"/>
              <a:pathLst>
                <a:path w="642" h="664">
                  <a:moveTo>
                    <a:pt x="298" y="534"/>
                  </a:moveTo>
                  <a:cubicBezTo>
                    <a:pt x="86" y="414"/>
                    <a:pt x="86" y="414"/>
                    <a:pt x="86" y="414"/>
                  </a:cubicBezTo>
                  <a:cubicBezTo>
                    <a:pt x="88" y="352"/>
                    <a:pt x="88" y="352"/>
                    <a:pt x="88" y="352"/>
                  </a:cubicBezTo>
                  <a:cubicBezTo>
                    <a:pt x="38" y="361"/>
                    <a:pt x="38" y="361"/>
                    <a:pt x="38" y="361"/>
                  </a:cubicBezTo>
                  <a:cubicBezTo>
                    <a:pt x="2" y="335"/>
                    <a:pt x="2" y="335"/>
                    <a:pt x="2" y="335"/>
                  </a:cubicBezTo>
                  <a:cubicBezTo>
                    <a:pt x="0" y="239"/>
                    <a:pt x="0" y="239"/>
                    <a:pt x="0" y="239"/>
                  </a:cubicBezTo>
                  <a:cubicBezTo>
                    <a:pt x="17" y="217"/>
                    <a:pt x="44" y="254"/>
                    <a:pt x="67" y="265"/>
                  </a:cubicBezTo>
                  <a:cubicBezTo>
                    <a:pt x="47" y="40"/>
                    <a:pt x="47" y="40"/>
                    <a:pt x="47" y="40"/>
                  </a:cubicBezTo>
                  <a:cubicBezTo>
                    <a:pt x="228" y="31"/>
                    <a:pt x="228" y="31"/>
                    <a:pt x="228" y="31"/>
                  </a:cubicBezTo>
                  <a:cubicBezTo>
                    <a:pt x="443" y="0"/>
                    <a:pt x="443" y="0"/>
                    <a:pt x="443" y="0"/>
                  </a:cubicBezTo>
                  <a:cubicBezTo>
                    <a:pt x="642" y="32"/>
                    <a:pt x="642" y="32"/>
                    <a:pt x="642" y="32"/>
                  </a:cubicBezTo>
                  <a:cubicBezTo>
                    <a:pt x="494" y="212"/>
                    <a:pt x="494" y="212"/>
                    <a:pt x="494" y="212"/>
                  </a:cubicBezTo>
                  <a:cubicBezTo>
                    <a:pt x="620" y="272"/>
                    <a:pt x="620" y="272"/>
                    <a:pt x="620" y="272"/>
                  </a:cubicBezTo>
                  <a:cubicBezTo>
                    <a:pt x="620" y="272"/>
                    <a:pt x="639" y="465"/>
                    <a:pt x="639" y="482"/>
                  </a:cubicBezTo>
                  <a:cubicBezTo>
                    <a:pt x="639" y="500"/>
                    <a:pt x="630" y="650"/>
                    <a:pt x="630" y="650"/>
                  </a:cubicBezTo>
                  <a:cubicBezTo>
                    <a:pt x="589" y="664"/>
                    <a:pt x="589" y="664"/>
                    <a:pt x="589" y="664"/>
                  </a:cubicBezTo>
                  <a:cubicBezTo>
                    <a:pt x="589" y="664"/>
                    <a:pt x="582" y="616"/>
                    <a:pt x="567" y="608"/>
                  </a:cubicBezTo>
                  <a:cubicBezTo>
                    <a:pt x="552" y="601"/>
                    <a:pt x="489" y="580"/>
                    <a:pt x="462" y="573"/>
                  </a:cubicBezTo>
                  <a:cubicBezTo>
                    <a:pt x="435" y="567"/>
                    <a:pt x="408" y="568"/>
                    <a:pt x="393" y="559"/>
                  </a:cubicBezTo>
                  <a:cubicBezTo>
                    <a:pt x="379" y="550"/>
                    <a:pt x="364" y="538"/>
                    <a:pt x="360" y="527"/>
                  </a:cubicBezTo>
                  <a:cubicBezTo>
                    <a:pt x="357" y="516"/>
                    <a:pt x="354" y="498"/>
                    <a:pt x="357" y="487"/>
                  </a:cubicBezTo>
                  <a:cubicBezTo>
                    <a:pt x="361" y="475"/>
                    <a:pt x="376" y="469"/>
                    <a:pt x="377" y="453"/>
                  </a:cubicBezTo>
                  <a:cubicBezTo>
                    <a:pt x="379" y="438"/>
                    <a:pt x="365" y="415"/>
                    <a:pt x="365" y="415"/>
                  </a:cubicBezTo>
                  <a:cubicBezTo>
                    <a:pt x="298" y="534"/>
                    <a:pt x="298" y="534"/>
                    <a:pt x="298" y="53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05" name="Freeform 33"/>
            <p:cNvSpPr>
              <a:spLocks/>
            </p:cNvSpPr>
            <p:nvPr/>
          </p:nvSpPr>
          <p:spPr bwMode="auto">
            <a:xfrm>
              <a:off x="2648052" y="2429557"/>
              <a:ext cx="178085" cy="296452"/>
            </a:xfrm>
            <a:custGeom>
              <a:avLst/>
              <a:gdLst>
                <a:gd name="T0" fmla="*/ 118 w 162"/>
                <a:gd name="T1" fmla="*/ 4 h 303"/>
                <a:gd name="T2" fmla="*/ 95 w 162"/>
                <a:gd name="T3" fmla="*/ 22 h 303"/>
                <a:gd name="T4" fmla="*/ 96 w 162"/>
                <a:gd name="T5" fmla="*/ 38 h 303"/>
                <a:gd name="T6" fmla="*/ 80 w 162"/>
                <a:gd name="T7" fmla="*/ 38 h 303"/>
                <a:gd name="T8" fmla="*/ 78 w 162"/>
                <a:gd name="T9" fmla="*/ 30 h 303"/>
                <a:gd name="T10" fmla="*/ 68 w 162"/>
                <a:gd name="T11" fmla="*/ 38 h 303"/>
                <a:gd name="T12" fmla="*/ 89 w 162"/>
                <a:gd name="T13" fmla="*/ 76 h 303"/>
                <a:gd name="T14" fmla="*/ 42 w 162"/>
                <a:gd name="T15" fmla="*/ 102 h 303"/>
                <a:gd name="T16" fmla="*/ 40 w 162"/>
                <a:gd name="T17" fmla="*/ 130 h 303"/>
                <a:gd name="T18" fmla="*/ 51 w 162"/>
                <a:gd name="T19" fmla="*/ 142 h 303"/>
                <a:gd name="T20" fmla="*/ 96 w 162"/>
                <a:gd name="T21" fmla="*/ 137 h 303"/>
                <a:gd name="T22" fmla="*/ 95 w 162"/>
                <a:gd name="T23" fmla="*/ 112 h 303"/>
                <a:gd name="T24" fmla="*/ 149 w 162"/>
                <a:gd name="T25" fmla="*/ 170 h 303"/>
                <a:gd name="T26" fmla="*/ 162 w 162"/>
                <a:gd name="T27" fmla="*/ 303 h 303"/>
                <a:gd name="T28" fmla="*/ 9 w 162"/>
                <a:gd name="T29" fmla="*/ 127 h 303"/>
                <a:gd name="T30" fmla="*/ 20 w 162"/>
                <a:gd name="T31" fmla="*/ 89 h 303"/>
                <a:gd name="T32" fmla="*/ 18 w 162"/>
                <a:gd name="T33" fmla="*/ 70 h 303"/>
                <a:gd name="T34" fmla="*/ 0 w 162"/>
                <a:gd name="T35" fmla="*/ 0 h 303"/>
                <a:gd name="T36" fmla="*/ 118 w 162"/>
                <a:gd name="T37" fmla="*/ 4 h 303"/>
                <a:gd name="T38" fmla="*/ 118 w 162"/>
                <a:gd name="T39" fmla="*/ 4 h 3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162" h="303">
                  <a:moveTo>
                    <a:pt x="118" y="4"/>
                  </a:moveTo>
                  <a:lnTo>
                    <a:pt x="95" y="22"/>
                  </a:lnTo>
                  <a:lnTo>
                    <a:pt x="96" y="38"/>
                  </a:lnTo>
                  <a:lnTo>
                    <a:pt x="80" y="38"/>
                  </a:lnTo>
                  <a:lnTo>
                    <a:pt x="78" y="30"/>
                  </a:lnTo>
                  <a:lnTo>
                    <a:pt x="68" y="38"/>
                  </a:lnTo>
                  <a:lnTo>
                    <a:pt x="89" y="76"/>
                  </a:lnTo>
                  <a:lnTo>
                    <a:pt x="42" y="102"/>
                  </a:lnTo>
                  <a:lnTo>
                    <a:pt x="40" y="130"/>
                  </a:lnTo>
                  <a:lnTo>
                    <a:pt x="51" y="142"/>
                  </a:lnTo>
                  <a:lnTo>
                    <a:pt x="96" y="137"/>
                  </a:lnTo>
                  <a:lnTo>
                    <a:pt x="95" y="112"/>
                  </a:lnTo>
                  <a:lnTo>
                    <a:pt x="149" y="170"/>
                  </a:lnTo>
                  <a:lnTo>
                    <a:pt x="162" y="303"/>
                  </a:lnTo>
                  <a:lnTo>
                    <a:pt x="9" y="127"/>
                  </a:lnTo>
                  <a:lnTo>
                    <a:pt x="20" y="89"/>
                  </a:lnTo>
                  <a:lnTo>
                    <a:pt x="18" y="70"/>
                  </a:lnTo>
                  <a:lnTo>
                    <a:pt x="0" y="0"/>
                  </a:lnTo>
                  <a:lnTo>
                    <a:pt x="118" y="4"/>
                  </a:lnTo>
                  <a:lnTo>
                    <a:pt x="118" y="4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8" name="Freeform 77"/>
            <p:cNvSpPr>
              <a:spLocks/>
            </p:cNvSpPr>
            <p:nvPr/>
          </p:nvSpPr>
          <p:spPr bwMode="auto">
            <a:xfrm>
              <a:off x="2649153" y="2552834"/>
              <a:ext cx="233050" cy="418749"/>
            </a:xfrm>
            <a:custGeom>
              <a:avLst/>
              <a:gdLst>
                <a:gd name="T0" fmla="*/ 188 w 635"/>
                <a:gd name="T1" fmla="*/ 1274 h 1285"/>
                <a:gd name="T2" fmla="*/ 134 w 635"/>
                <a:gd name="T3" fmla="*/ 1204 h 1285"/>
                <a:gd name="T4" fmla="*/ 123 w 635"/>
                <a:gd name="T5" fmla="*/ 1005 h 1285"/>
                <a:gd name="T6" fmla="*/ 76 w 635"/>
                <a:gd name="T7" fmla="*/ 819 h 1285"/>
                <a:gd name="T8" fmla="*/ 201 w 635"/>
                <a:gd name="T9" fmla="*/ 786 h 1285"/>
                <a:gd name="T10" fmla="*/ 102 w 635"/>
                <a:gd name="T11" fmla="*/ 694 h 1285"/>
                <a:gd name="T12" fmla="*/ 52 w 635"/>
                <a:gd name="T13" fmla="*/ 492 h 1285"/>
                <a:gd name="T14" fmla="*/ 12 w 635"/>
                <a:gd name="T15" fmla="*/ 393 h 1285"/>
                <a:gd name="T16" fmla="*/ 0 w 635"/>
                <a:gd name="T17" fmla="*/ 82 h 1285"/>
                <a:gd name="T18" fmla="*/ 29 w 635"/>
                <a:gd name="T19" fmla="*/ 0 h 1285"/>
                <a:gd name="T20" fmla="*/ 635 w 635"/>
                <a:gd name="T21" fmla="*/ 704 h 1285"/>
                <a:gd name="T22" fmla="*/ 440 w 635"/>
                <a:gd name="T23" fmla="*/ 802 h 1285"/>
                <a:gd name="T24" fmla="*/ 447 w 635"/>
                <a:gd name="T25" fmla="*/ 835 h 1285"/>
                <a:gd name="T26" fmla="*/ 318 w 635"/>
                <a:gd name="T27" fmla="*/ 863 h 1285"/>
                <a:gd name="T28" fmla="*/ 354 w 635"/>
                <a:gd name="T29" fmla="*/ 1075 h 1285"/>
                <a:gd name="T30" fmla="*/ 248 w 635"/>
                <a:gd name="T31" fmla="*/ 1197 h 1285"/>
                <a:gd name="T32" fmla="*/ 232 w 635"/>
                <a:gd name="T33" fmla="*/ 1232 h 1285"/>
                <a:gd name="T34" fmla="*/ 219 w 635"/>
                <a:gd name="T35" fmla="*/ 1263 h 1285"/>
                <a:gd name="T36" fmla="*/ 203 w 635"/>
                <a:gd name="T37" fmla="*/ 1285 h 1285"/>
                <a:gd name="T38" fmla="*/ 188 w 635"/>
                <a:gd name="T39" fmla="*/ 1274 h 128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635" h="1285">
                  <a:moveTo>
                    <a:pt x="188" y="1274"/>
                  </a:moveTo>
                  <a:cubicBezTo>
                    <a:pt x="134" y="1204"/>
                    <a:pt x="134" y="1204"/>
                    <a:pt x="134" y="1204"/>
                  </a:cubicBezTo>
                  <a:cubicBezTo>
                    <a:pt x="123" y="1005"/>
                    <a:pt x="123" y="1005"/>
                    <a:pt x="123" y="1005"/>
                  </a:cubicBezTo>
                  <a:cubicBezTo>
                    <a:pt x="76" y="819"/>
                    <a:pt x="76" y="819"/>
                    <a:pt x="76" y="819"/>
                  </a:cubicBezTo>
                  <a:cubicBezTo>
                    <a:pt x="201" y="786"/>
                    <a:pt x="201" y="786"/>
                    <a:pt x="201" y="786"/>
                  </a:cubicBezTo>
                  <a:cubicBezTo>
                    <a:pt x="102" y="694"/>
                    <a:pt x="102" y="694"/>
                    <a:pt x="102" y="694"/>
                  </a:cubicBezTo>
                  <a:cubicBezTo>
                    <a:pt x="52" y="492"/>
                    <a:pt x="52" y="492"/>
                    <a:pt x="52" y="492"/>
                  </a:cubicBezTo>
                  <a:cubicBezTo>
                    <a:pt x="12" y="393"/>
                    <a:pt x="12" y="393"/>
                    <a:pt x="12" y="393"/>
                  </a:cubicBezTo>
                  <a:cubicBezTo>
                    <a:pt x="0" y="82"/>
                    <a:pt x="0" y="82"/>
                    <a:pt x="0" y="82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635" y="704"/>
                    <a:pt x="635" y="704"/>
                    <a:pt x="635" y="704"/>
                  </a:cubicBezTo>
                  <a:cubicBezTo>
                    <a:pt x="440" y="802"/>
                    <a:pt x="440" y="802"/>
                    <a:pt x="440" y="802"/>
                  </a:cubicBezTo>
                  <a:cubicBezTo>
                    <a:pt x="447" y="835"/>
                    <a:pt x="447" y="835"/>
                    <a:pt x="447" y="835"/>
                  </a:cubicBezTo>
                  <a:cubicBezTo>
                    <a:pt x="318" y="863"/>
                    <a:pt x="318" y="863"/>
                    <a:pt x="318" y="863"/>
                  </a:cubicBezTo>
                  <a:cubicBezTo>
                    <a:pt x="354" y="1075"/>
                    <a:pt x="354" y="1075"/>
                    <a:pt x="354" y="1075"/>
                  </a:cubicBezTo>
                  <a:cubicBezTo>
                    <a:pt x="354" y="1075"/>
                    <a:pt x="273" y="1148"/>
                    <a:pt x="248" y="1197"/>
                  </a:cubicBezTo>
                  <a:cubicBezTo>
                    <a:pt x="242" y="1209"/>
                    <a:pt x="237" y="1221"/>
                    <a:pt x="232" y="1232"/>
                  </a:cubicBezTo>
                  <a:cubicBezTo>
                    <a:pt x="227" y="1243"/>
                    <a:pt x="222" y="1254"/>
                    <a:pt x="219" y="1263"/>
                  </a:cubicBezTo>
                  <a:cubicBezTo>
                    <a:pt x="215" y="1272"/>
                    <a:pt x="209" y="1284"/>
                    <a:pt x="203" y="1285"/>
                  </a:cubicBezTo>
                  <a:cubicBezTo>
                    <a:pt x="196" y="1285"/>
                    <a:pt x="188" y="1273"/>
                    <a:pt x="188" y="127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49" name="Freeform 78"/>
            <p:cNvSpPr>
              <a:spLocks/>
            </p:cNvSpPr>
            <p:nvPr/>
          </p:nvSpPr>
          <p:spPr bwMode="auto">
            <a:xfrm>
              <a:off x="2726103" y="2779818"/>
              <a:ext cx="284717" cy="283730"/>
            </a:xfrm>
            <a:custGeom>
              <a:avLst/>
              <a:gdLst>
                <a:gd name="T0" fmla="*/ 777 w 778"/>
                <a:gd name="T1" fmla="*/ 419 h 869"/>
                <a:gd name="T2" fmla="*/ 778 w 778"/>
                <a:gd name="T3" fmla="*/ 605 h 869"/>
                <a:gd name="T4" fmla="*/ 468 w 778"/>
                <a:gd name="T5" fmla="*/ 565 h 869"/>
                <a:gd name="T6" fmla="*/ 478 w 778"/>
                <a:gd name="T7" fmla="*/ 754 h 869"/>
                <a:gd name="T8" fmla="*/ 445 w 778"/>
                <a:gd name="T9" fmla="*/ 845 h 869"/>
                <a:gd name="T10" fmla="*/ 407 w 778"/>
                <a:gd name="T11" fmla="*/ 848 h 869"/>
                <a:gd name="T12" fmla="*/ 399 w 778"/>
                <a:gd name="T13" fmla="*/ 869 h 869"/>
                <a:gd name="T14" fmla="*/ 272 w 778"/>
                <a:gd name="T15" fmla="*/ 797 h 869"/>
                <a:gd name="T16" fmla="*/ 221 w 778"/>
                <a:gd name="T17" fmla="*/ 799 h 869"/>
                <a:gd name="T18" fmla="*/ 176 w 778"/>
                <a:gd name="T19" fmla="*/ 587 h 869"/>
                <a:gd name="T20" fmla="*/ 0 w 778"/>
                <a:gd name="T21" fmla="*/ 594 h 869"/>
                <a:gd name="T22" fmla="*/ 14 w 778"/>
                <a:gd name="T23" fmla="*/ 541 h 869"/>
                <a:gd name="T24" fmla="*/ 41 w 778"/>
                <a:gd name="T25" fmla="*/ 495 h 869"/>
                <a:gd name="T26" fmla="*/ 140 w 778"/>
                <a:gd name="T27" fmla="*/ 386 h 869"/>
                <a:gd name="T28" fmla="*/ 109 w 778"/>
                <a:gd name="T29" fmla="*/ 165 h 869"/>
                <a:gd name="T30" fmla="*/ 236 w 778"/>
                <a:gd name="T31" fmla="*/ 140 h 869"/>
                <a:gd name="T32" fmla="*/ 231 w 778"/>
                <a:gd name="T33" fmla="*/ 111 h 869"/>
                <a:gd name="T34" fmla="*/ 424 w 778"/>
                <a:gd name="T35" fmla="*/ 0 h 869"/>
                <a:gd name="T36" fmla="*/ 500 w 778"/>
                <a:gd name="T37" fmla="*/ 133 h 869"/>
                <a:gd name="T38" fmla="*/ 740 w 778"/>
                <a:gd name="T39" fmla="*/ 396 h 869"/>
                <a:gd name="T40" fmla="*/ 777 w 778"/>
                <a:gd name="T41" fmla="*/ 419 h 86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78" h="869">
                  <a:moveTo>
                    <a:pt x="777" y="419"/>
                  </a:moveTo>
                  <a:cubicBezTo>
                    <a:pt x="778" y="605"/>
                    <a:pt x="778" y="605"/>
                    <a:pt x="778" y="605"/>
                  </a:cubicBezTo>
                  <a:cubicBezTo>
                    <a:pt x="468" y="565"/>
                    <a:pt x="468" y="565"/>
                    <a:pt x="468" y="565"/>
                  </a:cubicBezTo>
                  <a:cubicBezTo>
                    <a:pt x="478" y="754"/>
                    <a:pt x="478" y="754"/>
                    <a:pt x="478" y="754"/>
                  </a:cubicBezTo>
                  <a:cubicBezTo>
                    <a:pt x="445" y="845"/>
                    <a:pt x="445" y="845"/>
                    <a:pt x="445" y="845"/>
                  </a:cubicBezTo>
                  <a:cubicBezTo>
                    <a:pt x="407" y="848"/>
                    <a:pt x="407" y="848"/>
                    <a:pt x="407" y="848"/>
                  </a:cubicBezTo>
                  <a:cubicBezTo>
                    <a:pt x="399" y="869"/>
                    <a:pt x="399" y="869"/>
                    <a:pt x="399" y="869"/>
                  </a:cubicBezTo>
                  <a:cubicBezTo>
                    <a:pt x="272" y="797"/>
                    <a:pt x="272" y="797"/>
                    <a:pt x="272" y="797"/>
                  </a:cubicBezTo>
                  <a:cubicBezTo>
                    <a:pt x="221" y="799"/>
                    <a:pt x="221" y="799"/>
                    <a:pt x="221" y="799"/>
                  </a:cubicBezTo>
                  <a:cubicBezTo>
                    <a:pt x="221" y="799"/>
                    <a:pt x="195" y="653"/>
                    <a:pt x="176" y="587"/>
                  </a:cubicBezTo>
                  <a:cubicBezTo>
                    <a:pt x="135" y="587"/>
                    <a:pt x="52" y="589"/>
                    <a:pt x="0" y="594"/>
                  </a:cubicBezTo>
                  <a:cubicBezTo>
                    <a:pt x="5" y="568"/>
                    <a:pt x="5" y="560"/>
                    <a:pt x="14" y="541"/>
                  </a:cubicBezTo>
                  <a:cubicBezTo>
                    <a:pt x="23" y="522"/>
                    <a:pt x="25" y="519"/>
                    <a:pt x="41" y="495"/>
                  </a:cubicBezTo>
                  <a:cubicBezTo>
                    <a:pt x="57" y="472"/>
                    <a:pt x="140" y="386"/>
                    <a:pt x="140" y="386"/>
                  </a:cubicBezTo>
                  <a:cubicBezTo>
                    <a:pt x="109" y="165"/>
                    <a:pt x="109" y="165"/>
                    <a:pt x="109" y="165"/>
                  </a:cubicBezTo>
                  <a:cubicBezTo>
                    <a:pt x="236" y="140"/>
                    <a:pt x="236" y="140"/>
                    <a:pt x="236" y="140"/>
                  </a:cubicBezTo>
                  <a:cubicBezTo>
                    <a:pt x="231" y="111"/>
                    <a:pt x="231" y="111"/>
                    <a:pt x="231" y="111"/>
                  </a:cubicBezTo>
                  <a:cubicBezTo>
                    <a:pt x="424" y="0"/>
                    <a:pt x="424" y="0"/>
                    <a:pt x="424" y="0"/>
                  </a:cubicBezTo>
                  <a:cubicBezTo>
                    <a:pt x="500" y="133"/>
                    <a:pt x="500" y="133"/>
                    <a:pt x="500" y="133"/>
                  </a:cubicBezTo>
                  <a:cubicBezTo>
                    <a:pt x="740" y="396"/>
                    <a:pt x="740" y="396"/>
                    <a:pt x="740" y="396"/>
                  </a:cubicBezTo>
                  <a:cubicBezTo>
                    <a:pt x="777" y="419"/>
                    <a:pt x="777" y="419"/>
                    <a:pt x="777" y="41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50" name="Freeform 79"/>
            <p:cNvSpPr>
              <a:spLocks/>
            </p:cNvSpPr>
            <p:nvPr/>
          </p:nvSpPr>
          <p:spPr bwMode="auto">
            <a:xfrm>
              <a:off x="3008620" y="2562617"/>
              <a:ext cx="218759" cy="434403"/>
            </a:xfrm>
            <a:custGeom>
              <a:avLst/>
              <a:gdLst>
                <a:gd name="T0" fmla="*/ 341 w 598"/>
                <a:gd name="T1" fmla="*/ 0 h 1331"/>
                <a:gd name="T2" fmla="*/ 358 w 598"/>
                <a:gd name="T3" fmla="*/ 28 h 1331"/>
                <a:gd name="T4" fmla="*/ 344 w 598"/>
                <a:gd name="T5" fmla="*/ 77 h 1331"/>
                <a:gd name="T6" fmla="*/ 334 w 598"/>
                <a:gd name="T7" fmla="*/ 127 h 1331"/>
                <a:gd name="T8" fmla="*/ 388 w 598"/>
                <a:gd name="T9" fmla="*/ 167 h 1331"/>
                <a:gd name="T10" fmla="*/ 536 w 598"/>
                <a:gd name="T11" fmla="*/ 207 h 1331"/>
                <a:gd name="T12" fmla="*/ 562 w 598"/>
                <a:gd name="T13" fmla="*/ 256 h 1331"/>
                <a:gd name="T14" fmla="*/ 598 w 598"/>
                <a:gd name="T15" fmla="*/ 258 h 1331"/>
                <a:gd name="T16" fmla="*/ 590 w 598"/>
                <a:gd name="T17" fmla="*/ 320 h 1331"/>
                <a:gd name="T18" fmla="*/ 559 w 598"/>
                <a:gd name="T19" fmla="*/ 413 h 1331"/>
                <a:gd name="T20" fmla="*/ 454 w 598"/>
                <a:gd name="T21" fmla="*/ 635 h 1331"/>
                <a:gd name="T22" fmla="*/ 282 w 598"/>
                <a:gd name="T23" fmla="*/ 1031 h 1331"/>
                <a:gd name="T24" fmla="*/ 273 w 598"/>
                <a:gd name="T25" fmla="*/ 1331 h 1331"/>
                <a:gd name="T26" fmla="*/ 214 w 598"/>
                <a:gd name="T27" fmla="*/ 1300 h 1331"/>
                <a:gd name="T28" fmla="*/ 169 w 598"/>
                <a:gd name="T29" fmla="*/ 1206 h 1331"/>
                <a:gd name="T30" fmla="*/ 45 w 598"/>
                <a:gd name="T31" fmla="*/ 1141 h 1331"/>
                <a:gd name="T32" fmla="*/ 0 w 598"/>
                <a:gd name="T33" fmla="*/ 1081 h 1331"/>
                <a:gd name="T34" fmla="*/ 10 w 598"/>
                <a:gd name="T35" fmla="*/ 917 h 1331"/>
                <a:gd name="T36" fmla="*/ 92 w 598"/>
                <a:gd name="T37" fmla="*/ 451 h 1331"/>
                <a:gd name="T38" fmla="*/ 341 w 598"/>
                <a:gd name="T39" fmla="*/ 0 h 13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598" h="1331">
                  <a:moveTo>
                    <a:pt x="341" y="0"/>
                  </a:moveTo>
                  <a:cubicBezTo>
                    <a:pt x="341" y="0"/>
                    <a:pt x="362" y="13"/>
                    <a:pt x="358" y="28"/>
                  </a:cubicBezTo>
                  <a:cubicBezTo>
                    <a:pt x="355" y="44"/>
                    <a:pt x="348" y="66"/>
                    <a:pt x="344" y="77"/>
                  </a:cubicBezTo>
                  <a:cubicBezTo>
                    <a:pt x="341" y="87"/>
                    <a:pt x="320" y="110"/>
                    <a:pt x="334" y="127"/>
                  </a:cubicBezTo>
                  <a:cubicBezTo>
                    <a:pt x="348" y="145"/>
                    <a:pt x="365" y="169"/>
                    <a:pt x="388" y="167"/>
                  </a:cubicBezTo>
                  <a:cubicBezTo>
                    <a:pt x="410" y="166"/>
                    <a:pt x="522" y="202"/>
                    <a:pt x="536" y="207"/>
                  </a:cubicBezTo>
                  <a:cubicBezTo>
                    <a:pt x="550" y="213"/>
                    <a:pt x="562" y="256"/>
                    <a:pt x="562" y="256"/>
                  </a:cubicBezTo>
                  <a:cubicBezTo>
                    <a:pt x="598" y="258"/>
                    <a:pt x="598" y="258"/>
                    <a:pt x="598" y="258"/>
                  </a:cubicBezTo>
                  <a:cubicBezTo>
                    <a:pt x="590" y="320"/>
                    <a:pt x="590" y="320"/>
                    <a:pt x="590" y="320"/>
                  </a:cubicBezTo>
                  <a:cubicBezTo>
                    <a:pt x="559" y="413"/>
                    <a:pt x="559" y="413"/>
                    <a:pt x="559" y="413"/>
                  </a:cubicBezTo>
                  <a:cubicBezTo>
                    <a:pt x="454" y="635"/>
                    <a:pt x="454" y="635"/>
                    <a:pt x="454" y="635"/>
                  </a:cubicBezTo>
                  <a:cubicBezTo>
                    <a:pt x="454" y="635"/>
                    <a:pt x="291" y="1028"/>
                    <a:pt x="282" y="1031"/>
                  </a:cubicBezTo>
                  <a:cubicBezTo>
                    <a:pt x="274" y="1034"/>
                    <a:pt x="273" y="1331"/>
                    <a:pt x="273" y="1331"/>
                  </a:cubicBezTo>
                  <a:cubicBezTo>
                    <a:pt x="214" y="1300"/>
                    <a:pt x="214" y="1300"/>
                    <a:pt x="214" y="1300"/>
                  </a:cubicBezTo>
                  <a:cubicBezTo>
                    <a:pt x="169" y="1206"/>
                    <a:pt x="169" y="1206"/>
                    <a:pt x="169" y="1206"/>
                  </a:cubicBezTo>
                  <a:cubicBezTo>
                    <a:pt x="45" y="1141"/>
                    <a:pt x="45" y="1141"/>
                    <a:pt x="45" y="1141"/>
                  </a:cubicBezTo>
                  <a:cubicBezTo>
                    <a:pt x="0" y="1081"/>
                    <a:pt x="0" y="1081"/>
                    <a:pt x="0" y="1081"/>
                  </a:cubicBezTo>
                  <a:cubicBezTo>
                    <a:pt x="10" y="917"/>
                    <a:pt x="10" y="917"/>
                    <a:pt x="10" y="917"/>
                  </a:cubicBezTo>
                  <a:cubicBezTo>
                    <a:pt x="92" y="451"/>
                    <a:pt x="92" y="451"/>
                    <a:pt x="92" y="451"/>
                  </a:cubicBezTo>
                  <a:cubicBezTo>
                    <a:pt x="341" y="0"/>
                    <a:pt x="341" y="0"/>
                    <a:pt x="341" y="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6" name="Freeform 106"/>
            <p:cNvSpPr>
              <a:spLocks/>
            </p:cNvSpPr>
            <p:nvPr/>
          </p:nvSpPr>
          <p:spPr bwMode="auto">
            <a:xfrm>
              <a:off x="2620572" y="2119409"/>
              <a:ext cx="391348" cy="325802"/>
            </a:xfrm>
            <a:custGeom>
              <a:avLst/>
              <a:gdLst>
                <a:gd name="T0" fmla="*/ 1067 w 1068"/>
                <a:gd name="T1" fmla="*/ 569 h 999"/>
                <a:gd name="T2" fmla="*/ 1039 w 1068"/>
                <a:gd name="T3" fmla="*/ 590 h 999"/>
                <a:gd name="T4" fmla="*/ 1021 w 1068"/>
                <a:gd name="T5" fmla="*/ 687 h 999"/>
                <a:gd name="T6" fmla="*/ 895 w 1068"/>
                <a:gd name="T7" fmla="*/ 699 h 999"/>
                <a:gd name="T8" fmla="*/ 893 w 1068"/>
                <a:gd name="T9" fmla="*/ 679 h 999"/>
                <a:gd name="T10" fmla="*/ 814 w 1068"/>
                <a:gd name="T11" fmla="*/ 634 h 999"/>
                <a:gd name="T12" fmla="*/ 814 w 1068"/>
                <a:gd name="T13" fmla="*/ 766 h 999"/>
                <a:gd name="T14" fmla="*/ 688 w 1068"/>
                <a:gd name="T15" fmla="*/ 999 h 999"/>
                <a:gd name="T16" fmla="*/ 508 w 1068"/>
                <a:gd name="T17" fmla="*/ 987 h 999"/>
                <a:gd name="T18" fmla="*/ 328 w 1068"/>
                <a:gd name="T19" fmla="*/ 976 h 999"/>
                <a:gd name="T20" fmla="*/ 71 w 1068"/>
                <a:gd name="T21" fmla="*/ 956 h 999"/>
                <a:gd name="T22" fmla="*/ 48 w 1068"/>
                <a:gd name="T23" fmla="*/ 749 h 999"/>
                <a:gd name="T24" fmla="*/ 54 w 1068"/>
                <a:gd name="T25" fmla="*/ 559 h 999"/>
                <a:gd name="T26" fmla="*/ 0 w 1068"/>
                <a:gd name="T27" fmla="*/ 298 h 999"/>
                <a:gd name="T28" fmla="*/ 27 w 1068"/>
                <a:gd name="T29" fmla="*/ 281 h 999"/>
                <a:gd name="T30" fmla="*/ 113 w 1068"/>
                <a:gd name="T31" fmla="*/ 339 h 999"/>
                <a:gd name="T32" fmla="*/ 213 w 1068"/>
                <a:gd name="T33" fmla="*/ 381 h 999"/>
                <a:gd name="T34" fmla="*/ 224 w 1068"/>
                <a:gd name="T35" fmla="*/ 358 h 999"/>
                <a:gd name="T36" fmla="*/ 243 w 1068"/>
                <a:gd name="T37" fmla="*/ 161 h 999"/>
                <a:gd name="T38" fmla="*/ 599 w 1068"/>
                <a:gd name="T39" fmla="*/ 42 h 999"/>
                <a:gd name="T40" fmla="*/ 598 w 1068"/>
                <a:gd name="T41" fmla="*/ 40 h 999"/>
                <a:gd name="T42" fmla="*/ 756 w 1068"/>
                <a:gd name="T43" fmla="*/ 0 h 999"/>
                <a:gd name="T44" fmla="*/ 752 w 1068"/>
                <a:gd name="T45" fmla="*/ 1 h 999"/>
                <a:gd name="T46" fmla="*/ 761 w 1068"/>
                <a:gd name="T47" fmla="*/ 42 h 999"/>
                <a:gd name="T48" fmla="*/ 736 w 1068"/>
                <a:gd name="T49" fmla="*/ 65 h 999"/>
                <a:gd name="T50" fmla="*/ 745 w 1068"/>
                <a:gd name="T51" fmla="*/ 153 h 999"/>
                <a:gd name="T52" fmla="*/ 754 w 1068"/>
                <a:gd name="T53" fmla="*/ 170 h 999"/>
                <a:gd name="T54" fmla="*/ 835 w 1068"/>
                <a:gd name="T55" fmla="*/ 242 h 999"/>
                <a:gd name="T56" fmla="*/ 919 w 1068"/>
                <a:gd name="T57" fmla="*/ 325 h 999"/>
                <a:gd name="T58" fmla="*/ 949 w 1068"/>
                <a:gd name="T59" fmla="*/ 337 h 999"/>
                <a:gd name="T60" fmla="*/ 961 w 1068"/>
                <a:gd name="T61" fmla="*/ 353 h 999"/>
                <a:gd name="T62" fmla="*/ 984 w 1068"/>
                <a:gd name="T63" fmla="*/ 442 h 999"/>
                <a:gd name="T64" fmla="*/ 1047 w 1068"/>
                <a:gd name="T65" fmla="*/ 511 h 999"/>
                <a:gd name="T66" fmla="*/ 1047 w 1068"/>
                <a:gd name="T67" fmla="*/ 546 h 999"/>
                <a:gd name="T68" fmla="*/ 1065 w 1068"/>
                <a:gd name="T69" fmla="*/ 569 h 999"/>
                <a:gd name="T70" fmla="*/ 1068 w 1068"/>
                <a:gd name="T71" fmla="*/ 566 h 999"/>
                <a:gd name="T72" fmla="*/ 1067 w 1068"/>
                <a:gd name="T73" fmla="*/ 569 h 999"/>
                <a:gd name="T74" fmla="*/ 1067 w 1068"/>
                <a:gd name="T75" fmla="*/ 569 h 99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</a:cxnLst>
              <a:rect l="0" t="0" r="r" b="b"/>
              <a:pathLst>
                <a:path w="1068" h="999">
                  <a:moveTo>
                    <a:pt x="1067" y="569"/>
                  </a:moveTo>
                  <a:cubicBezTo>
                    <a:pt x="1039" y="590"/>
                    <a:pt x="1039" y="590"/>
                    <a:pt x="1039" y="590"/>
                  </a:cubicBezTo>
                  <a:cubicBezTo>
                    <a:pt x="1021" y="687"/>
                    <a:pt x="1021" y="687"/>
                    <a:pt x="1021" y="687"/>
                  </a:cubicBezTo>
                  <a:cubicBezTo>
                    <a:pt x="895" y="699"/>
                    <a:pt x="895" y="699"/>
                    <a:pt x="895" y="699"/>
                  </a:cubicBezTo>
                  <a:cubicBezTo>
                    <a:pt x="893" y="679"/>
                    <a:pt x="893" y="679"/>
                    <a:pt x="893" y="679"/>
                  </a:cubicBezTo>
                  <a:cubicBezTo>
                    <a:pt x="814" y="634"/>
                    <a:pt x="814" y="634"/>
                    <a:pt x="814" y="634"/>
                  </a:cubicBezTo>
                  <a:cubicBezTo>
                    <a:pt x="814" y="766"/>
                    <a:pt x="814" y="766"/>
                    <a:pt x="814" y="766"/>
                  </a:cubicBezTo>
                  <a:cubicBezTo>
                    <a:pt x="688" y="999"/>
                    <a:pt x="688" y="999"/>
                    <a:pt x="688" y="999"/>
                  </a:cubicBezTo>
                  <a:cubicBezTo>
                    <a:pt x="508" y="987"/>
                    <a:pt x="508" y="987"/>
                    <a:pt x="508" y="987"/>
                  </a:cubicBezTo>
                  <a:cubicBezTo>
                    <a:pt x="328" y="976"/>
                    <a:pt x="328" y="976"/>
                    <a:pt x="328" y="976"/>
                  </a:cubicBezTo>
                  <a:cubicBezTo>
                    <a:pt x="71" y="956"/>
                    <a:pt x="71" y="956"/>
                    <a:pt x="71" y="956"/>
                  </a:cubicBezTo>
                  <a:cubicBezTo>
                    <a:pt x="61" y="895"/>
                    <a:pt x="47" y="811"/>
                    <a:pt x="48" y="749"/>
                  </a:cubicBezTo>
                  <a:cubicBezTo>
                    <a:pt x="49" y="682"/>
                    <a:pt x="50" y="628"/>
                    <a:pt x="54" y="559"/>
                  </a:cubicBezTo>
                  <a:cubicBezTo>
                    <a:pt x="0" y="298"/>
                    <a:pt x="0" y="298"/>
                    <a:pt x="0" y="298"/>
                  </a:cubicBezTo>
                  <a:cubicBezTo>
                    <a:pt x="27" y="281"/>
                    <a:pt x="27" y="281"/>
                    <a:pt x="27" y="281"/>
                  </a:cubicBezTo>
                  <a:cubicBezTo>
                    <a:pt x="113" y="339"/>
                    <a:pt x="113" y="339"/>
                    <a:pt x="113" y="339"/>
                  </a:cubicBezTo>
                  <a:cubicBezTo>
                    <a:pt x="213" y="381"/>
                    <a:pt x="213" y="381"/>
                    <a:pt x="213" y="381"/>
                  </a:cubicBezTo>
                  <a:cubicBezTo>
                    <a:pt x="224" y="358"/>
                    <a:pt x="224" y="358"/>
                    <a:pt x="224" y="358"/>
                  </a:cubicBezTo>
                  <a:cubicBezTo>
                    <a:pt x="243" y="161"/>
                    <a:pt x="243" y="161"/>
                    <a:pt x="243" y="161"/>
                  </a:cubicBezTo>
                  <a:cubicBezTo>
                    <a:pt x="599" y="42"/>
                    <a:pt x="599" y="42"/>
                    <a:pt x="599" y="42"/>
                  </a:cubicBezTo>
                  <a:cubicBezTo>
                    <a:pt x="598" y="40"/>
                    <a:pt x="598" y="40"/>
                    <a:pt x="598" y="40"/>
                  </a:cubicBezTo>
                  <a:cubicBezTo>
                    <a:pt x="756" y="0"/>
                    <a:pt x="756" y="0"/>
                    <a:pt x="756" y="0"/>
                  </a:cubicBezTo>
                  <a:cubicBezTo>
                    <a:pt x="752" y="1"/>
                    <a:pt x="752" y="1"/>
                    <a:pt x="752" y="1"/>
                  </a:cubicBezTo>
                  <a:cubicBezTo>
                    <a:pt x="761" y="42"/>
                    <a:pt x="761" y="42"/>
                    <a:pt x="761" y="42"/>
                  </a:cubicBezTo>
                  <a:cubicBezTo>
                    <a:pt x="736" y="65"/>
                    <a:pt x="736" y="65"/>
                    <a:pt x="736" y="65"/>
                  </a:cubicBezTo>
                  <a:cubicBezTo>
                    <a:pt x="745" y="153"/>
                    <a:pt x="745" y="153"/>
                    <a:pt x="745" y="153"/>
                  </a:cubicBezTo>
                  <a:cubicBezTo>
                    <a:pt x="754" y="170"/>
                    <a:pt x="754" y="170"/>
                    <a:pt x="754" y="170"/>
                  </a:cubicBezTo>
                  <a:cubicBezTo>
                    <a:pt x="835" y="242"/>
                    <a:pt x="835" y="242"/>
                    <a:pt x="835" y="242"/>
                  </a:cubicBezTo>
                  <a:cubicBezTo>
                    <a:pt x="919" y="325"/>
                    <a:pt x="919" y="325"/>
                    <a:pt x="919" y="325"/>
                  </a:cubicBezTo>
                  <a:cubicBezTo>
                    <a:pt x="949" y="337"/>
                    <a:pt x="949" y="337"/>
                    <a:pt x="949" y="337"/>
                  </a:cubicBezTo>
                  <a:cubicBezTo>
                    <a:pt x="961" y="353"/>
                    <a:pt x="961" y="353"/>
                    <a:pt x="961" y="353"/>
                  </a:cubicBezTo>
                  <a:cubicBezTo>
                    <a:pt x="984" y="442"/>
                    <a:pt x="984" y="442"/>
                    <a:pt x="984" y="442"/>
                  </a:cubicBezTo>
                  <a:cubicBezTo>
                    <a:pt x="1047" y="511"/>
                    <a:pt x="1047" y="511"/>
                    <a:pt x="1047" y="511"/>
                  </a:cubicBezTo>
                  <a:cubicBezTo>
                    <a:pt x="1047" y="546"/>
                    <a:pt x="1047" y="546"/>
                    <a:pt x="1047" y="546"/>
                  </a:cubicBezTo>
                  <a:cubicBezTo>
                    <a:pt x="1065" y="569"/>
                    <a:pt x="1065" y="569"/>
                    <a:pt x="1065" y="569"/>
                  </a:cubicBezTo>
                  <a:cubicBezTo>
                    <a:pt x="1068" y="566"/>
                    <a:pt x="1068" y="566"/>
                    <a:pt x="1068" y="566"/>
                  </a:cubicBezTo>
                  <a:cubicBezTo>
                    <a:pt x="1067" y="569"/>
                    <a:pt x="1067" y="569"/>
                    <a:pt x="1067" y="569"/>
                  </a:cubicBezTo>
                  <a:cubicBezTo>
                    <a:pt x="1067" y="569"/>
                    <a:pt x="1067" y="569"/>
                    <a:pt x="1067" y="56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7" name="Freeform 107"/>
            <p:cNvSpPr>
              <a:spLocks/>
            </p:cNvSpPr>
            <p:nvPr/>
          </p:nvSpPr>
          <p:spPr bwMode="auto">
            <a:xfrm>
              <a:off x="2411705" y="1822958"/>
              <a:ext cx="311101" cy="250466"/>
            </a:xfrm>
            <a:custGeom>
              <a:avLst/>
              <a:gdLst>
                <a:gd name="T0" fmla="*/ 487 w 847"/>
                <a:gd name="T1" fmla="*/ 596 h 766"/>
                <a:gd name="T2" fmla="*/ 441 w 847"/>
                <a:gd name="T3" fmla="*/ 520 h 766"/>
                <a:gd name="T4" fmla="*/ 294 w 847"/>
                <a:gd name="T5" fmla="*/ 411 h 766"/>
                <a:gd name="T6" fmla="*/ 244 w 847"/>
                <a:gd name="T7" fmla="*/ 377 h 766"/>
                <a:gd name="T8" fmla="*/ 123 w 847"/>
                <a:gd name="T9" fmla="*/ 301 h 766"/>
                <a:gd name="T10" fmla="*/ 44 w 847"/>
                <a:gd name="T11" fmla="*/ 238 h 766"/>
                <a:gd name="T12" fmla="*/ 0 w 847"/>
                <a:gd name="T13" fmla="*/ 120 h 766"/>
                <a:gd name="T14" fmla="*/ 641 w 847"/>
                <a:gd name="T15" fmla="*/ 0 h 766"/>
                <a:gd name="T16" fmla="*/ 847 w 847"/>
                <a:gd name="T17" fmla="*/ 39 h 766"/>
                <a:gd name="T18" fmla="*/ 835 w 847"/>
                <a:gd name="T19" fmla="*/ 105 h 766"/>
                <a:gd name="T20" fmla="*/ 819 w 847"/>
                <a:gd name="T21" fmla="*/ 738 h 766"/>
                <a:gd name="T22" fmla="*/ 747 w 847"/>
                <a:gd name="T23" fmla="*/ 762 h 766"/>
                <a:gd name="T24" fmla="*/ 682 w 847"/>
                <a:gd name="T25" fmla="*/ 762 h 766"/>
                <a:gd name="T26" fmla="*/ 672 w 847"/>
                <a:gd name="T27" fmla="*/ 709 h 766"/>
                <a:gd name="T28" fmla="*/ 496 w 847"/>
                <a:gd name="T29" fmla="*/ 694 h 766"/>
                <a:gd name="T30" fmla="*/ 487 w 847"/>
                <a:gd name="T31" fmla="*/ 596 h 7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847" h="766">
                  <a:moveTo>
                    <a:pt x="487" y="596"/>
                  </a:moveTo>
                  <a:cubicBezTo>
                    <a:pt x="476" y="568"/>
                    <a:pt x="462" y="541"/>
                    <a:pt x="441" y="520"/>
                  </a:cubicBezTo>
                  <a:cubicBezTo>
                    <a:pt x="393" y="482"/>
                    <a:pt x="346" y="444"/>
                    <a:pt x="294" y="411"/>
                  </a:cubicBezTo>
                  <a:cubicBezTo>
                    <a:pt x="277" y="400"/>
                    <a:pt x="259" y="387"/>
                    <a:pt x="244" y="377"/>
                  </a:cubicBezTo>
                  <a:cubicBezTo>
                    <a:pt x="202" y="353"/>
                    <a:pt x="159" y="332"/>
                    <a:pt x="123" y="301"/>
                  </a:cubicBezTo>
                  <a:cubicBezTo>
                    <a:pt x="97" y="280"/>
                    <a:pt x="68" y="261"/>
                    <a:pt x="44" y="238"/>
                  </a:cubicBezTo>
                  <a:cubicBezTo>
                    <a:pt x="29" y="199"/>
                    <a:pt x="15" y="160"/>
                    <a:pt x="0" y="120"/>
                  </a:cubicBezTo>
                  <a:cubicBezTo>
                    <a:pt x="214" y="80"/>
                    <a:pt x="427" y="40"/>
                    <a:pt x="641" y="0"/>
                  </a:cubicBezTo>
                  <a:cubicBezTo>
                    <a:pt x="710" y="13"/>
                    <a:pt x="779" y="26"/>
                    <a:pt x="847" y="39"/>
                  </a:cubicBezTo>
                  <a:cubicBezTo>
                    <a:pt x="840" y="60"/>
                    <a:pt x="833" y="82"/>
                    <a:pt x="835" y="105"/>
                  </a:cubicBezTo>
                  <a:cubicBezTo>
                    <a:pt x="829" y="316"/>
                    <a:pt x="824" y="527"/>
                    <a:pt x="819" y="738"/>
                  </a:cubicBezTo>
                  <a:cubicBezTo>
                    <a:pt x="795" y="746"/>
                    <a:pt x="773" y="766"/>
                    <a:pt x="747" y="762"/>
                  </a:cubicBezTo>
                  <a:cubicBezTo>
                    <a:pt x="725" y="762"/>
                    <a:pt x="703" y="762"/>
                    <a:pt x="682" y="762"/>
                  </a:cubicBezTo>
                  <a:cubicBezTo>
                    <a:pt x="678" y="745"/>
                    <a:pt x="675" y="727"/>
                    <a:pt x="672" y="709"/>
                  </a:cubicBezTo>
                  <a:cubicBezTo>
                    <a:pt x="613" y="704"/>
                    <a:pt x="555" y="699"/>
                    <a:pt x="496" y="694"/>
                  </a:cubicBezTo>
                  <a:cubicBezTo>
                    <a:pt x="493" y="661"/>
                    <a:pt x="490" y="629"/>
                    <a:pt x="487" y="596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8" name="Freeform 108"/>
            <p:cNvSpPr>
              <a:spLocks/>
            </p:cNvSpPr>
            <p:nvPr/>
          </p:nvSpPr>
          <p:spPr bwMode="auto">
            <a:xfrm>
              <a:off x="2594187" y="2049944"/>
              <a:ext cx="246243" cy="195675"/>
            </a:xfrm>
            <a:custGeom>
              <a:avLst/>
              <a:gdLst>
                <a:gd name="T0" fmla="*/ 74 w 673"/>
                <a:gd name="T1" fmla="*/ 512 h 602"/>
                <a:gd name="T2" fmla="*/ 22 w 673"/>
                <a:gd name="T3" fmla="*/ 278 h 602"/>
                <a:gd name="T4" fmla="*/ 0 w 673"/>
                <a:gd name="T5" fmla="*/ 0 h 602"/>
                <a:gd name="T6" fmla="*/ 176 w 673"/>
                <a:gd name="T7" fmla="*/ 15 h 602"/>
                <a:gd name="T8" fmla="*/ 186 w 673"/>
                <a:gd name="T9" fmla="*/ 68 h 602"/>
                <a:gd name="T10" fmla="*/ 271 w 673"/>
                <a:gd name="T11" fmla="*/ 67 h 602"/>
                <a:gd name="T12" fmla="*/ 323 w 673"/>
                <a:gd name="T13" fmla="*/ 44 h 602"/>
                <a:gd name="T14" fmla="*/ 338 w 673"/>
                <a:gd name="T15" fmla="*/ 25 h 602"/>
                <a:gd name="T16" fmla="*/ 440 w 673"/>
                <a:gd name="T17" fmla="*/ 27 h 602"/>
                <a:gd name="T18" fmla="*/ 501 w 673"/>
                <a:gd name="T19" fmla="*/ 47 h 602"/>
                <a:gd name="T20" fmla="*/ 673 w 673"/>
                <a:gd name="T21" fmla="*/ 256 h 602"/>
                <a:gd name="T22" fmla="*/ 317 w 673"/>
                <a:gd name="T23" fmla="*/ 375 h 602"/>
                <a:gd name="T24" fmla="*/ 297 w 673"/>
                <a:gd name="T25" fmla="*/ 574 h 602"/>
                <a:gd name="T26" fmla="*/ 277 w 673"/>
                <a:gd name="T27" fmla="*/ 591 h 602"/>
                <a:gd name="T28" fmla="*/ 182 w 673"/>
                <a:gd name="T29" fmla="*/ 550 h 602"/>
                <a:gd name="T30" fmla="*/ 101 w 673"/>
                <a:gd name="T31" fmla="*/ 495 h 602"/>
                <a:gd name="T32" fmla="*/ 74 w 673"/>
                <a:gd name="T33" fmla="*/ 512 h 6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673" h="602">
                  <a:moveTo>
                    <a:pt x="74" y="512"/>
                  </a:moveTo>
                  <a:cubicBezTo>
                    <a:pt x="57" y="434"/>
                    <a:pt x="38" y="356"/>
                    <a:pt x="22" y="278"/>
                  </a:cubicBezTo>
                  <a:cubicBezTo>
                    <a:pt x="15" y="186"/>
                    <a:pt x="9" y="93"/>
                    <a:pt x="0" y="0"/>
                  </a:cubicBezTo>
                  <a:cubicBezTo>
                    <a:pt x="59" y="5"/>
                    <a:pt x="117" y="10"/>
                    <a:pt x="176" y="15"/>
                  </a:cubicBezTo>
                  <a:cubicBezTo>
                    <a:pt x="179" y="33"/>
                    <a:pt x="182" y="51"/>
                    <a:pt x="186" y="68"/>
                  </a:cubicBezTo>
                  <a:cubicBezTo>
                    <a:pt x="214" y="68"/>
                    <a:pt x="243" y="69"/>
                    <a:pt x="271" y="67"/>
                  </a:cubicBezTo>
                  <a:cubicBezTo>
                    <a:pt x="289" y="60"/>
                    <a:pt x="306" y="52"/>
                    <a:pt x="323" y="44"/>
                  </a:cubicBezTo>
                  <a:cubicBezTo>
                    <a:pt x="321" y="31"/>
                    <a:pt x="322" y="20"/>
                    <a:pt x="338" y="25"/>
                  </a:cubicBezTo>
                  <a:cubicBezTo>
                    <a:pt x="372" y="26"/>
                    <a:pt x="406" y="24"/>
                    <a:pt x="440" y="27"/>
                  </a:cubicBezTo>
                  <a:cubicBezTo>
                    <a:pt x="460" y="34"/>
                    <a:pt x="482" y="38"/>
                    <a:pt x="501" y="47"/>
                  </a:cubicBezTo>
                  <a:cubicBezTo>
                    <a:pt x="558" y="116"/>
                    <a:pt x="616" y="186"/>
                    <a:pt x="673" y="256"/>
                  </a:cubicBezTo>
                  <a:cubicBezTo>
                    <a:pt x="555" y="296"/>
                    <a:pt x="436" y="336"/>
                    <a:pt x="317" y="375"/>
                  </a:cubicBezTo>
                  <a:cubicBezTo>
                    <a:pt x="310" y="441"/>
                    <a:pt x="305" y="508"/>
                    <a:pt x="297" y="574"/>
                  </a:cubicBezTo>
                  <a:cubicBezTo>
                    <a:pt x="291" y="583"/>
                    <a:pt x="290" y="602"/>
                    <a:pt x="277" y="591"/>
                  </a:cubicBezTo>
                  <a:cubicBezTo>
                    <a:pt x="245" y="577"/>
                    <a:pt x="213" y="565"/>
                    <a:pt x="182" y="550"/>
                  </a:cubicBezTo>
                  <a:cubicBezTo>
                    <a:pt x="155" y="531"/>
                    <a:pt x="128" y="513"/>
                    <a:pt x="101" y="495"/>
                  </a:cubicBezTo>
                  <a:cubicBezTo>
                    <a:pt x="92" y="500"/>
                    <a:pt x="83" y="506"/>
                    <a:pt x="74" y="512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79" name="Freeform 109"/>
            <p:cNvSpPr>
              <a:spLocks/>
            </p:cNvSpPr>
            <p:nvPr/>
          </p:nvSpPr>
          <p:spPr bwMode="auto">
            <a:xfrm>
              <a:off x="2711812" y="1821004"/>
              <a:ext cx="325392" cy="311126"/>
            </a:xfrm>
            <a:custGeom>
              <a:avLst/>
              <a:gdLst>
                <a:gd name="T0" fmla="*/ 568 w 886"/>
                <a:gd name="T1" fmla="*/ 758 h 955"/>
                <a:gd name="T2" fmla="*/ 461 w 886"/>
                <a:gd name="T3" fmla="*/ 850 h 955"/>
                <a:gd name="T4" fmla="*/ 479 w 886"/>
                <a:gd name="T5" fmla="*/ 899 h 955"/>
                <a:gd name="T6" fmla="*/ 491 w 886"/>
                <a:gd name="T7" fmla="*/ 919 h 955"/>
                <a:gd name="T8" fmla="*/ 349 w 886"/>
                <a:gd name="T9" fmla="*/ 955 h 955"/>
                <a:gd name="T10" fmla="*/ 177 w 886"/>
                <a:gd name="T11" fmla="*/ 746 h 955"/>
                <a:gd name="T12" fmla="*/ 81 w 886"/>
                <a:gd name="T13" fmla="*/ 726 h 955"/>
                <a:gd name="T14" fmla="*/ 0 w 886"/>
                <a:gd name="T15" fmla="*/ 725 h 955"/>
                <a:gd name="T16" fmla="*/ 16 w 886"/>
                <a:gd name="T17" fmla="*/ 84 h 955"/>
                <a:gd name="T18" fmla="*/ 27 w 886"/>
                <a:gd name="T19" fmla="*/ 43 h 955"/>
                <a:gd name="T20" fmla="*/ 50 w 886"/>
                <a:gd name="T21" fmla="*/ 27 h 955"/>
                <a:gd name="T22" fmla="*/ 92 w 886"/>
                <a:gd name="T23" fmla="*/ 74 h 955"/>
                <a:gd name="T24" fmla="*/ 516 w 886"/>
                <a:gd name="T25" fmla="*/ 267 h 955"/>
                <a:gd name="T26" fmla="*/ 752 w 886"/>
                <a:gd name="T27" fmla="*/ 349 h 955"/>
                <a:gd name="T28" fmla="*/ 886 w 886"/>
                <a:gd name="T29" fmla="*/ 393 h 955"/>
                <a:gd name="T30" fmla="*/ 865 w 886"/>
                <a:gd name="T31" fmla="*/ 506 h 955"/>
                <a:gd name="T32" fmla="*/ 686 w 886"/>
                <a:gd name="T33" fmla="*/ 640 h 955"/>
                <a:gd name="T34" fmla="*/ 609 w 886"/>
                <a:gd name="T35" fmla="*/ 682 h 955"/>
                <a:gd name="T36" fmla="*/ 568 w 886"/>
                <a:gd name="T37" fmla="*/ 758 h 9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886" h="955">
                  <a:moveTo>
                    <a:pt x="568" y="758"/>
                  </a:moveTo>
                  <a:cubicBezTo>
                    <a:pt x="529" y="784"/>
                    <a:pt x="496" y="818"/>
                    <a:pt x="461" y="850"/>
                  </a:cubicBezTo>
                  <a:cubicBezTo>
                    <a:pt x="468" y="866"/>
                    <a:pt x="470" y="885"/>
                    <a:pt x="479" y="899"/>
                  </a:cubicBezTo>
                  <a:cubicBezTo>
                    <a:pt x="490" y="906"/>
                    <a:pt x="521" y="917"/>
                    <a:pt x="491" y="919"/>
                  </a:cubicBezTo>
                  <a:cubicBezTo>
                    <a:pt x="444" y="931"/>
                    <a:pt x="396" y="943"/>
                    <a:pt x="349" y="955"/>
                  </a:cubicBezTo>
                  <a:cubicBezTo>
                    <a:pt x="291" y="885"/>
                    <a:pt x="234" y="816"/>
                    <a:pt x="177" y="746"/>
                  </a:cubicBezTo>
                  <a:cubicBezTo>
                    <a:pt x="145" y="738"/>
                    <a:pt x="115" y="723"/>
                    <a:pt x="81" y="726"/>
                  </a:cubicBezTo>
                  <a:cubicBezTo>
                    <a:pt x="54" y="726"/>
                    <a:pt x="27" y="726"/>
                    <a:pt x="0" y="725"/>
                  </a:cubicBezTo>
                  <a:cubicBezTo>
                    <a:pt x="6" y="512"/>
                    <a:pt x="11" y="298"/>
                    <a:pt x="16" y="84"/>
                  </a:cubicBezTo>
                  <a:cubicBezTo>
                    <a:pt x="19" y="71"/>
                    <a:pt x="29" y="52"/>
                    <a:pt x="27" y="43"/>
                  </a:cubicBezTo>
                  <a:cubicBezTo>
                    <a:pt x="34" y="31"/>
                    <a:pt x="41" y="0"/>
                    <a:pt x="50" y="27"/>
                  </a:cubicBezTo>
                  <a:cubicBezTo>
                    <a:pt x="63" y="44"/>
                    <a:pt x="69" y="69"/>
                    <a:pt x="92" y="74"/>
                  </a:cubicBezTo>
                  <a:cubicBezTo>
                    <a:pt x="233" y="139"/>
                    <a:pt x="372" y="208"/>
                    <a:pt x="516" y="267"/>
                  </a:cubicBezTo>
                  <a:cubicBezTo>
                    <a:pt x="592" y="301"/>
                    <a:pt x="673" y="322"/>
                    <a:pt x="752" y="349"/>
                  </a:cubicBezTo>
                  <a:cubicBezTo>
                    <a:pt x="797" y="364"/>
                    <a:pt x="841" y="379"/>
                    <a:pt x="886" y="393"/>
                  </a:cubicBezTo>
                  <a:cubicBezTo>
                    <a:pt x="879" y="431"/>
                    <a:pt x="872" y="468"/>
                    <a:pt x="865" y="506"/>
                  </a:cubicBezTo>
                  <a:cubicBezTo>
                    <a:pt x="805" y="550"/>
                    <a:pt x="747" y="597"/>
                    <a:pt x="686" y="640"/>
                  </a:cubicBezTo>
                  <a:cubicBezTo>
                    <a:pt x="661" y="654"/>
                    <a:pt x="633" y="666"/>
                    <a:pt x="609" y="682"/>
                  </a:cubicBezTo>
                  <a:cubicBezTo>
                    <a:pt x="596" y="707"/>
                    <a:pt x="582" y="733"/>
                    <a:pt x="568" y="758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0" name="Freeform 110"/>
            <p:cNvSpPr>
              <a:spLocks/>
            </p:cNvSpPr>
            <p:nvPr/>
          </p:nvSpPr>
          <p:spPr bwMode="auto">
            <a:xfrm>
              <a:off x="2917380" y="1949171"/>
              <a:ext cx="395744" cy="212310"/>
            </a:xfrm>
            <a:custGeom>
              <a:avLst/>
              <a:gdLst>
                <a:gd name="T0" fmla="*/ 987 w 1080"/>
                <a:gd name="T1" fmla="*/ 412 h 651"/>
                <a:gd name="T2" fmla="*/ 949 w 1080"/>
                <a:gd name="T3" fmla="*/ 439 h 651"/>
                <a:gd name="T4" fmla="*/ 883 w 1080"/>
                <a:gd name="T5" fmla="*/ 426 h 651"/>
                <a:gd name="T6" fmla="*/ 882 w 1080"/>
                <a:gd name="T7" fmla="*/ 457 h 651"/>
                <a:gd name="T8" fmla="*/ 810 w 1080"/>
                <a:gd name="T9" fmla="*/ 475 h 651"/>
                <a:gd name="T10" fmla="*/ 704 w 1080"/>
                <a:gd name="T11" fmla="*/ 475 h 651"/>
                <a:gd name="T12" fmla="*/ 623 w 1080"/>
                <a:gd name="T13" fmla="*/ 538 h 651"/>
                <a:gd name="T14" fmla="*/ 618 w 1080"/>
                <a:gd name="T15" fmla="*/ 651 h 651"/>
                <a:gd name="T16" fmla="*/ 266 w 1080"/>
                <a:gd name="T17" fmla="*/ 589 h 651"/>
                <a:gd name="T18" fmla="*/ 347 w 1080"/>
                <a:gd name="T19" fmla="*/ 421 h 651"/>
                <a:gd name="T20" fmla="*/ 21 w 1080"/>
                <a:gd name="T21" fmla="*/ 380 h 651"/>
                <a:gd name="T22" fmla="*/ 19 w 1080"/>
                <a:gd name="T23" fmla="*/ 344 h 651"/>
                <a:gd name="T24" fmla="*/ 53 w 1080"/>
                <a:gd name="T25" fmla="*/ 284 h 651"/>
                <a:gd name="T26" fmla="*/ 166 w 1080"/>
                <a:gd name="T27" fmla="*/ 217 h 651"/>
                <a:gd name="T28" fmla="*/ 305 w 1080"/>
                <a:gd name="T29" fmla="*/ 112 h 651"/>
                <a:gd name="T30" fmla="*/ 326 w 1080"/>
                <a:gd name="T31" fmla="*/ 0 h 651"/>
                <a:gd name="T32" fmla="*/ 447 w 1080"/>
                <a:gd name="T33" fmla="*/ 22 h 651"/>
                <a:gd name="T34" fmla="*/ 664 w 1080"/>
                <a:gd name="T35" fmla="*/ 58 h 651"/>
                <a:gd name="T36" fmla="*/ 818 w 1080"/>
                <a:gd name="T37" fmla="*/ 78 h 651"/>
                <a:gd name="T38" fmla="*/ 867 w 1080"/>
                <a:gd name="T39" fmla="*/ 15 h 651"/>
                <a:gd name="T40" fmla="*/ 910 w 1080"/>
                <a:gd name="T41" fmla="*/ 29 h 651"/>
                <a:gd name="T42" fmla="*/ 969 w 1080"/>
                <a:gd name="T43" fmla="*/ 85 h 651"/>
                <a:gd name="T44" fmla="*/ 1080 w 1080"/>
                <a:gd name="T45" fmla="*/ 89 h 651"/>
                <a:gd name="T46" fmla="*/ 1071 w 1080"/>
                <a:gd name="T47" fmla="*/ 211 h 651"/>
                <a:gd name="T48" fmla="*/ 986 w 1080"/>
                <a:gd name="T49" fmla="*/ 412 h 651"/>
                <a:gd name="T50" fmla="*/ 987 w 1080"/>
                <a:gd name="T51" fmla="*/ 412 h 6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80" h="651">
                  <a:moveTo>
                    <a:pt x="987" y="412"/>
                  </a:moveTo>
                  <a:cubicBezTo>
                    <a:pt x="974" y="420"/>
                    <a:pt x="962" y="435"/>
                    <a:pt x="949" y="439"/>
                  </a:cubicBezTo>
                  <a:cubicBezTo>
                    <a:pt x="927" y="435"/>
                    <a:pt x="906" y="424"/>
                    <a:pt x="883" y="426"/>
                  </a:cubicBezTo>
                  <a:cubicBezTo>
                    <a:pt x="862" y="437"/>
                    <a:pt x="877" y="449"/>
                    <a:pt x="882" y="457"/>
                  </a:cubicBezTo>
                  <a:cubicBezTo>
                    <a:pt x="858" y="465"/>
                    <a:pt x="836" y="479"/>
                    <a:pt x="810" y="475"/>
                  </a:cubicBezTo>
                  <a:cubicBezTo>
                    <a:pt x="774" y="475"/>
                    <a:pt x="739" y="475"/>
                    <a:pt x="704" y="475"/>
                  </a:cubicBezTo>
                  <a:cubicBezTo>
                    <a:pt x="677" y="496"/>
                    <a:pt x="650" y="517"/>
                    <a:pt x="623" y="538"/>
                  </a:cubicBezTo>
                  <a:cubicBezTo>
                    <a:pt x="621" y="576"/>
                    <a:pt x="619" y="613"/>
                    <a:pt x="618" y="651"/>
                  </a:cubicBezTo>
                  <a:cubicBezTo>
                    <a:pt x="501" y="630"/>
                    <a:pt x="384" y="610"/>
                    <a:pt x="266" y="589"/>
                  </a:cubicBezTo>
                  <a:cubicBezTo>
                    <a:pt x="293" y="533"/>
                    <a:pt x="320" y="477"/>
                    <a:pt x="347" y="421"/>
                  </a:cubicBezTo>
                  <a:cubicBezTo>
                    <a:pt x="238" y="407"/>
                    <a:pt x="129" y="394"/>
                    <a:pt x="21" y="380"/>
                  </a:cubicBezTo>
                  <a:cubicBezTo>
                    <a:pt x="0" y="370"/>
                    <a:pt x="10" y="359"/>
                    <a:pt x="19" y="344"/>
                  </a:cubicBezTo>
                  <a:cubicBezTo>
                    <a:pt x="31" y="324"/>
                    <a:pt x="39" y="302"/>
                    <a:pt x="53" y="284"/>
                  </a:cubicBezTo>
                  <a:cubicBezTo>
                    <a:pt x="91" y="263"/>
                    <a:pt x="133" y="246"/>
                    <a:pt x="166" y="217"/>
                  </a:cubicBezTo>
                  <a:cubicBezTo>
                    <a:pt x="213" y="182"/>
                    <a:pt x="259" y="147"/>
                    <a:pt x="305" y="112"/>
                  </a:cubicBezTo>
                  <a:cubicBezTo>
                    <a:pt x="312" y="74"/>
                    <a:pt x="319" y="37"/>
                    <a:pt x="326" y="0"/>
                  </a:cubicBezTo>
                  <a:cubicBezTo>
                    <a:pt x="366" y="5"/>
                    <a:pt x="407" y="15"/>
                    <a:pt x="447" y="22"/>
                  </a:cubicBezTo>
                  <a:cubicBezTo>
                    <a:pt x="519" y="37"/>
                    <a:pt x="591" y="49"/>
                    <a:pt x="664" y="58"/>
                  </a:cubicBezTo>
                  <a:cubicBezTo>
                    <a:pt x="715" y="64"/>
                    <a:pt x="767" y="71"/>
                    <a:pt x="818" y="78"/>
                  </a:cubicBezTo>
                  <a:cubicBezTo>
                    <a:pt x="834" y="57"/>
                    <a:pt x="851" y="36"/>
                    <a:pt x="867" y="15"/>
                  </a:cubicBezTo>
                  <a:cubicBezTo>
                    <a:pt x="883" y="16"/>
                    <a:pt x="901" y="13"/>
                    <a:pt x="910" y="29"/>
                  </a:cubicBezTo>
                  <a:cubicBezTo>
                    <a:pt x="930" y="48"/>
                    <a:pt x="949" y="67"/>
                    <a:pt x="969" y="85"/>
                  </a:cubicBezTo>
                  <a:cubicBezTo>
                    <a:pt x="1006" y="86"/>
                    <a:pt x="1043" y="88"/>
                    <a:pt x="1080" y="89"/>
                  </a:cubicBezTo>
                  <a:cubicBezTo>
                    <a:pt x="1076" y="129"/>
                    <a:pt x="1077" y="171"/>
                    <a:pt x="1071" y="211"/>
                  </a:cubicBezTo>
                  <a:cubicBezTo>
                    <a:pt x="1044" y="279"/>
                    <a:pt x="1019" y="347"/>
                    <a:pt x="986" y="412"/>
                  </a:cubicBezTo>
                  <a:lnTo>
                    <a:pt x="987" y="412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1" name="Freeform 111"/>
            <p:cNvSpPr>
              <a:spLocks/>
            </p:cNvSpPr>
            <p:nvPr/>
          </p:nvSpPr>
          <p:spPr bwMode="auto">
            <a:xfrm>
              <a:off x="2881102" y="2068532"/>
              <a:ext cx="267129" cy="237747"/>
            </a:xfrm>
            <a:custGeom>
              <a:avLst/>
              <a:gdLst>
                <a:gd name="T0" fmla="*/ 576 w 730"/>
                <a:gd name="T1" fmla="*/ 563 h 730"/>
                <a:gd name="T2" fmla="*/ 498 w 730"/>
                <a:gd name="T3" fmla="*/ 603 h 730"/>
                <a:gd name="T4" fmla="*/ 440 w 730"/>
                <a:gd name="T5" fmla="*/ 620 h 730"/>
                <a:gd name="T6" fmla="*/ 397 w 730"/>
                <a:gd name="T7" fmla="*/ 663 h 730"/>
                <a:gd name="T8" fmla="*/ 367 w 730"/>
                <a:gd name="T9" fmla="*/ 713 h 730"/>
                <a:gd name="T10" fmla="*/ 342 w 730"/>
                <a:gd name="T11" fmla="*/ 709 h 730"/>
                <a:gd name="T12" fmla="*/ 330 w 730"/>
                <a:gd name="T13" fmla="*/ 660 h 730"/>
                <a:gd name="T14" fmla="*/ 274 w 730"/>
                <a:gd name="T15" fmla="*/ 597 h 730"/>
                <a:gd name="T16" fmla="*/ 250 w 730"/>
                <a:gd name="T17" fmla="*/ 508 h 730"/>
                <a:gd name="T18" fmla="*/ 217 w 730"/>
                <a:gd name="T19" fmla="*/ 485 h 730"/>
                <a:gd name="T20" fmla="*/ 172 w 730"/>
                <a:gd name="T21" fmla="*/ 446 h 730"/>
                <a:gd name="T22" fmla="*/ 44 w 730"/>
                <a:gd name="T23" fmla="*/ 327 h 730"/>
                <a:gd name="T24" fmla="*/ 30 w 730"/>
                <a:gd name="T25" fmla="*/ 254 h 730"/>
                <a:gd name="T26" fmla="*/ 31 w 730"/>
                <a:gd name="T27" fmla="*/ 217 h 730"/>
                <a:gd name="T28" fmla="*/ 48 w 730"/>
                <a:gd name="T29" fmla="*/ 186 h 730"/>
                <a:gd name="T30" fmla="*/ 40 w 730"/>
                <a:gd name="T31" fmla="*/ 154 h 730"/>
                <a:gd name="T32" fmla="*/ 12 w 730"/>
                <a:gd name="T33" fmla="*/ 127 h 730"/>
                <a:gd name="T34" fmla="*/ 2 w 730"/>
                <a:gd name="T35" fmla="*/ 90 h 730"/>
                <a:gd name="T36" fmla="*/ 107 w 730"/>
                <a:gd name="T37" fmla="*/ 0 h 730"/>
                <a:gd name="T38" fmla="*/ 134 w 730"/>
                <a:gd name="T39" fmla="*/ 18 h 730"/>
                <a:gd name="T40" fmla="*/ 446 w 730"/>
                <a:gd name="T41" fmla="*/ 57 h 730"/>
                <a:gd name="T42" fmla="*/ 365 w 730"/>
                <a:gd name="T43" fmla="*/ 225 h 730"/>
                <a:gd name="T44" fmla="*/ 717 w 730"/>
                <a:gd name="T45" fmla="*/ 287 h 730"/>
                <a:gd name="T46" fmla="*/ 728 w 730"/>
                <a:gd name="T47" fmla="*/ 368 h 730"/>
                <a:gd name="T48" fmla="*/ 704 w 730"/>
                <a:gd name="T49" fmla="*/ 419 h 730"/>
                <a:gd name="T50" fmla="*/ 626 w 730"/>
                <a:gd name="T51" fmla="*/ 457 h 730"/>
                <a:gd name="T52" fmla="*/ 573 w 730"/>
                <a:gd name="T53" fmla="*/ 531 h 730"/>
                <a:gd name="T54" fmla="*/ 576 w 730"/>
                <a:gd name="T55" fmla="*/ 561 h 730"/>
                <a:gd name="T56" fmla="*/ 576 w 730"/>
                <a:gd name="T57" fmla="*/ 563 h 73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730" h="730">
                  <a:moveTo>
                    <a:pt x="576" y="563"/>
                  </a:moveTo>
                  <a:cubicBezTo>
                    <a:pt x="552" y="580"/>
                    <a:pt x="527" y="596"/>
                    <a:pt x="498" y="603"/>
                  </a:cubicBezTo>
                  <a:cubicBezTo>
                    <a:pt x="477" y="605"/>
                    <a:pt x="458" y="610"/>
                    <a:pt x="440" y="620"/>
                  </a:cubicBezTo>
                  <a:cubicBezTo>
                    <a:pt x="422" y="629"/>
                    <a:pt x="412" y="649"/>
                    <a:pt x="397" y="663"/>
                  </a:cubicBezTo>
                  <a:cubicBezTo>
                    <a:pt x="390" y="681"/>
                    <a:pt x="383" y="700"/>
                    <a:pt x="367" y="713"/>
                  </a:cubicBezTo>
                  <a:cubicBezTo>
                    <a:pt x="358" y="730"/>
                    <a:pt x="350" y="723"/>
                    <a:pt x="342" y="709"/>
                  </a:cubicBezTo>
                  <a:cubicBezTo>
                    <a:pt x="329" y="696"/>
                    <a:pt x="347" y="671"/>
                    <a:pt x="330" y="660"/>
                  </a:cubicBezTo>
                  <a:cubicBezTo>
                    <a:pt x="312" y="639"/>
                    <a:pt x="291" y="619"/>
                    <a:pt x="274" y="597"/>
                  </a:cubicBezTo>
                  <a:cubicBezTo>
                    <a:pt x="265" y="568"/>
                    <a:pt x="259" y="537"/>
                    <a:pt x="250" y="508"/>
                  </a:cubicBezTo>
                  <a:cubicBezTo>
                    <a:pt x="243" y="495"/>
                    <a:pt x="231" y="490"/>
                    <a:pt x="217" y="485"/>
                  </a:cubicBezTo>
                  <a:cubicBezTo>
                    <a:pt x="199" y="477"/>
                    <a:pt x="188" y="458"/>
                    <a:pt x="172" y="446"/>
                  </a:cubicBezTo>
                  <a:cubicBezTo>
                    <a:pt x="132" y="404"/>
                    <a:pt x="88" y="366"/>
                    <a:pt x="44" y="327"/>
                  </a:cubicBezTo>
                  <a:cubicBezTo>
                    <a:pt x="30" y="306"/>
                    <a:pt x="34" y="279"/>
                    <a:pt x="30" y="254"/>
                  </a:cubicBezTo>
                  <a:cubicBezTo>
                    <a:pt x="31" y="242"/>
                    <a:pt x="21" y="226"/>
                    <a:pt x="31" y="217"/>
                  </a:cubicBezTo>
                  <a:cubicBezTo>
                    <a:pt x="39" y="208"/>
                    <a:pt x="57" y="201"/>
                    <a:pt x="48" y="186"/>
                  </a:cubicBezTo>
                  <a:cubicBezTo>
                    <a:pt x="43" y="175"/>
                    <a:pt x="47" y="157"/>
                    <a:pt x="40" y="154"/>
                  </a:cubicBezTo>
                  <a:cubicBezTo>
                    <a:pt x="30" y="146"/>
                    <a:pt x="13" y="143"/>
                    <a:pt x="12" y="127"/>
                  </a:cubicBezTo>
                  <a:cubicBezTo>
                    <a:pt x="9" y="115"/>
                    <a:pt x="0" y="101"/>
                    <a:pt x="2" y="90"/>
                  </a:cubicBezTo>
                  <a:cubicBezTo>
                    <a:pt x="36" y="59"/>
                    <a:pt x="68" y="26"/>
                    <a:pt x="107" y="0"/>
                  </a:cubicBezTo>
                  <a:cubicBezTo>
                    <a:pt x="104" y="9"/>
                    <a:pt x="123" y="20"/>
                    <a:pt x="134" y="18"/>
                  </a:cubicBezTo>
                  <a:cubicBezTo>
                    <a:pt x="238" y="31"/>
                    <a:pt x="342" y="44"/>
                    <a:pt x="446" y="57"/>
                  </a:cubicBezTo>
                  <a:cubicBezTo>
                    <a:pt x="419" y="113"/>
                    <a:pt x="392" y="169"/>
                    <a:pt x="365" y="225"/>
                  </a:cubicBezTo>
                  <a:cubicBezTo>
                    <a:pt x="483" y="246"/>
                    <a:pt x="600" y="266"/>
                    <a:pt x="717" y="287"/>
                  </a:cubicBezTo>
                  <a:cubicBezTo>
                    <a:pt x="721" y="314"/>
                    <a:pt x="730" y="341"/>
                    <a:pt x="728" y="368"/>
                  </a:cubicBezTo>
                  <a:cubicBezTo>
                    <a:pt x="722" y="386"/>
                    <a:pt x="716" y="405"/>
                    <a:pt x="704" y="419"/>
                  </a:cubicBezTo>
                  <a:cubicBezTo>
                    <a:pt x="678" y="432"/>
                    <a:pt x="650" y="443"/>
                    <a:pt x="626" y="457"/>
                  </a:cubicBezTo>
                  <a:cubicBezTo>
                    <a:pt x="610" y="483"/>
                    <a:pt x="597" y="511"/>
                    <a:pt x="573" y="531"/>
                  </a:cubicBezTo>
                  <a:cubicBezTo>
                    <a:pt x="554" y="543"/>
                    <a:pt x="580" y="545"/>
                    <a:pt x="576" y="561"/>
                  </a:cubicBezTo>
                  <a:cubicBezTo>
                    <a:pt x="576" y="563"/>
                    <a:pt x="576" y="563"/>
                    <a:pt x="576" y="563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2" name="Freeform 112"/>
            <p:cNvSpPr>
              <a:spLocks/>
            </p:cNvSpPr>
            <p:nvPr/>
          </p:nvSpPr>
          <p:spPr bwMode="auto">
            <a:xfrm>
              <a:off x="3251565" y="1959935"/>
              <a:ext cx="272626" cy="324823"/>
            </a:xfrm>
            <a:custGeom>
              <a:avLst/>
              <a:gdLst>
                <a:gd name="T0" fmla="*/ 156 w 746"/>
                <a:gd name="T1" fmla="*/ 994 h 994"/>
                <a:gd name="T2" fmla="*/ 138 w 746"/>
                <a:gd name="T3" fmla="*/ 964 h 994"/>
                <a:gd name="T4" fmla="*/ 36 w 746"/>
                <a:gd name="T5" fmla="*/ 875 h 994"/>
                <a:gd name="T6" fmla="*/ 8 w 746"/>
                <a:gd name="T7" fmla="*/ 848 h 994"/>
                <a:gd name="T8" fmla="*/ 16 w 746"/>
                <a:gd name="T9" fmla="*/ 761 h 994"/>
                <a:gd name="T10" fmla="*/ 98 w 746"/>
                <a:gd name="T11" fmla="*/ 597 h 994"/>
                <a:gd name="T12" fmla="*/ 39 w 746"/>
                <a:gd name="T13" fmla="*/ 444 h 994"/>
                <a:gd name="T14" fmla="*/ 4 w 746"/>
                <a:gd name="T15" fmla="*/ 397 h 994"/>
                <a:gd name="T16" fmla="*/ 50 w 746"/>
                <a:gd name="T17" fmla="*/ 399 h 994"/>
                <a:gd name="T18" fmla="*/ 85 w 746"/>
                <a:gd name="T19" fmla="*/ 358 h 994"/>
                <a:gd name="T20" fmla="*/ 162 w 746"/>
                <a:gd name="T21" fmla="*/ 173 h 994"/>
                <a:gd name="T22" fmla="*/ 169 w 746"/>
                <a:gd name="T23" fmla="*/ 56 h 994"/>
                <a:gd name="T24" fmla="*/ 251 w 746"/>
                <a:gd name="T25" fmla="*/ 59 h 994"/>
                <a:gd name="T26" fmla="*/ 279 w 746"/>
                <a:gd name="T27" fmla="*/ 0 h 994"/>
                <a:gd name="T28" fmla="*/ 347 w 746"/>
                <a:gd name="T29" fmla="*/ 57 h 994"/>
                <a:gd name="T30" fmla="*/ 377 w 746"/>
                <a:gd name="T31" fmla="*/ 86 h 994"/>
                <a:gd name="T32" fmla="*/ 459 w 746"/>
                <a:gd name="T33" fmla="*/ 115 h 994"/>
                <a:gd name="T34" fmla="*/ 560 w 746"/>
                <a:gd name="T35" fmla="*/ 172 h 994"/>
                <a:gd name="T36" fmla="*/ 664 w 746"/>
                <a:gd name="T37" fmla="*/ 251 h 994"/>
                <a:gd name="T38" fmla="*/ 746 w 746"/>
                <a:gd name="T39" fmla="*/ 324 h 994"/>
                <a:gd name="T40" fmla="*/ 156 w 746"/>
                <a:gd name="T41" fmla="*/ 994 h 99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746" h="994">
                  <a:moveTo>
                    <a:pt x="156" y="994"/>
                  </a:moveTo>
                  <a:cubicBezTo>
                    <a:pt x="135" y="985"/>
                    <a:pt x="141" y="975"/>
                    <a:pt x="138" y="964"/>
                  </a:cubicBezTo>
                  <a:cubicBezTo>
                    <a:pt x="104" y="935"/>
                    <a:pt x="71" y="903"/>
                    <a:pt x="36" y="875"/>
                  </a:cubicBezTo>
                  <a:cubicBezTo>
                    <a:pt x="23" y="868"/>
                    <a:pt x="0" y="869"/>
                    <a:pt x="8" y="848"/>
                  </a:cubicBezTo>
                  <a:cubicBezTo>
                    <a:pt x="11" y="819"/>
                    <a:pt x="10" y="789"/>
                    <a:pt x="16" y="761"/>
                  </a:cubicBezTo>
                  <a:cubicBezTo>
                    <a:pt x="44" y="706"/>
                    <a:pt x="71" y="651"/>
                    <a:pt x="98" y="597"/>
                  </a:cubicBezTo>
                  <a:cubicBezTo>
                    <a:pt x="78" y="546"/>
                    <a:pt x="60" y="494"/>
                    <a:pt x="39" y="444"/>
                  </a:cubicBezTo>
                  <a:cubicBezTo>
                    <a:pt x="27" y="428"/>
                    <a:pt x="15" y="413"/>
                    <a:pt x="4" y="397"/>
                  </a:cubicBezTo>
                  <a:cubicBezTo>
                    <a:pt x="19" y="398"/>
                    <a:pt x="38" y="415"/>
                    <a:pt x="50" y="399"/>
                  </a:cubicBezTo>
                  <a:cubicBezTo>
                    <a:pt x="65" y="388"/>
                    <a:pt x="80" y="377"/>
                    <a:pt x="85" y="358"/>
                  </a:cubicBezTo>
                  <a:cubicBezTo>
                    <a:pt x="115" y="298"/>
                    <a:pt x="136" y="235"/>
                    <a:pt x="162" y="173"/>
                  </a:cubicBezTo>
                  <a:cubicBezTo>
                    <a:pt x="164" y="134"/>
                    <a:pt x="166" y="95"/>
                    <a:pt x="169" y="56"/>
                  </a:cubicBezTo>
                  <a:cubicBezTo>
                    <a:pt x="196" y="57"/>
                    <a:pt x="224" y="58"/>
                    <a:pt x="251" y="59"/>
                  </a:cubicBezTo>
                  <a:cubicBezTo>
                    <a:pt x="261" y="39"/>
                    <a:pt x="270" y="19"/>
                    <a:pt x="279" y="0"/>
                  </a:cubicBezTo>
                  <a:cubicBezTo>
                    <a:pt x="301" y="19"/>
                    <a:pt x="327" y="35"/>
                    <a:pt x="347" y="57"/>
                  </a:cubicBezTo>
                  <a:cubicBezTo>
                    <a:pt x="354" y="71"/>
                    <a:pt x="359" y="88"/>
                    <a:pt x="377" y="86"/>
                  </a:cubicBezTo>
                  <a:cubicBezTo>
                    <a:pt x="406" y="91"/>
                    <a:pt x="433" y="101"/>
                    <a:pt x="459" y="115"/>
                  </a:cubicBezTo>
                  <a:cubicBezTo>
                    <a:pt x="494" y="131"/>
                    <a:pt x="529" y="148"/>
                    <a:pt x="560" y="172"/>
                  </a:cubicBezTo>
                  <a:cubicBezTo>
                    <a:pt x="597" y="196"/>
                    <a:pt x="633" y="221"/>
                    <a:pt x="664" y="251"/>
                  </a:cubicBezTo>
                  <a:cubicBezTo>
                    <a:pt x="691" y="276"/>
                    <a:pt x="719" y="300"/>
                    <a:pt x="746" y="324"/>
                  </a:cubicBezTo>
                  <a:cubicBezTo>
                    <a:pt x="550" y="548"/>
                    <a:pt x="353" y="771"/>
                    <a:pt x="156" y="994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3" name="Freeform 113"/>
            <p:cNvSpPr>
              <a:spLocks/>
            </p:cNvSpPr>
            <p:nvPr/>
          </p:nvSpPr>
          <p:spPr bwMode="auto">
            <a:xfrm>
              <a:off x="3050394" y="2088101"/>
              <a:ext cx="261631" cy="321889"/>
            </a:xfrm>
            <a:custGeom>
              <a:avLst/>
              <a:gdLst>
                <a:gd name="T0" fmla="*/ 52 w 713"/>
                <a:gd name="T1" fmla="*/ 620 h 989"/>
                <a:gd name="T2" fmla="*/ 17 w 713"/>
                <a:gd name="T3" fmla="*/ 590 h 989"/>
                <a:gd name="T4" fmla="*/ 2 w 713"/>
                <a:gd name="T5" fmla="*/ 548 h 989"/>
                <a:gd name="T6" fmla="*/ 86 w 713"/>
                <a:gd name="T7" fmla="*/ 521 h 989"/>
                <a:gd name="T8" fmla="*/ 112 w 713"/>
                <a:gd name="T9" fmla="*/ 490 h 989"/>
                <a:gd name="T10" fmla="*/ 122 w 713"/>
                <a:gd name="T11" fmla="*/ 460 h 989"/>
                <a:gd name="T12" fmla="*/ 166 w 713"/>
                <a:gd name="T13" fmla="*/ 394 h 989"/>
                <a:gd name="T14" fmla="*/ 244 w 713"/>
                <a:gd name="T15" fmla="*/ 356 h 989"/>
                <a:gd name="T16" fmla="*/ 264 w 713"/>
                <a:gd name="T17" fmla="*/ 282 h 989"/>
                <a:gd name="T18" fmla="*/ 255 w 713"/>
                <a:gd name="T19" fmla="*/ 197 h 989"/>
                <a:gd name="T20" fmla="*/ 259 w 713"/>
                <a:gd name="T21" fmla="*/ 114 h 989"/>
                <a:gd name="T22" fmla="*/ 340 w 713"/>
                <a:gd name="T23" fmla="*/ 51 h 989"/>
                <a:gd name="T24" fmla="*/ 474 w 713"/>
                <a:gd name="T25" fmla="*/ 50 h 989"/>
                <a:gd name="T26" fmla="*/ 521 w 713"/>
                <a:gd name="T27" fmla="*/ 32 h 989"/>
                <a:gd name="T28" fmla="*/ 521 w 713"/>
                <a:gd name="T29" fmla="*/ 2 h 989"/>
                <a:gd name="T30" fmla="*/ 561 w 713"/>
                <a:gd name="T31" fmla="*/ 20 h 989"/>
                <a:gd name="T32" fmla="*/ 598 w 713"/>
                <a:gd name="T33" fmla="*/ 83 h 989"/>
                <a:gd name="T34" fmla="*/ 645 w 713"/>
                <a:gd name="T35" fmla="*/ 206 h 989"/>
                <a:gd name="T36" fmla="*/ 561 w 713"/>
                <a:gd name="T37" fmla="*/ 377 h 989"/>
                <a:gd name="T38" fmla="*/ 554 w 713"/>
                <a:gd name="T39" fmla="*/ 473 h 989"/>
                <a:gd name="T40" fmla="*/ 606 w 713"/>
                <a:gd name="T41" fmla="*/ 503 h 989"/>
                <a:gd name="T42" fmla="*/ 691 w 713"/>
                <a:gd name="T43" fmla="*/ 578 h 989"/>
                <a:gd name="T44" fmla="*/ 698 w 713"/>
                <a:gd name="T45" fmla="*/ 608 h 989"/>
                <a:gd name="T46" fmla="*/ 594 w 713"/>
                <a:gd name="T47" fmla="*/ 741 h 989"/>
                <a:gd name="T48" fmla="*/ 517 w 713"/>
                <a:gd name="T49" fmla="*/ 867 h 989"/>
                <a:gd name="T50" fmla="*/ 503 w 713"/>
                <a:gd name="T51" fmla="*/ 989 h 989"/>
                <a:gd name="T52" fmla="*/ 338 w 713"/>
                <a:gd name="T53" fmla="*/ 799 h 989"/>
                <a:gd name="T54" fmla="*/ 213 w 713"/>
                <a:gd name="T55" fmla="*/ 785 h 989"/>
                <a:gd name="T56" fmla="*/ 177 w 713"/>
                <a:gd name="T57" fmla="*/ 770 h 989"/>
                <a:gd name="T58" fmla="*/ 60 w 713"/>
                <a:gd name="T59" fmla="*/ 659 h 989"/>
                <a:gd name="T60" fmla="*/ 52 w 713"/>
                <a:gd name="T61" fmla="*/ 620 h 9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713" h="989">
                  <a:moveTo>
                    <a:pt x="52" y="620"/>
                  </a:moveTo>
                  <a:cubicBezTo>
                    <a:pt x="42" y="608"/>
                    <a:pt x="31" y="597"/>
                    <a:pt x="17" y="590"/>
                  </a:cubicBezTo>
                  <a:cubicBezTo>
                    <a:pt x="13" y="577"/>
                    <a:pt x="0" y="560"/>
                    <a:pt x="2" y="548"/>
                  </a:cubicBezTo>
                  <a:cubicBezTo>
                    <a:pt x="31" y="545"/>
                    <a:pt x="61" y="537"/>
                    <a:pt x="86" y="521"/>
                  </a:cubicBezTo>
                  <a:cubicBezTo>
                    <a:pt x="96" y="511"/>
                    <a:pt x="119" y="508"/>
                    <a:pt x="112" y="490"/>
                  </a:cubicBezTo>
                  <a:cubicBezTo>
                    <a:pt x="91" y="481"/>
                    <a:pt x="113" y="471"/>
                    <a:pt x="122" y="460"/>
                  </a:cubicBezTo>
                  <a:cubicBezTo>
                    <a:pt x="141" y="442"/>
                    <a:pt x="149" y="414"/>
                    <a:pt x="166" y="394"/>
                  </a:cubicBezTo>
                  <a:cubicBezTo>
                    <a:pt x="192" y="381"/>
                    <a:pt x="221" y="371"/>
                    <a:pt x="244" y="356"/>
                  </a:cubicBezTo>
                  <a:cubicBezTo>
                    <a:pt x="257" y="334"/>
                    <a:pt x="270" y="308"/>
                    <a:pt x="264" y="282"/>
                  </a:cubicBezTo>
                  <a:cubicBezTo>
                    <a:pt x="261" y="253"/>
                    <a:pt x="250" y="226"/>
                    <a:pt x="255" y="197"/>
                  </a:cubicBezTo>
                  <a:cubicBezTo>
                    <a:pt x="256" y="169"/>
                    <a:pt x="258" y="142"/>
                    <a:pt x="259" y="114"/>
                  </a:cubicBezTo>
                  <a:cubicBezTo>
                    <a:pt x="286" y="93"/>
                    <a:pt x="313" y="72"/>
                    <a:pt x="340" y="51"/>
                  </a:cubicBezTo>
                  <a:cubicBezTo>
                    <a:pt x="384" y="51"/>
                    <a:pt x="429" y="52"/>
                    <a:pt x="474" y="50"/>
                  </a:cubicBezTo>
                  <a:cubicBezTo>
                    <a:pt x="489" y="44"/>
                    <a:pt x="505" y="38"/>
                    <a:pt x="521" y="32"/>
                  </a:cubicBezTo>
                  <a:cubicBezTo>
                    <a:pt x="503" y="24"/>
                    <a:pt x="505" y="9"/>
                    <a:pt x="521" y="2"/>
                  </a:cubicBezTo>
                  <a:cubicBezTo>
                    <a:pt x="537" y="0"/>
                    <a:pt x="554" y="4"/>
                    <a:pt x="561" y="20"/>
                  </a:cubicBezTo>
                  <a:cubicBezTo>
                    <a:pt x="577" y="39"/>
                    <a:pt x="592" y="58"/>
                    <a:pt x="598" y="83"/>
                  </a:cubicBezTo>
                  <a:cubicBezTo>
                    <a:pt x="614" y="124"/>
                    <a:pt x="630" y="165"/>
                    <a:pt x="645" y="206"/>
                  </a:cubicBezTo>
                  <a:cubicBezTo>
                    <a:pt x="617" y="263"/>
                    <a:pt x="587" y="319"/>
                    <a:pt x="561" y="377"/>
                  </a:cubicBezTo>
                  <a:cubicBezTo>
                    <a:pt x="559" y="409"/>
                    <a:pt x="556" y="441"/>
                    <a:pt x="554" y="473"/>
                  </a:cubicBezTo>
                  <a:cubicBezTo>
                    <a:pt x="574" y="479"/>
                    <a:pt x="592" y="487"/>
                    <a:pt x="606" y="503"/>
                  </a:cubicBezTo>
                  <a:cubicBezTo>
                    <a:pt x="635" y="528"/>
                    <a:pt x="663" y="553"/>
                    <a:pt x="691" y="578"/>
                  </a:cubicBezTo>
                  <a:cubicBezTo>
                    <a:pt x="666" y="590"/>
                    <a:pt x="713" y="596"/>
                    <a:pt x="698" y="608"/>
                  </a:cubicBezTo>
                  <a:cubicBezTo>
                    <a:pt x="662" y="652"/>
                    <a:pt x="621" y="691"/>
                    <a:pt x="594" y="741"/>
                  </a:cubicBezTo>
                  <a:cubicBezTo>
                    <a:pt x="568" y="783"/>
                    <a:pt x="540" y="824"/>
                    <a:pt x="517" y="867"/>
                  </a:cubicBezTo>
                  <a:cubicBezTo>
                    <a:pt x="512" y="908"/>
                    <a:pt x="508" y="948"/>
                    <a:pt x="503" y="989"/>
                  </a:cubicBezTo>
                  <a:cubicBezTo>
                    <a:pt x="448" y="926"/>
                    <a:pt x="393" y="863"/>
                    <a:pt x="338" y="799"/>
                  </a:cubicBezTo>
                  <a:cubicBezTo>
                    <a:pt x="296" y="795"/>
                    <a:pt x="255" y="785"/>
                    <a:pt x="213" y="785"/>
                  </a:cubicBezTo>
                  <a:cubicBezTo>
                    <a:pt x="199" y="801"/>
                    <a:pt x="189" y="778"/>
                    <a:pt x="177" y="770"/>
                  </a:cubicBezTo>
                  <a:cubicBezTo>
                    <a:pt x="138" y="733"/>
                    <a:pt x="99" y="696"/>
                    <a:pt x="60" y="659"/>
                  </a:cubicBezTo>
                  <a:cubicBezTo>
                    <a:pt x="58" y="646"/>
                    <a:pt x="55" y="633"/>
                    <a:pt x="52" y="620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284" name="Freeform 114"/>
            <p:cNvSpPr>
              <a:spLocks/>
            </p:cNvSpPr>
            <p:nvPr/>
          </p:nvSpPr>
          <p:spPr bwMode="auto">
            <a:xfrm>
              <a:off x="2948160" y="2267146"/>
              <a:ext cx="286915" cy="183936"/>
            </a:xfrm>
            <a:custGeom>
              <a:avLst/>
              <a:gdLst>
                <a:gd name="T0" fmla="*/ 339 w 781"/>
                <a:gd name="T1" fmla="*/ 109 h 563"/>
                <a:gd name="T2" fmla="*/ 320 w 781"/>
                <a:gd name="T3" fmla="*/ 58 h 563"/>
                <a:gd name="T4" fmla="*/ 291 w 781"/>
                <a:gd name="T5" fmla="*/ 29 h 563"/>
                <a:gd name="T6" fmla="*/ 275 w 781"/>
                <a:gd name="T7" fmla="*/ 1 h 563"/>
                <a:gd name="T8" fmla="*/ 235 w 781"/>
                <a:gd name="T9" fmla="*/ 29 h 563"/>
                <a:gd name="T10" fmla="*/ 205 w 781"/>
                <a:gd name="T11" fmla="*/ 71 h 563"/>
                <a:gd name="T12" fmla="*/ 169 w 781"/>
                <a:gd name="T13" fmla="*/ 118 h 563"/>
                <a:gd name="T14" fmla="*/ 142 w 781"/>
                <a:gd name="T15" fmla="*/ 149 h 563"/>
                <a:gd name="T16" fmla="*/ 127 w 781"/>
                <a:gd name="T17" fmla="*/ 234 h 563"/>
                <a:gd name="T18" fmla="*/ 1 w 781"/>
                <a:gd name="T19" fmla="*/ 246 h 563"/>
                <a:gd name="T20" fmla="*/ 2 w 781"/>
                <a:gd name="T21" fmla="*/ 275 h 563"/>
                <a:gd name="T22" fmla="*/ 23 w 781"/>
                <a:gd name="T23" fmla="*/ 563 h 563"/>
                <a:gd name="T24" fmla="*/ 266 w 781"/>
                <a:gd name="T25" fmla="*/ 554 h 563"/>
                <a:gd name="T26" fmla="*/ 581 w 781"/>
                <a:gd name="T27" fmla="*/ 517 h 563"/>
                <a:gd name="T28" fmla="*/ 772 w 781"/>
                <a:gd name="T29" fmla="*/ 548 h 563"/>
                <a:gd name="T30" fmla="*/ 781 w 781"/>
                <a:gd name="T31" fmla="*/ 437 h 563"/>
                <a:gd name="T32" fmla="*/ 617 w 781"/>
                <a:gd name="T33" fmla="*/ 249 h 563"/>
                <a:gd name="T34" fmla="*/ 498 w 781"/>
                <a:gd name="T35" fmla="*/ 235 h 563"/>
                <a:gd name="T36" fmla="*/ 468 w 781"/>
                <a:gd name="T37" fmla="*/ 231 h 563"/>
                <a:gd name="T38" fmla="*/ 339 w 781"/>
                <a:gd name="T39" fmla="*/ 109 h 5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</a:cxnLst>
              <a:rect l="0" t="0" r="r" b="b"/>
              <a:pathLst>
                <a:path w="781" h="563">
                  <a:moveTo>
                    <a:pt x="339" y="109"/>
                  </a:moveTo>
                  <a:cubicBezTo>
                    <a:pt x="334" y="91"/>
                    <a:pt x="336" y="70"/>
                    <a:pt x="320" y="58"/>
                  </a:cubicBezTo>
                  <a:cubicBezTo>
                    <a:pt x="312" y="46"/>
                    <a:pt x="293" y="45"/>
                    <a:pt x="291" y="29"/>
                  </a:cubicBezTo>
                  <a:cubicBezTo>
                    <a:pt x="285" y="22"/>
                    <a:pt x="285" y="0"/>
                    <a:pt x="275" y="1"/>
                  </a:cubicBezTo>
                  <a:cubicBezTo>
                    <a:pt x="260" y="8"/>
                    <a:pt x="244" y="14"/>
                    <a:pt x="235" y="29"/>
                  </a:cubicBezTo>
                  <a:cubicBezTo>
                    <a:pt x="223" y="42"/>
                    <a:pt x="210" y="54"/>
                    <a:pt x="205" y="71"/>
                  </a:cubicBezTo>
                  <a:cubicBezTo>
                    <a:pt x="200" y="91"/>
                    <a:pt x="181" y="103"/>
                    <a:pt x="169" y="118"/>
                  </a:cubicBezTo>
                  <a:cubicBezTo>
                    <a:pt x="160" y="128"/>
                    <a:pt x="141" y="132"/>
                    <a:pt x="142" y="149"/>
                  </a:cubicBezTo>
                  <a:cubicBezTo>
                    <a:pt x="137" y="177"/>
                    <a:pt x="132" y="205"/>
                    <a:pt x="127" y="234"/>
                  </a:cubicBezTo>
                  <a:cubicBezTo>
                    <a:pt x="85" y="238"/>
                    <a:pt x="43" y="242"/>
                    <a:pt x="1" y="246"/>
                  </a:cubicBezTo>
                  <a:cubicBezTo>
                    <a:pt x="0" y="242"/>
                    <a:pt x="2" y="268"/>
                    <a:pt x="2" y="275"/>
                  </a:cubicBezTo>
                  <a:cubicBezTo>
                    <a:pt x="9" y="371"/>
                    <a:pt x="16" y="467"/>
                    <a:pt x="23" y="563"/>
                  </a:cubicBezTo>
                  <a:cubicBezTo>
                    <a:pt x="104" y="560"/>
                    <a:pt x="185" y="558"/>
                    <a:pt x="266" y="554"/>
                  </a:cubicBezTo>
                  <a:cubicBezTo>
                    <a:pt x="371" y="542"/>
                    <a:pt x="476" y="528"/>
                    <a:pt x="581" y="517"/>
                  </a:cubicBezTo>
                  <a:cubicBezTo>
                    <a:pt x="644" y="527"/>
                    <a:pt x="708" y="537"/>
                    <a:pt x="772" y="548"/>
                  </a:cubicBezTo>
                  <a:cubicBezTo>
                    <a:pt x="775" y="511"/>
                    <a:pt x="778" y="474"/>
                    <a:pt x="781" y="437"/>
                  </a:cubicBezTo>
                  <a:cubicBezTo>
                    <a:pt x="726" y="375"/>
                    <a:pt x="672" y="312"/>
                    <a:pt x="617" y="249"/>
                  </a:cubicBezTo>
                  <a:cubicBezTo>
                    <a:pt x="577" y="245"/>
                    <a:pt x="538" y="236"/>
                    <a:pt x="498" y="235"/>
                  </a:cubicBezTo>
                  <a:cubicBezTo>
                    <a:pt x="486" y="238"/>
                    <a:pt x="477" y="247"/>
                    <a:pt x="468" y="231"/>
                  </a:cubicBezTo>
                  <a:cubicBezTo>
                    <a:pt x="425" y="190"/>
                    <a:pt x="382" y="150"/>
                    <a:pt x="339" y="109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7" name="Freeform 148"/>
            <p:cNvSpPr>
              <a:spLocks/>
            </p:cNvSpPr>
            <p:nvPr/>
          </p:nvSpPr>
          <p:spPr bwMode="auto">
            <a:xfrm>
              <a:off x="2317166" y="1375838"/>
              <a:ext cx="382555" cy="483320"/>
            </a:xfrm>
            <a:custGeom>
              <a:avLst/>
              <a:gdLst>
                <a:gd name="T0" fmla="*/ 265 w 1043"/>
                <a:gd name="T1" fmla="*/ 1481 h 1481"/>
                <a:gd name="T2" fmla="*/ 597 w 1043"/>
                <a:gd name="T3" fmla="*/ 1422 h 1481"/>
                <a:gd name="T4" fmla="*/ 659 w 1043"/>
                <a:gd name="T5" fmla="*/ 1176 h 1481"/>
                <a:gd name="T6" fmla="*/ 691 w 1043"/>
                <a:gd name="T7" fmla="*/ 723 h 1481"/>
                <a:gd name="T8" fmla="*/ 802 w 1043"/>
                <a:gd name="T9" fmla="*/ 723 h 1481"/>
                <a:gd name="T10" fmla="*/ 777 w 1043"/>
                <a:gd name="T11" fmla="*/ 608 h 1481"/>
                <a:gd name="T12" fmla="*/ 841 w 1043"/>
                <a:gd name="T13" fmla="*/ 593 h 1481"/>
                <a:gd name="T14" fmla="*/ 841 w 1043"/>
                <a:gd name="T15" fmla="*/ 458 h 1481"/>
                <a:gd name="T16" fmla="*/ 735 w 1043"/>
                <a:gd name="T17" fmla="*/ 467 h 1481"/>
                <a:gd name="T18" fmla="*/ 720 w 1043"/>
                <a:gd name="T19" fmla="*/ 182 h 1481"/>
                <a:gd name="T20" fmla="*/ 1020 w 1043"/>
                <a:gd name="T21" fmla="*/ 224 h 1481"/>
                <a:gd name="T22" fmla="*/ 1018 w 1043"/>
                <a:gd name="T23" fmla="*/ 99 h 1481"/>
                <a:gd name="T24" fmla="*/ 984 w 1043"/>
                <a:gd name="T25" fmla="*/ 35 h 1481"/>
                <a:gd name="T26" fmla="*/ 915 w 1043"/>
                <a:gd name="T27" fmla="*/ 57 h 1481"/>
                <a:gd name="T28" fmla="*/ 865 w 1043"/>
                <a:gd name="T29" fmla="*/ 15 h 1481"/>
                <a:gd name="T30" fmla="*/ 580 w 1043"/>
                <a:gd name="T31" fmla="*/ 175 h 1481"/>
                <a:gd name="T32" fmla="*/ 487 w 1043"/>
                <a:gd name="T33" fmla="*/ 0 h 1481"/>
                <a:gd name="T34" fmla="*/ 310 w 1043"/>
                <a:gd name="T35" fmla="*/ 106 h 1481"/>
                <a:gd name="T36" fmla="*/ 391 w 1043"/>
                <a:gd name="T37" fmla="*/ 347 h 1481"/>
                <a:gd name="T38" fmla="*/ 0 w 1043"/>
                <a:gd name="T39" fmla="*/ 445 h 1481"/>
                <a:gd name="T40" fmla="*/ 265 w 1043"/>
                <a:gd name="T41" fmla="*/ 1481 h 14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043" h="1481">
                  <a:moveTo>
                    <a:pt x="265" y="1481"/>
                  </a:moveTo>
                  <a:cubicBezTo>
                    <a:pt x="597" y="1422"/>
                    <a:pt x="597" y="1422"/>
                    <a:pt x="597" y="1422"/>
                  </a:cubicBezTo>
                  <a:cubicBezTo>
                    <a:pt x="659" y="1176"/>
                    <a:pt x="659" y="1176"/>
                    <a:pt x="659" y="1176"/>
                  </a:cubicBezTo>
                  <a:cubicBezTo>
                    <a:pt x="691" y="723"/>
                    <a:pt x="691" y="723"/>
                    <a:pt x="691" y="723"/>
                  </a:cubicBezTo>
                  <a:cubicBezTo>
                    <a:pt x="802" y="723"/>
                    <a:pt x="802" y="723"/>
                    <a:pt x="802" y="723"/>
                  </a:cubicBezTo>
                  <a:cubicBezTo>
                    <a:pt x="777" y="608"/>
                    <a:pt x="777" y="608"/>
                    <a:pt x="777" y="608"/>
                  </a:cubicBezTo>
                  <a:cubicBezTo>
                    <a:pt x="841" y="593"/>
                    <a:pt x="841" y="593"/>
                    <a:pt x="841" y="593"/>
                  </a:cubicBezTo>
                  <a:cubicBezTo>
                    <a:pt x="841" y="458"/>
                    <a:pt x="841" y="458"/>
                    <a:pt x="841" y="458"/>
                  </a:cubicBezTo>
                  <a:cubicBezTo>
                    <a:pt x="735" y="467"/>
                    <a:pt x="735" y="467"/>
                    <a:pt x="735" y="467"/>
                  </a:cubicBezTo>
                  <a:cubicBezTo>
                    <a:pt x="720" y="182"/>
                    <a:pt x="720" y="182"/>
                    <a:pt x="720" y="182"/>
                  </a:cubicBezTo>
                  <a:cubicBezTo>
                    <a:pt x="1020" y="224"/>
                    <a:pt x="1020" y="224"/>
                    <a:pt x="1020" y="224"/>
                  </a:cubicBezTo>
                  <a:cubicBezTo>
                    <a:pt x="1020" y="224"/>
                    <a:pt x="1043" y="153"/>
                    <a:pt x="1018" y="99"/>
                  </a:cubicBezTo>
                  <a:cubicBezTo>
                    <a:pt x="993" y="44"/>
                    <a:pt x="984" y="35"/>
                    <a:pt x="984" y="35"/>
                  </a:cubicBezTo>
                  <a:cubicBezTo>
                    <a:pt x="915" y="57"/>
                    <a:pt x="915" y="57"/>
                    <a:pt x="915" y="57"/>
                  </a:cubicBezTo>
                  <a:cubicBezTo>
                    <a:pt x="865" y="15"/>
                    <a:pt x="865" y="15"/>
                    <a:pt x="865" y="15"/>
                  </a:cubicBezTo>
                  <a:cubicBezTo>
                    <a:pt x="580" y="175"/>
                    <a:pt x="580" y="175"/>
                    <a:pt x="580" y="175"/>
                  </a:cubicBezTo>
                  <a:cubicBezTo>
                    <a:pt x="487" y="0"/>
                    <a:pt x="487" y="0"/>
                    <a:pt x="487" y="0"/>
                  </a:cubicBezTo>
                  <a:cubicBezTo>
                    <a:pt x="310" y="106"/>
                    <a:pt x="310" y="106"/>
                    <a:pt x="310" y="106"/>
                  </a:cubicBezTo>
                  <a:cubicBezTo>
                    <a:pt x="391" y="347"/>
                    <a:pt x="391" y="347"/>
                    <a:pt x="391" y="347"/>
                  </a:cubicBezTo>
                  <a:cubicBezTo>
                    <a:pt x="0" y="445"/>
                    <a:pt x="0" y="445"/>
                    <a:pt x="0" y="445"/>
                  </a:cubicBezTo>
                  <a:cubicBezTo>
                    <a:pt x="265" y="1481"/>
                    <a:pt x="265" y="1481"/>
                    <a:pt x="265" y="1481"/>
                  </a:cubicBez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318" name="Freeform 149"/>
            <p:cNvSpPr>
              <a:spLocks/>
            </p:cNvSpPr>
            <p:nvPr/>
          </p:nvSpPr>
          <p:spPr bwMode="auto">
            <a:xfrm>
              <a:off x="2687628" y="2322914"/>
              <a:ext cx="417730" cy="592901"/>
            </a:xfrm>
            <a:custGeom>
              <a:avLst/>
              <a:gdLst>
                <a:gd name="T0" fmla="*/ 380 w 380"/>
                <a:gd name="T1" fmla="*/ 290 h 606"/>
                <a:gd name="T2" fmla="*/ 312 w 380"/>
                <a:gd name="T3" fmla="*/ 250 h 606"/>
                <a:gd name="T4" fmla="*/ 314 w 380"/>
                <a:gd name="T5" fmla="*/ 229 h 606"/>
                <a:gd name="T6" fmla="*/ 298 w 380"/>
                <a:gd name="T7" fmla="*/ 231 h 606"/>
                <a:gd name="T8" fmla="*/ 284 w 380"/>
                <a:gd name="T9" fmla="*/ 224 h 606"/>
                <a:gd name="T10" fmla="*/ 283 w 380"/>
                <a:gd name="T11" fmla="*/ 189 h 606"/>
                <a:gd name="T12" fmla="*/ 307 w 380"/>
                <a:gd name="T13" fmla="*/ 203 h 606"/>
                <a:gd name="T14" fmla="*/ 300 w 380"/>
                <a:gd name="T15" fmla="*/ 127 h 606"/>
                <a:gd name="T16" fmla="*/ 247 w 380"/>
                <a:gd name="T17" fmla="*/ 129 h 606"/>
                <a:gd name="T18" fmla="*/ 239 w 380"/>
                <a:gd name="T19" fmla="*/ 19 h 606"/>
                <a:gd name="T20" fmla="*/ 209 w 380"/>
                <a:gd name="T21" fmla="*/ 0 h 606"/>
                <a:gd name="T22" fmla="*/ 212 w 380"/>
                <a:gd name="T23" fmla="*/ 42 h 606"/>
                <a:gd name="T24" fmla="*/ 168 w 380"/>
                <a:gd name="T25" fmla="*/ 128 h 606"/>
                <a:gd name="T26" fmla="*/ 80 w 380"/>
                <a:gd name="T27" fmla="*/ 119 h 606"/>
                <a:gd name="T28" fmla="*/ 59 w 380"/>
                <a:gd name="T29" fmla="*/ 128 h 606"/>
                <a:gd name="T30" fmla="*/ 60 w 380"/>
                <a:gd name="T31" fmla="*/ 147 h 606"/>
                <a:gd name="T32" fmla="*/ 46 w 380"/>
                <a:gd name="T33" fmla="*/ 145 h 606"/>
                <a:gd name="T34" fmla="*/ 45 w 380"/>
                <a:gd name="T35" fmla="*/ 134 h 606"/>
                <a:gd name="T36" fmla="*/ 31 w 380"/>
                <a:gd name="T37" fmla="*/ 147 h 606"/>
                <a:gd name="T38" fmla="*/ 53 w 380"/>
                <a:gd name="T39" fmla="*/ 185 h 606"/>
                <a:gd name="T40" fmla="*/ 4 w 380"/>
                <a:gd name="T41" fmla="*/ 210 h 606"/>
                <a:gd name="T42" fmla="*/ 0 w 380"/>
                <a:gd name="T43" fmla="*/ 240 h 606"/>
                <a:gd name="T44" fmla="*/ 14 w 380"/>
                <a:gd name="T45" fmla="*/ 253 h 606"/>
                <a:gd name="T46" fmla="*/ 61 w 380"/>
                <a:gd name="T47" fmla="*/ 246 h 606"/>
                <a:gd name="T48" fmla="*/ 60 w 380"/>
                <a:gd name="T49" fmla="*/ 222 h 606"/>
                <a:gd name="T50" fmla="*/ 114 w 380"/>
                <a:gd name="T51" fmla="*/ 281 h 606"/>
                <a:gd name="T52" fmla="*/ 124 w 380"/>
                <a:gd name="T53" fmla="*/ 406 h 606"/>
                <a:gd name="T54" fmla="*/ 177 w 380"/>
                <a:gd name="T55" fmla="*/ 469 h 606"/>
                <a:gd name="T56" fmla="*/ 199 w 380"/>
                <a:gd name="T57" fmla="*/ 510 h 606"/>
                <a:gd name="T58" fmla="*/ 283 w 380"/>
                <a:gd name="T59" fmla="*/ 601 h 606"/>
                <a:gd name="T60" fmla="*/ 293 w 380"/>
                <a:gd name="T61" fmla="*/ 606 h 606"/>
                <a:gd name="T62" fmla="*/ 323 w 380"/>
                <a:gd name="T63" fmla="*/ 396 h 606"/>
                <a:gd name="T64" fmla="*/ 380 w 380"/>
                <a:gd name="T65" fmla="*/ 290 h 606"/>
                <a:gd name="T66" fmla="*/ 380 w 380"/>
                <a:gd name="T67" fmla="*/ 290 h 60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380" h="606">
                  <a:moveTo>
                    <a:pt x="380" y="290"/>
                  </a:moveTo>
                  <a:lnTo>
                    <a:pt x="312" y="250"/>
                  </a:lnTo>
                  <a:lnTo>
                    <a:pt x="314" y="229"/>
                  </a:lnTo>
                  <a:lnTo>
                    <a:pt x="298" y="231"/>
                  </a:lnTo>
                  <a:lnTo>
                    <a:pt x="284" y="224"/>
                  </a:lnTo>
                  <a:lnTo>
                    <a:pt x="283" y="189"/>
                  </a:lnTo>
                  <a:lnTo>
                    <a:pt x="307" y="203"/>
                  </a:lnTo>
                  <a:lnTo>
                    <a:pt x="300" y="127"/>
                  </a:lnTo>
                  <a:lnTo>
                    <a:pt x="247" y="129"/>
                  </a:lnTo>
                  <a:lnTo>
                    <a:pt x="239" y="19"/>
                  </a:lnTo>
                  <a:lnTo>
                    <a:pt x="209" y="0"/>
                  </a:lnTo>
                  <a:lnTo>
                    <a:pt x="212" y="42"/>
                  </a:lnTo>
                  <a:lnTo>
                    <a:pt x="168" y="128"/>
                  </a:lnTo>
                  <a:lnTo>
                    <a:pt x="80" y="119"/>
                  </a:lnTo>
                  <a:lnTo>
                    <a:pt x="59" y="128"/>
                  </a:lnTo>
                  <a:lnTo>
                    <a:pt x="60" y="147"/>
                  </a:lnTo>
                  <a:lnTo>
                    <a:pt x="46" y="145"/>
                  </a:lnTo>
                  <a:lnTo>
                    <a:pt x="45" y="134"/>
                  </a:lnTo>
                  <a:lnTo>
                    <a:pt x="31" y="147"/>
                  </a:lnTo>
                  <a:lnTo>
                    <a:pt x="53" y="185"/>
                  </a:lnTo>
                  <a:lnTo>
                    <a:pt x="4" y="210"/>
                  </a:lnTo>
                  <a:lnTo>
                    <a:pt x="0" y="240"/>
                  </a:lnTo>
                  <a:lnTo>
                    <a:pt x="14" y="253"/>
                  </a:lnTo>
                  <a:lnTo>
                    <a:pt x="61" y="246"/>
                  </a:lnTo>
                  <a:lnTo>
                    <a:pt x="60" y="222"/>
                  </a:lnTo>
                  <a:lnTo>
                    <a:pt x="114" y="281"/>
                  </a:lnTo>
                  <a:lnTo>
                    <a:pt x="124" y="406"/>
                  </a:lnTo>
                  <a:lnTo>
                    <a:pt x="177" y="469"/>
                  </a:lnTo>
                  <a:lnTo>
                    <a:pt x="199" y="510"/>
                  </a:lnTo>
                  <a:lnTo>
                    <a:pt x="283" y="601"/>
                  </a:lnTo>
                  <a:lnTo>
                    <a:pt x="293" y="606"/>
                  </a:lnTo>
                  <a:lnTo>
                    <a:pt x="323" y="396"/>
                  </a:lnTo>
                  <a:lnTo>
                    <a:pt x="380" y="290"/>
                  </a:lnTo>
                  <a:lnTo>
                    <a:pt x="380" y="290"/>
                  </a:lnTo>
                  <a:close/>
                </a:path>
              </a:pathLst>
            </a:custGeom>
            <a:solidFill>
              <a:schemeClr val="accent5">
                <a:lumMod val="40000"/>
                <a:lumOff val="60000"/>
              </a:schemeClr>
            </a:solidFill>
            <a:ln w="2" cap="flat">
              <a:solidFill>
                <a:schemeClr val="bg1"/>
              </a:solidFill>
              <a:prstDash val="solid"/>
              <a:miter lim="800000"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200"/>
            </a:p>
          </p:txBody>
        </p:sp>
        <p:sp>
          <p:nvSpPr>
            <p:cNvPr id="141" name="Oval 140"/>
            <p:cNvSpPr>
              <a:spLocks/>
            </p:cNvSpPr>
            <p:nvPr/>
          </p:nvSpPr>
          <p:spPr>
            <a:xfrm>
              <a:off x="2707511" y="2544280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12</a:t>
              </a:r>
            </a:p>
          </p:txBody>
        </p:sp>
        <p:sp>
          <p:nvSpPr>
            <p:cNvPr id="142" name="Oval 141"/>
            <p:cNvSpPr>
              <a:spLocks/>
            </p:cNvSpPr>
            <p:nvPr/>
          </p:nvSpPr>
          <p:spPr>
            <a:xfrm>
              <a:off x="2722100" y="2245889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107</a:t>
              </a:r>
            </a:p>
          </p:txBody>
        </p:sp>
        <p:sp>
          <p:nvSpPr>
            <p:cNvPr id="143" name="Oval 142"/>
            <p:cNvSpPr>
              <a:spLocks/>
            </p:cNvSpPr>
            <p:nvPr/>
          </p:nvSpPr>
          <p:spPr>
            <a:xfrm>
              <a:off x="2971274" y="2056265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218</a:t>
              </a:r>
            </a:p>
          </p:txBody>
        </p:sp>
        <p:sp>
          <p:nvSpPr>
            <p:cNvPr id="144" name="Oval 143"/>
            <p:cNvSpPr>
              <a:spLocks/>
            </p:cNvSpPr>
            <p:nvPr/>
          </p:nvSpPr>
          <p:spPr>
            <a:xfrm>
              <a:off x="2398264" y="1769267"/>
              <a:ext cx="451078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ДЦ5</a:t>
              </a:r>
              <a:endParaRPr lang="en-US" sz="1200" b="1" dirty="0" smtClean="0"/>
            </a:p>
          </p:txBody>
        </p:sp>
        <p:sp>
          <p:nvSpPr>
            <p:cNvPr id="145" name="Oval 144"/>
            <p:cNvSpPr>
              <a:spLocks/>
            </p:cNvSpPr>
            <p:nvPr/>
          </p:nvSpPr>
          <p:spPr>
            <a:xfrm>
              <a:off x="2339858" y="2085201"/>
              <a:ext cx="451078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КДЦ6</a:t>
              </a:r>
              <a:endParaRPr lang="en-US" sz="1200" b="1" dirty="0" smtClean="0"/>
            </a:p>
          </p:txBody>
        </p:sp>
        <p:sp>
          <p:nvSpPr>
            <p:cNvPr id="146" name="Oval 145"/>
            <p:cNvSpPr>
              <a:spLocks/>
            </p:cNvSpPr>
            <p:nvPr/>
          </p:nvSpPr>
          <p:spPr>
            <a:xfrm>
              <a:off x="1510251" y="2275296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19</a:t>
              </a:r>
              <a:endParaRPr lang="en-US" sz="1200" b="1" dirty="0" smtClean="0"/>
            </a:p>
          </p:txBody>
        </p:sp>
        <p:sp>
          <p:nvSpPr>
            <p:cNvPr id="147" name="Oval 146"/>
            <p:cNvSpPr>
              <a:spLocks/>
            </p:cNvSpPr>
            <p:nvPr/>
          </p:nvSpPr>
          <p:spPr>
            <a:xfrm>
              <a:off x="1169081" y="2464498"/>
              <a:ext cx="321430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80</a:t>
              </a:r>
              <a:endParaRPr lang="en-US" sz="1200" b="1" dirty="0" smtClean="0"/>
            </a:p>
          </p:txBody>
        </p:sp>
        <p:sp>
          <p:nvSpPr>
            <p:cNvPr id="148" name="Oval 147"/>
            <p:cNvSpPr>
              <a:spLocks/>
            </p:cNvSpPr>
            <p:nvPr/>
          </p:nvSpPr>
          <p:spPr>
            <a:xfrm>
              <a:off x="1547907" y="3074465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95</a:t>
              </a:r>
              <a:endParaRPr lang="en-US" sz="1200" b="1" dirty="0" smtClean="0"/>
            </a:p>
          </p:txBody>
        </p:sp>
        <p:sp>
          <p:nvSpPr>
            <p:cNvPr id="149" name="Oval 148"/>
            <p:cNvSpPr>
              <a:spLocks/>
            </p:cNvSpPr>
            <p:nvPr/>
          </p:nvSpPr>
          <p:spPr>
            <a:xfrm>
              <a:off x="1996777" y="3029691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15</a:t>
              </a:r>
              <a:endParaRPr lang="en-US" sz="1200" b="1" dirty="0" smtClean="0"/>
            </a:p>
          </p:txBody>
        </p:sp>
        <p:sp>
          <p:nvSpPr>
            <p:cNvPr id="150" name="Oval 149"/>
            <p:cNvSpPr>
              <a:spLocks/>
            </p:cNvSpPr>
            <p:nvPr/>
          </p:nvSpPr>
          <p:spPr>
            <a:xfrm>
              <a:off x="1502396" y="4280660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12</a:t>
              </a:r>
              <a:endParaRPr lang="en-US" sz="1200" b="1" dirty="0" smtClean="0"/>
            </a:p>
          </p:txBody>
        </p:sp>
        <p:sp>
          <p:nvSpPr>
            <p:cNvPr id="151" name="Oval 150"/>
            <p:cNvSpPr>
              <a:spLocks/>
            </p:cNvSpPr>
            <p:nvPr/>
          </p:nvSpPr>
          <p:spPr>
            <a:xfrm>
              <a:off x="2285739" y="2825326"/>
              <a:ext cx="321430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62</a:t>
              </a:r>
              <a:endParaRPr lang="en-US" sz="1200" b="1" dirty="0" smtClean="0"/>
            </a:p>
          </p:txBody>
        </p:sp>
        <p:sp>
          <p:nvSpPr>
            <p:cNvPr id="152" name="Oval 151"/>
            <p:cNvSpPr>
              <a:spLocks/>
            </p:cNvSpPr>
            <p:nvPr/>
          </p:nvSpPr>
          <p:spPr>
            <a:xfrm>
              <a:off x="2426101" y="2606019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6</a:t>
              </a:r>
              <a:endParaRPr lang="en-US" sz="1200" b="1" dirty="0" smtClean="0"/>
            </a:p>
          </p:txBody>
        </p:sp>
        <p:sp>
          <p:nvSpPr>
            <p:cNvPr id="154" name="Oval 153"/>
            <p:cNvSpPr>
              <a:spLocks/>
            </p:cNvSpPr>
            <p:nvPr/>
          </p:nvSpPr>
          <p:spPr>
            <a:xfrm>
              <a:off x="3966218" y="2472628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91</a:t>
              </a:r>
              <a:endParaRPr lang="en-US" sz="1200" b="1" dirty="0" smtClean="0"/>
            </a:p>
          </p:txBody>
        </p:sp>
        <p:sp>
          <p:nvSpPr>
            <p:cNvPr id="155" name="Oval 154"/>
            <p:cNvSpPr>
              <a:spLocks/>
            </p:cNvSpPr>
            <p:nvPr/>
          </p:nvSpPr>
          <p:spPr>
            <a:xfrm>
              <a:off x="4106194" y="3087638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75</a:t>
              </a:r>
              <a:endParaRPr lang="en-US" sz="1200" b="1" dirty="0" smtClean="0"/>
            </a:p>
          </p:txBody>
        </p:sp>
        <p:sp>
          <p:nvSpPr>
            <p:cNvPr id="156" name="Oval 155"/>
            <p:cNvSpPr>
              <a:spLocks/>
            </p:cNvSpPr>
            <p:nvPr/>
          </p:nvSpPr>
          <p:spPr>
            <a:xfrm>
              <a:off x="3751968" y="3236275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69</a:t>
              </a:r>
              <a:endParaRPr lang="en-US" sz="1200" b="1" dirty="0" smtClean="0"/>
            </a:p>
          </p:txBody>
        </p:sp>
        <p:sp>
          <p:nvSpPr>
            <p:cNvPr id="157" name="Oval 156"/>
            <p:cNvSpPr>
              <a:spLocks/>
            </p:cNvSpPr>
            <p:nvPr/>
          </p:nvSpPr>
          <p:spPr>
            <a:xfrm>
              <a:off x="4260206" y="3426966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66</a:t>
              </a:r>
              <a:endParaRPr lang="en-US" sz="1200" b="1" dirty="0" smtClean="0"/>
            </a:p>
          </p:txBody>
        </p:sp>
        <p:sp>
          <p:nvSpPr>
            <p:cNvPr id="158" name="Oval 157"/>
            <p:cNvSpPr>
              <a:spLocks/>
            </p:cNvSpPr>
            <p:nvPr/>
          </p:nvSpPr>
          <p:spPr>
            <a:xfrm>
              <a:off x="4197608" y="3870748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3</a:t>
              </a:r>
              <a:endParaRPr lang="en-US" sz="1200" b="1" dirty="0" smtClean="0"/>
            </a:p>
          </p:txBody>
        </p:sp>
        <p:sp>
          <p:nvSpPr>
            <p:cNvPr id="159" name="Oval 158"/>
            <p:cNvSpPr>
              <a:spLocks/>
            </p:cNvSpPr>
            <p:nvPr/>
          </p:nvSpPr>
          <p:spPr>
            <a:xfrm>
              <a:off x="3443191" y="3810758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09</a:t>
              </a:r>
              <a:endParaRPr lang="en-US" sz="1200" b="1" dirty="0" smtClean="0"/>
            </a:p>
          </p:txBody>
        </p:sp>
        <p:sp>
          <p:nvSpPr>
            <p:cNvPr id="163" name="Oval 162"/>
            <p:cNvSpPr>
              <a:spLocks/>
            </p:cNvSpPr>
            <p:nvPr/>
          </p:nvSpPr>
          <p:spPr>
            <a:xfrm>
              <a:off x="3175472" y="4279857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10</a:t>
              </a:r>
              <a:endParaRPr lang="en-US" sz="1200" b="1" dirty="0" smtClean="0"/>
            </a:p>
          </p:txBody>
        </p:sp>
        <p:sp>
          <p:nvSpPr>
            <p:cNvPr id="164" name="Oval 163"/>
            <p:cNvSpPr>
              <a:spLocks/>
            </p:cNvSpPr>
            <p:nvPr/>
          </p:nvSpPr>
          <p:spPr>
            <a:xfrm>
              <a:off x="3262826" y="4547544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66</a:t>
              </a:r>
              <a:endParaRPr lang="en-US" sz="1200" b="1" dirty="0" smtClean="0"/>
            </a:p>
          </p:txBody>
        </p:sp>
        <p:sp>
          <p:nvSpPr>
            <p:cNvPr id="165" name="Oval 164"/>
            <p:cNvSpPr>
              <a:spLocks/>
            </p:cNvSpPr>
            <p:nvPr/>
          </p:nvSpPr>
          <p:spPr>
            <a:xfrm>
              <a:off x="3515396" y="4670778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14</a:t>
              </a:r>
              <a:endParaRPr lang="en-US" sz="1200" b="1" dirty="0" smtClean="0"/>
            </a:p>
          </p:txBody>
        </p:sp>
        <p:sp>
          <p:nvSpPr>
            <p:cNvPr id="166" name="Oval 165"/>
            <p:cNvSpPr>
              <a:spLocks/>
            </p:cNvSpPr>
            <p:nvPr/>
          </p:nvSpPr>
          <p:spPr>
            <a:xfrm>
              <a:off x="2999400" y="4889564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52</a:t>
              </a:r>
            </a:p>
          </p:txBody>
        </p:sp>
        <p:sp>
          <p:nvSpPr>
            <p:cNvPr id="167" name="Oval 166"/>
            <p:cNvSpPr>
              <a:spLocks/>
            </p:cNvSpPr>
            <p:nvPr/>
          </p:nvSpPr>
          <p:spPr>
            <a:xfrm>
              <a:off x="2707511" y="4634624"/>
              <a:ext cx="321430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170</a:t>
              </a:r>
            </a:p>
          </p:txBody>
        </p:sp>
        <p:sp>
          <p:nvSpPr>
            <p:cNvPr id="168" name="Oval 167"/>
            <p:cNvSpPr>
              <a:spLocks/>
            </p:cNvSpPr>
            <p:nvPr/>
          </p:nvSpPr>
          <p:spPr>
            <a:xfrm>
              <a:off x="2299575" y="4584490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134</a:t>
              </a:r>
            </a:p>
          </p:txBody>
        </p:sp>
        <p:sp>
          <p:nvSpPr>
            <p:cNvPr id="169" name="Oval 168"/>
            <p:cNvSpPr>
              <a:spLocks/>
            </p:cNvSpPr>
            <p:nvPr/>
          </p:nvSpPr>
          <p:spPr>
            <a:xfrm>
              <a:off x="2826799" y="3703611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67</a:t>
              </a:r>
            </a:p>
          </p:txBody>
        </p:sp>
        <p:sp>
          <p:nvSpPr>
            <p:cNvPr id="170" name="Oval 169"/>
            <p:cNvSpPr>
              <a:spLocks/>
            </p:cNvSpPr>
            <p:nvPr/>
          </p:nvSpPr>
          <p:spPr>
            <a:xfrm>
              <a:off x="2537250" y="3909282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22</a:t>
              </a:r>
            </a:p>
          </p:txBody>
        </p:sp>
        <p:sp>
          <p:nvSpPr>
            <p:cNvPr id="172" name="Oval 171"/>
            <p:cNvSpPr>
              <a:spLocks/>
            </p:cNvSpPr>
            <p:nvPr/>
          </p:nvSpPr>
          <p:spPr>
            <a:xfrm>
              <a:off x="1763673" y="4026454"/>
              <a:ext cx="321430" cy="315664"/>
            </a:xfrm>
            <a:prstGeom prst="ellipse">
              <a:avLst/>
            </a:prstGeom>
            <a:solidFill>
              <a:srgbClr val="FFC00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8</a:t>
              </a:r>
            </a:p>
          </p:txBody>
        </p:sp>
        <p:sp>
          <p:nvSpPr>
            <p:cNvPr id="173" name="Oval 172"/>
            <p:cNvSpPr>
              <a:spLocks/>
            </p:cNvSpPr>
            <p:nvPr/>
          </p:nvSpPr>
          <p:spPr>
            <a:xfrm>
              <a:off x="1939965" y="3832975"/>
              <a:ext cx="321430" cy="315664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209</a:t>
              </a:r>
            </a:p>
          </p:txBody>
        </p:sp>
        <p:sp>
          <p:nvSpPr>
            <p:cNvPr id="174" name="Oval 173"/>
            <p:cNvSpPr>
              <a:spLocks/>
            </p:cNvSpPr>
            <p:nvPr/>
          </p:nvSpPr>
          <p:spPr>
            <a:xfrm>
              <a:off x="2775716" y="3360992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68</a:t>
              </a:r>
            </a:p>
          </p:txBody>
        </p:sp>
        <p:sp>
          <p:nvSpPr>
            <p:cNvPr id="181" name="Oval 180"/>
            <p:cNvSpPr>
              <a:spLocks/>
            </p:cNvSpPr>
            <p:nvPr/>
          </p:nvSpPr>
          <p:spPr>
            <a:xfrm>
              <a:off x="2796569" y="4119265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</a:t>
              </a:r>
              <a:endParaRPr lang="en-US" sz="1200" b="1" dirty="0" smtClean="0"/>
            </a:p>
          </p:txBody>
        </p:sp>
        <p:sp>
          <p:nvSpPr>
            <p:cNvPr id="182" name="Oval 181"/>
            <p:cNvSpPr>
              <a:spLocks/>
            </p:cNvSpPr>
            <p:nvPr/>
          </p:nvSpPr>
          <p:spPr>
            <a:xfrm>
              <a:off x="1452617" y="3323505"/>
              <a:ext cx="451078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КДЦ4</a:t>
              </a:r>
              <a:endParaRPr lang="en-US" sz="1200" b="1" dirty="0" smtClean="0"/>
            </a:p>
          </p:txBody>
        </p:sp>
        <p:sp>
          <p:nvSpPr>
            <p:cNvPr id="183" name="Oval 182"/>
            <p:cNvSpPr>
              <a:spLocks/>
            </p:cNvSpPr>
            <p:nvPr/>
          </p:nvSpPr>
          <p:spPr>
            <a:xfrm>
              <a:off x="3923286" y="3641439"/>
              <a:ext cx="365817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ДЦ3</a:t>
              </a:r>
              <a:endParaRPr lang="en-US" sz="1200" b="1" dirty="0" smtClean="0"/>
            </a:p>
          </p:txBody>
        </p:sp>
        <p:sp>
          <p:nvSpPr>
            <p:cNvPr id="184" name="Oval 183"/>
            <p:cNvSpPr>
              <a:spLocks/>
            </p:cNvSpPr>
            <p:nvPr/>
          </p:nvSpPr>
          <p:spPr>
            <a:xfrm>
              <a:off x="3854648" y="2865781"/>
              <a:ext cx="451078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КДЦ2</a:t>
              </a:r>
              <a:endParaRPr lang="en-US" sz="1200" b="1" dirty="0" smtClean="0"/>
            </a:p>
          </p:txBody>
        </p:sp>
        <p:sp>
          <p:nvSpPr>
            <p:cNvPr id="185" name="Oval 184"/>
            <p:cNvSpPr>
              <a:spLocks/>
            </p:cNvSpPr>
            <p:nvPr/>
          </p:nvSpPr>
          <p:spPr>
            <a:xfrm>
              <a:off x="2103535" y="5284766"/>
              <a:ext cx="451078" cy="387020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err="1" smtClean="0"/>
                <a:t>КДП</a:t>
              </a:r>
              <a:r>
                <a:rPr lang="ru-RU" sz="1200" b="1" dirty="0" smtClean="0"/>
                <a:t/>
              </a:r>
              <a:br>
                <a:rPr lang="ru-RU" sz="1200" b="1" dirty="0" smtClean="0"/>
              </a:br>
              <a:r>
                <a:rPr lang="ru-RU" sz="1200" b="1" dirty="0" smtClean="0"/>
                <a:t>121</a:t>
              </a:r>
              <a:endParaRPr lang="en-US" sz="1200" b="1" dirty="0" smtClean="0"/>
            </a:p>
          </p:txBody>
        </p:sp>
        <p:sp>
          <p:nvSpPr>
            <p:cNvPr id="186" name="Oval 185"/>
            <p:cNvSpPr>
              <a:spLocks/>
            </p:cNvSpPr>
            <p:nvPr/>
          </p:nvSpPr>
          <p:spPr>
            <a:xfrm>
              <a:off x="2087368" y="2610387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45</a:t>
              </a:r>
              <a:endParaRPr lang="en-US" sz="1200" b="1" dirty="0" smtClean="0"/>
            </a:p>
          </p:txBody>
        </p:sp>
        <p:sp>
          <p:nvSpPr>
            <p:cNvPr id="187" name="Oval 186"/>
            <p:cNvSpPr>
              <a:spLocks/>
            </p:cNvSpPr>
            <p:nvPr/>
          </p:nvSpPr>
          <p:spPr>
            <a:xfrm>
              <a:off x="2189224" y="3685649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202</a:t>
              </a:r>
              <a:endParaRPr lang="en-US" sz="1200" b="1" dirty="0" smtClean="0"/>
            </a:p>
          </p:txBody>
        </p:sp>
        <p:sp>
          <p:nvSpPr>
            <p:cNvPr id="188" name="Oval 187"/>
            <p:cNvSpPr>
              <a:spLocks/>
            </p:cNvSpPr>
            <p:nvPr/>
          </p:nvSpPr>
          <p:spPr>
            <a:xfrm>
              <a:off x="3345510" y="3107584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29</a:t>
              </a:r>
              <a:endParaRPr lang="en-US" sz="1200" b="1" dirty="0" smtClean="0"/>
            </a:p>
          </p:txBody>
        </p:sp>
        <p:sp>
          <p:nvSpPr>
            <p:cNvPr id="338" name="Oval 337"/>
            <p:cNvSpPr>
              <a:spLocks/>
            </p:cNvSpPr>
            <p:nvPr/>
          </p:nvSpPr>
          <p:spPr>
            <a:xfrm>
              <a:off x="4000509" y="1959996"/>
              <a:ext cx="321430" cy="315664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201</a:t>
              </a:r>
            </a:p>
          </p:txBody>
        </p:sp>
        <p:sp>
          <p:nvSpPr>
            <p:cNvPr id="175" name="Oval 174"/>
            <p:cNvSpPr>
              <a:spLocks/>
            </p:cNvSpPr>
            <p:nvPr/>
          </p:nvSpPr>
          <p:spPr>
            <a:xfrm>
              <a:off x="3059405" y="3192527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46</a:t>
              </a:r>
            </a:p>
          </p:txBody>
        </p:sp>
        <p:sp>
          <p:nvSpPr>
            <p:cNvPr id="153" name="Oval 152"/>
            <p:cNvSpPr>
              <a:spLocks/>
            </p:cNvSpPr>
            <p:nvPr/>
          </p:nvSpPr>
          <p:spPr>
            <a:xfrm>
              <a:off x="3314776" y="2841714"/>
              <a:ext cx="321430" cy="315664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64</a:t>
              </a:r>
              <a:endParaRPr lang="en-US" sz="1200" b="1" dirty="0" smtClean="0"/>
            </a:p>
          </p:txBody>
        </p:sp>
        <p:sp>
          <p:nvSpPr>
            <p:cNvPr id="161" name="Oval 160"/>
            <p:cNvSpPr>
              <a:spLocks/>
            </p:cNvSpPr>
            <p:nvPr/>
          </p:nvSpPr>
          <p:spPr>
            <a:xfrm>
              <a:off x="3669597" y="4228547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9</a:t>
              </a:r>
              <a:endParaRPr lang="en-US" sz="1200" b="1" dirty="0" smtClean="0"/>
            </a:p>
          </p:txBody>
        </p:sp>
        <p:sp>
          <p:nvSpPr>
            <p:cNvPr id="162" name="Oval 161"/>
            <p:cNvSpPr>
              <a:spLocks/>
            </p:cNvSpPr>
            <p:nvPr/>
          </p:nvSpPr>
          <p:spPr>
            <a:xfrm>
              <a:off x="3697345" y="3994846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19</a:t>
              </a:r>
              <a:endParaRPr lang="en-US" sz="1200" b="1" dirty="0" smtClean="0"/>
            </a:p>
          </p:txBody>
        </p:sp>
        <p:sp>
          <p:nvSpPr>
            <p:cNvPr id="160" name="Oval 159"/>
            <p:cNvSpPr>
              <a:spLocks/>
            </p:cNvSpPr>
            <p:nvPr/>
          </p:nvSpPr>
          <p:spPr>
            <a:xfrm>
              <a:off x="3462371" y="4195076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36</a:t>
              </a:r>
              <a:endParaRPr lang="en-US" sz="1200" b="1" dirty="0" smtClean="0"/>
            </a:p>
          </p:txBody>
        </p:sp>
        <p:sp>
          <p:nvSpPr>
            <p:cNvPr id="171" name="Oval 170"/>
            <p:cNvSpPr>
              <a:spLocks/>
            </p:cNvSpPr>
            <p:nvPr/>
          </p:nvSpPr>
          <p:spPr>
            <a:xfrm>
              <a:off x="2251845" y="3937461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11</a:t>
              </a:r>
            </a:p>
          </p:txBody>
        </p:sp>
        <p:sp>
          <p:nvSpPr>
            <p:cNvPr id="180" name="Oval 179"/>
            <p:cNvSpPr>
              <a:spLocks/>
            </p:cNvSpPr>
            <p:nvPr/>
          </p:nvSpPr>
          <p:spPr>
            <a:xfrm>
              <a:off x="2052958" y="4293511"/>
              <a:ext cx="451078" cy="315664"/>
            </a:xfrm>
            <a:prstGeom prst="ellipse">
              <a:avLst/>
            </a:prstGeom>
            <a:solidFill>
              <a:schemeClr val="accent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ru-RU" sz="1200" b="1" dirty="0" smtClean="0"/>
                <a:t>КДЦ1</a:t>
              </a:r>
              <a:endParaRPr lang="en-US" sz="1200" b="1" dirty="0" smtClean="0"/>
            </a:p>
          </p:txBody>
        </p:sp>
        <p:sp>
          <p:nvSpPr>
            <p:cNvPr id="177" name="Oval 176"/>
            <p:cNvSpPr>
              <a:spLocks/>
            </p:cNvSpPr>
            <p:nvPr/>
          </p:nvSpPr>
          <p:spPr>
            <a:xfrm>
              <a:off x="2692943" y="3039077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3</a:t>
              </a:r>
            </a:p>
          </p:txBody>
        </p:sp>
        <p:sp>
          <p:nvSpPr>
            <p:cNvPr id="176" name="Oval 175"/>
            <p:cNvSpPr>
              <a:spLocks/>
            </p:cNvSpPr>
            <p:nvPr/>
          </p:nvSpPr>
          <p:spPr>
            <a:xfrm>
              <a:off x="2900273" y="2973583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5</a:t>
              </a:r>
            </a:p>
          </p:txBody>
        </p:sp>
        <p:sp>
          <p:nvSpPr>
            <p:cNvPr id="178" name="Oval 177"/>
            <p:cNvSpPr>
              <a:spLocks/>
            </p:cNvSpPr>
            <p:nvPr/>
          </p:nvSpPr>
          <p:spPr>
            <a:xfrm>
              <a:off x="2515519" y="3159762"/>
              <a:ext cx="321430" cy="315664"/>
            </a:xfrm>
            <a:prstGeom prst="ellipse">
              <a:avLst/>
            </a:prstGeom>
            <a:solidFill>
              <a:srgbClr val="92D05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none" lIns="36000" tIns="36000" rIns="36000" bIns="36000" rtlCol="0" anchor="ctr">
              <a:noAutofit/>
            </a:bodyPr>
            <a:lstStyle/>
            <a:p>
              <a:pPr algn="ctr">
                <a:buClr>
                  <a:schemeClr val="lt1"/>
                </a:buClr>
              </a:pPr>
              <a:r>
                <a:rPr lang="en-US" sz="1200" b="1" dirty="0" smtClean="0"/>
                <a:t>22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4915251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9" name="Object 28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79" name="think-cell Slide" r:id="rId119" imgW="493" imgH="493" progId="TCLayout.ActiveDocument.1">
                  <p:embed/>
                </p:oleObj>
              </mc:Choice>
              <mc:Fallback>
                <p:oleObj name="think-cell Slide" r:id="rId11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000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5694" y="230188"/>
            <a:ext cx="7206456" cy="5539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800" dirty="0"/>
              <a:t>А. Количество </a:t>
            </a:r>
            <a:r>
              <a:rPr lang="ru-RU" sz="1800" dirty="0" err="1"/>
              <a:t>КТ</a:t>
            </a:r>
            <a:r>
              <a:rPr lang="ru-RU" sz="1800" dirty="0"/>
              <a:t>-исследований на прикрепленное население может отличаться в 2</a:t>
            </a:r>
            <a:r>
              <a:rPr lang="en-US" sz="1800" dirty="0"/>
              <a:t>5</a:t>
            </a:r>
            <a:r>
              <a:rPr lang="ru-RU" sz="1800" dirty="0"/>
              <a:t> раз между </a:t>
            </a:r>
            <a:r>
              <a:rPr lang="ru-RU" sz="1800" dirty="0" err="1" smtClean="0"/>
              <a:t>амб</a:t>
            </a:r>
            <a:r>
              <a:rPr lang="ru-RU" sz="1800" dirty="0" smtClean="0"/>
              <a:t>. </a:t>
            </a:r>
            <a:r>
              <a:rPr lang="ru-RU" sz="1800" dirty="0"/>
              <a:t>учреждениями </a:t>
            </a:r>
          </a:p>
        </p:txBody>
      </p:sp>
      <p:sp>
        <p:nvSpPr>
          <p:cNvPr id="4" name="Rectangle 3"/>
          <p:cNvSpPr>
            <a:spLocks/>
          </p:cNvSpPr>
          <p:nvPr/>
        </p:nvSpPr>
        <p:spPr>
          <a:xfrm>
            <a:off x="119062" y="1072662"/>
            <a:ext cx="6634163" cy="5337664"/>
          </a:xfrm>
          <a:prstGeom prst="rect">
            <a:avLst/>
          </a:prstGeom>
          <a:noFill/>
          <a:ln w="1905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3"/>
          <p:cNvSpPr txBox="1">
            <a:spLocks/>
          </p:cNvSpPr>
          <p:nvPr/>
        </p:nvSpPr>
        <p:spPr>
          <a:xfrm>
            <a:off x="7124700" y="2373556"/>
            <a:ext cx="1717678" cy="2735877"/>
          </a:xfrm>
          <a:prstGeom prst="rect">
            <a:avLst/>
          </a:prstGeom>
          <a:solidFill>
            <a:schemeClr val="bg2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1587" lvl="1" indent="0">
              <a:spcBef>
                <a:spcPts val="300"/>
              </a:spcBef>
              <a:buNone/>
            </a:pPr>
            <a:r>
              <a:rPr lang="ru-RU" sz="1000" dirty="0" smtClean="0">
                <a:solidFill>
                  <a:schemeClr val="accent1"/>
                </a:solidFill>
              </a:rPr>
              <a:t>По данным за 2015 год</a:t>
            </a:r>
          </a:p>
          <a:p>
            <a:pPr lvl="1">
              <a:spcBef>
                <a:spcPts val="300"/>
              </a:spcBef>
            </a:pPr>
            <a:r>
              <a:rPr lang="ru-RU" sz="1000" dirty="0" smtClean="0">
                <a:solidFill>
                  <a:schemeClr val="accent1"/>
                </a:solidFill>
              </a:rPr>
              <a:t>Количество </a:t>
            </a:r>
            <a:r>
              <a:rPr lang="ru-RU" sz="1000" dirty="0" err="1" smtClean="0">
                <a:solidFill>
                  <a:schemeClr val="accent1"/>
                </a:solidFill>
              </a:rPr>
              <a:t>МРТ</a:t>
            </a:r>
            <a:r>
              <a:rPr lang="ru-RU" sz="1000" dirty="0" smtClean="0">
                <a:solidFill>
                  <a:schemeClr val="accent1"/>
                </a:solidFill>
              </a:rPr>
              <a:t>- и</a:t>
            </a:r>
            <a:r>
              <a:rPr lang="en-US" sz="1000" dirty="0" smtClean="0">
                <a:solidFill>
                  <a:schemeClr val="accent1"/>
                </a:solidFill>
              </a:rPr>
              <a:t> </a:t>
            </a:r>
            <a:r>
              <a:rPr lang="ru-RU" sz="1000" dirty="0" err="1" smtClean="0">
                <a:solidFill>
                  <a:schemeClr val="accent1"/>
                </a:solidFill>
              </a:rPr>
              <a:t>КТ</a:t>
            </a:r>
            <a:r>
              <a:rPr lang="ru-RU" sz="1000" dirty="0" smtClean="0">
                <a:solidFill>
                  <a:schemeClr val="accent1"/>
                </a:solidFill>
              </a:rPr>
              <a:t>-исследований может отличаться </a:t>
            </a:r>
            <a:r>
              <a:rPr lang="ru-RU" sz="1000" dirty="0" smtClean="0"/>
              <a:t>между амбулаторными учреждениями </a:t>
            </a:r>
            <a:r>
              <a:rPr lang="ru-RU" sz="1000" dirty="0" smtClean="0">
                <a:solidFill>
                  <a:schemeClr val="accent1"/>
                </a:solidFill>
              </a:rPr>
              <a:t>в 20-25 раз</a:t>
            </a:r>
            <a:endParaRPr lang="ru-RU" sz="1000" dirty="0">
              <a:solidFill>
                <a:schemeClr val="accent1"/>
              </a:solidFill>
            </a:endParaRPr>
          </a:p>
          <a:p>
            <a:pPr lvl="1">
              <a:spcBef>
                <a:spcPts val="300"/>
              </a:spcBef>
            </a:pPr>
            <a:r>
              <a:rPr lang="ru-RU" sz="1000" dirty="0" smtClean="0">
                <a:solidFill>
                  <a:schemeClr val="accent1"/>
                </a:solidFill>
              </a:rPr>
              <a:t>Возможные причины</a:t>
            </a:r>
          </a:p>
          <a:p>
            <a:pPr lvl="2">
              <a:spcBef>
                <a:spcPts val="150"/>
              </a:spcBef>
            </a:pPr>
            <a:r>
              <a:rPr lang="ru-RU" sz="1000" dirty="0"/>
              <a:t>Различная интенсивность исследований</a:t>
            </a:r>
          </a:p>
          <a:p>
            <a:pPr lvl="2">
              <a:spcBef>
                <a:spcPts val="150"/>
              </a:spcBef>
            </a:pPr>
            <a:r>
              <a:rPr lang="ru-RU" sz="1000" dirty="0"/>
              <a:t>Направление пациентов </a:t>
            </a:r>
            <a:r>
              <a:rPr lang="ru-RU" sz="1000" dirty="0" smtClean="0"/>
              <a:t>из</a:t>
            </a:r>
            <a:r>
              <a:rPr lang="en-US" sz="1000" dirty="0" smtClean="0"/>
              <a:t> </a:t>
            </a:r>
            <a:r>
              <a:rPr lang="ru-RU" sz="1000" dirty="0" smtClean="0"/>
              <a:t>других </a:t>
            </a:r>
            <a:r>
              <a:rPr lang="ru-RU" sz="1000" dirty="0"/>
              <a:t>медицинских учреждений</a:t>
            </a:r>
          </a:p>
        </p:txBody>
      </p:sp>
      <p:sp>
        <p:nvSpPr>
          <p:cNvPr id="6" name="AutoShape 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rot="5400000">
            <a:off x="6167437" y="3655769"/>
            <a:ext cx="1543050" cy="171450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19050">
            <a:noFill/>
            <a:miter lim="800000"/>
            <a:headEnd/>
            <a:tailEnd/>
          </a:ln>
          <a:effectLst/>
        </p:spPr>
        <p:txBody>
          <a:bodyPr rot="10800000" vert="eaVert" wrap="none" anchor="ctr"/>
          <a:lstStyle/>
          <a:p>
            <a:endParaRPr lang="ru-RU" sz="1000" b="1"/>
          </a:p>
        </p:txBody>
      </p:sp>
      <p:graphicFrame>
        <p:nvGraphicFramePr>
          <p:cNvPr id="17" name="Object 16"/>
          <p:cNvGraphicFramePr>
            <a:graphicFrameLocks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493299658"/>
              </p:ext>
            </p:extLst>
          </p:nvPr>
        </p:nvGraphicFramePr>
        <p:xfrm>
          <a:off x="760413" y="1222375"/>
          <a:ext cx="2641600" cy="4851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80" name="Диаграмма" r:id="rId121" imgW="2641600" imgH="4851400" progId="MSGraph.Chart.8">
                  <p:embed followColorScheme="full"/>
                </p:oleObj>
              </mc:Choice>
              <mc:Fallback>
                <p:oleObj name="Диаграмма" r:id="rId121" imgW="2641600" imgH="48514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2"/>
                      <a:stretch>
                        <a:fillRect/>
                      </a:stretch>
                    </p:blipFill>
                    <p:spPr>
                      <a:xfrm>
                        <a:off x="760413" y="1222375"/>
                        <a:ext cx="2641600" cy="48514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5" name="Straight Connector 24"/>
          <p:cNvCxnSpPr/>
          <p:nvPr>
            <p:custDataLst>
              <p:tags r:id="rId6"/>
            </p:custDataLst>
          </p:nvPr>
        </p:nvCxnSpPr>
        <p:spPr bwMode="gray">
          <a:xfrm>
            <a:off x="1108075" y="5895975"/>
            <a:ext cx="447675" cy="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7"/>
            </p:custDataLst>
          </p:nvPr>
        </p:nvCxnSpPr>
        <p:spPr bwMode="gray">
          <a:xfrm>
            <a:off x="1552575" y="2709863"/>
            <a:ext cx="0" cy="324326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4" name="Straight Connector 213"/>
          <p:cNvCxnSpPr/>
          <p:nvPr>
            <p:custDataLst>
              <p:tags r:id="rId8"/>
            </p:custDataLst>
          </p:nvPr>
        </p:nvCxnSpPr>
        <p:spPr bwMode="gray">
          <a:xfrm>
            <a:off x="1181100" y="1343025"/>
            <a:ext cx="0" cy="1895475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9"/>
            </p:custDataLst>
          </p:nvPr>
        </p:nvCxnSpPr>
        <p:spPr bwMode="gray">
          <a:xfrm>
            <a:off x="1552575" y="1458913"/>
            <a:ext cx="0" cy="12700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3" name="Right Arrow 212"/>
          <p:cNvSpPr/>
          <p:nvPr>
            <p:custDataLst>
              <p:tags r:id="rId10"/>
            </p:custDataLst>
          </p:nvPr>
        </p:nvSpPr>
        <p:spPr bwMode="auto">
          <a:xfrm rot="16200000">
            <a:off x="1117600" y="6010275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 err="1" smtClean="0">
              <a:solidFill>
                <a:schemeClr val="tx1"/>
              </a:solidFill>
            </a:endParaRPr>
          </a:p>
        </p:txBody>
      </p:sp>
      <p:cxnSp>
        <p:nvCxnSpPr>
          <p:cNvPr id="215" name="Straight Connector 214"/>
          <p:cNvCxnSpPr/>
          <p:nvPr>
            <p:custDataLst>
              <p:tags r:id="rId11"/>
            </p:custDataLst>
          </p:nvPr>
        </p:nvCxnSpPr>
        <p:spPr bwMode="gray">
          <a:xfrm>
            <a:off x="1181100" y="5695950"/>
            <a:ext cx="0" cy="276225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2" name="Text Placeholder 101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509588" y="6202363"/>
            <a:ext cx="1341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000" dirty="0" smtClean="0"/>
              <a:t>Среднее значение</a:t>
            </a:r>
            <a:r>
              <a:rPr lang="en-US" sz="1000" dirty="0" smtClean="0"/>
              <a:t> </a:t>
            </a:r>
            <a:fld id="{D43AD95E-DE9A-47B2-A83E-7350BA022070}" type="datetime'''''''''''''''12''''''''''''''''''''''''''5'''''''''''''">
              <a:rPr lang="en-US" sz="1000" smtClean="0"/>
              <a:pPr algn="ctr"/>
              <a:t>125</a:t>
            </a:fld>
            <a:endParaRPr lang="ru-RU" sz="1000" dirty="0"/>
          </a:p>
        </p:txBody>
      </p:sp>
      <p:sp>
        <p:nvSpPr>
          <p:cNvPr id="117" name="Text Placeholder 3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1184275" y="5597525"/>
            <a:ext cx="295275" cy="1936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en-US" sz="1000" b="1" dirty="0" smtClean="0">
                <a:solidFill>
                  <a:schemeClr val="tx2"/>
                </a:solidFill>
              </a:rPr>
              <a:t>x20</a:t>
            </a:r>
            <a:endParaRPr lang="ru-RU" sz="1000" b="1" dirty="0">
              <a:solidFill>
                <a:schemeClr val="tx2"/>
              </a:solidFill>
            </a:endParaRPr>
          </a:p>
        </p:txBody>
      </p:sp>
      <p:sp>
        <p:nvSpPr>
          <p:cNvPr id="314" name="Text Placeholder 182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284163" y="58197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32D3E41-D4A7-4747-BACD-7933C36407A4}" type="datetime'''''''''''''''''ГП'''''''''''''''''''''' 4''6'''''''''''''">
              <a:rPr lang="en-US" sz="1000"/>
              <a:pPr/>
              <a:t>ГП 46</a:t>
            </a:fld>
            <a:endParaRPr lang="ru-RU" sz="1000" dirty="0"/>
          </a:p>
        </p:txBody>
      </p:sp>
      <p:sp>
        <p:nvSpPr>
          <p:cNvPr id="313" name="Text Placeholder 18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284163" y="5681663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86963A8-A6AF-4759-950D-22CA40F560EB}" type="datetime'''''''''''''''''''''''''''''''''''Г''П'' ''6'''''''''''''''''">
              <a:rPr lang="en-US" sz="1000"/>
              <a:pPr/>
              <a:t>ГП 6</a:t>
            </a:fld>
            <a:endParaRPr lang="ru-RU" sz="1000" dirty="0"/>
          </a:p>
        </p:txBody>
      </p:sp>
      <p:sp>
        <p:nvSpPr>
          <p:cNvPr id="311" name="Text Placeholder 179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284163" y="54102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AF42D6A-E08D-4A54-A576-FEEB9BBCF0B2}" type="datetime'ГП'''''' ''''''''''''''''''''''''''''''''2''''''''''''''2'">
              <a:rPr lang="en-US" sz="1000"/>
              <a:pPr/>
              <a:t>ГП 22</a:t>
            </a:fld>
            <a:endParaRPr lang="ru-RU" sz="1000" dirty="0"/>
          </a:p>
        </p:txBody>
      </p:sp>
      <p:sp>
        <p:nvSpPr>
          <p:cNvPr id="312" name="Text Placeholder 180"/>
          <p:cNvSpPr>
            <a:spLocks noGrp="1"/>
          </p:cNvSpPr>
          <p:nvPr>
            <p:custDataLst>
              <p:tags r:id="rId17"/>
            </p:custDataLst>
          </p:nvPr>
        </p:nvSpPr>
        <p:spPr bwMode="auto">
          <a:xfrm>
            <a:off x="284163" y="55435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0EA8AF1-15AF-4643-830E-385542728853}" type="datetime'''''''''''''Г''''''П'''''''''''''''''''' ''''6''''9'''''''">
              <a:rPr lang="en-US" sz="1000"/>
              <a:pPr/>
              <a:t>ГП 69</a:t>
            </a:fld>
            <a:endParaRPr lang="ru-RU" sz="1000" dirty="0"/>
          </a:p>
        </p:txBody>
      </p:sp>
      <p:sp>
        <p:nvSpPr>
          <p:cNvPr id="310" name="Text Placeholder 178"/>
          <p:cNvSpPr>
            <a:spLocks noGrp="1"/>
          </p:cNvSpPr>
          <p:nvPr>
            <p:custDataLst>
              <p:tags r:id="rId18"/>
            </p:custDataLst>
          </p:nvPr>
        </p:nvSpPr>
        <p:spPr bwMode="auto">
          <a:xfrm>
            <a:off x="284163" y="527685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9C87A4B-0363-4BEC-A0CF-63DB2A7A1199}" type="datetime'Г''''П ''''''''''''''''''''''''2''''1''''4'''''''''''''''">
              <a:rPr lang="en-US" sz="1000"/>
              <a:pPr/>
              <a:t>ГП 214</a:t>
            </a:fld>
            <a:endParaRPr lang="ru-RU" sz="1000" dirty="0"/>
          </a:p>
        </p:txBody>
      </p:sp>
      <p:sp>
        <p:nvSpPr>
          <p:cNvPr id="308" name="Text Placeholder 176"/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284163" y="50006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A583813-C476-49F7-B587-5143D5BF7EFD}" type="datetime'Г''П'' ''''''''''''''''21''''''''''''''''''''''''''0'''''''''">
              <a:rPr lang="en-US" sz="1000"/>
              <a:pPr/>
              <a:t>ГП 210</a:t>
            </a:fld>
            <a:endParaRPr lang="ru-RU" sz="1000" dirty="0"/>
          </a:p>
        </p:txBody>
      </p:sp>
      <p:sp>
        <p:nvSpPr>
          <p:cNvPr id="309" name="Text Placeholder 177"/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284163" y="5138738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95B4710-4FB9-46B4-9CF9-0A58292395F2}" type="datetime'''''Г''''''П'''''''''''''' ''1''''''''''''0''''''''9'''''''''">
              <a:rPr lang="en-US" sz="1000"/>
              <a:pPr/>
              <a:t>ГП 109</a:t>
            </a:fld>
            <a:endParaRPr lang="ru-RU" sz="1000" dirty="0"/>
          </a:p>
        </p:txBody>
      </p:sp>
      <p:sp>
        <p:nvSpPr>
          <p:cNvPr id="306" name="Text Placeholder 174"/>
          <p:cNvSpPr>
            <a:spLocks noGrp="1"/>
          </p:cNvSpPr>
          <p:nvPr>
            <p:custDataLst>
              <p:tags r:id="rId21"/>
            </p:custDataLst>
          </p:nvPr>
        </p:nvSpPr>
        <p:spPr bwMode="auto">
          <a:xfrm>
            <a:off x="284163" y="4733925"/>
            <a:ext cx="4905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FEBE333-5892-48E3-AC2C-842A19A37ADB}" type="datetime'''''''''''''''''Д''''ГП'''''' ''1''25'''''''">
              <a:rPr lang="en-US" sz="1000"/>
              <a:pPr/>
              <a:t>ДГП 125</a:t>
            </a:fld>
            <a:endParaRPr lang="ru-RU" sz="1000" dirty="0"/>
          </a:p>
        </p:txBody>
      </p:sp>
      <p:sp>
        <p:nvSpPr>
          <p:cNvPr id="302" name="Text Placeholder 170"/>
          <p:cNvSpPr>
            <a:spLocks noGrp="1"/>
          </p:cNvSpPr>
          <p:nvPr>
            <p:custDataLst>
              <p:tags r:id="rId22"/>
            </p:custDataLst>
          </p:nvPr>
        </p:nvSpPr>
        <p:spPr bwMode="auto">
          <a:xfrm>
            <a:off x="284163" y="41910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744C9F2-DCAC-406D-B6D8-618E2CDF6950}" type="datetime'''''ГП'' 1''''''''''''''''3''4'''''''''">
              <a:rPr lang="en-US" sz="1000"/>
              <a:pPr/>
              <a:t>ГП 134</a:t>
            </a:fld>
            <a:endParaRPr lang="ru-RU" sz="1000" dirty="0"/>
          </a:p>
        </p:txBody>
      </p:sp>
      <p:sp>
        <p:nvSpPr>
          <p:cNvPr id="298" name="Text Placeholder 166"/>
          <p:cNvSpPr>
            <a:spLocks noGrp="1"/>
          </p:cNvSpPr>
          <p:nvPr>
            <p:custDataLst>
              <p:tags r:id="rId23"/>
            </p:custDataLst>
          </p:nvPr>
        </p:nvSpPr>
        <p:spPr bwMode="auto">
          <a:xfrm>
            <a:off x="284163" y="3648075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876033C-D8B0-465E-8331-17FB4AAAE6EF}" type="datetime'''''''''''''''''''ГП'''''''''''''''' ''''2'''''''''''''">
              <a:rPr lang="en-US" sz="1000"/>
              <a:pPr/>
              <a:t>ГП 2</a:t>
            </a:fld>
            <a:endParaRPr lang="ru-RU" sz="1000" dirty="0"/>
          </a:p>
        </p:txBody>
      </p:sp>
      <p:sp>
        <p:nvSpPr>
          <p:cNvPr id="292" name="Text Placeholder 160"/>
          <p:cNvSpPr>
            <a:spLocks noGrp="1"/>
          </p:cNvSpPr>
          <p:nvPr>
            <p:custDataLst>
              <p:tags r:id="rId24"/>
            </p:custDataLst>
          </p:nvPr>
        </p:nvSpPr>
        <p:spPr bwMode="auto">
          <a:xfrm>
            <a:off x="284163" y="28289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5CA5E04-FC9D-470F-ACD7-BAA65AABA7F9}" type="datetime'Г''''''''''''П ''''2''1''''''''''''''9'''">
              <a:rPr lang="en-US" sz="1000"/>
              <a:pPr/>
              <a:t>ГП 219</a:t>
            </a:fld>
            <a:endParaRPr lang="ru-RU" sz="1000" dirty="0"/>
          </a:p>
        </p:txBody>
      </p:sp>
      <p:sp>
        <p:nvSpPr>
          <p:cNvPr id="300" name="Text Placeholder 168"/>
          <p:cNvSpPr>
            <a:spLocks noGrp="1"/>
          </p:cNvSpPr>
          <p:nvPr>
            <p:custDataLst>
              <p:tags r:id="rId25"/>
            </p:custDataLst>
          </p:nvPr>
        </p:nvSpPr>
        <p:spPr bwMode="auto">
          <a:xfrm>
            <a:off x="284163" y="39147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015713F-A93B-483A-8E93-C70874297404}" type="datetime'''Г''''''''''''''''''П'''' ''''''''''5''2'''''''''''''">
              <a:rPr lang="en-US" sz="1000"/>
              <a:pPr/>
              <a:t>ГП 52</a:t>
            </a:fld>
            <a:endParaRPr lang="ru-RU" sz="1000" dirty="0"/>
          </a:p>
        </p:txBody>
      </p:sp>
      <p:sp>
        <p:nvSpPr>
          <p:cNvPr id="299" name="Text Placeholder 167"/>
          <p:cNvSpPr>
            <a:spLocks noGrp="1"/>
          </p:cNvSpPr>
          <p:nvPr>
            <p:custDataLst>
              <p:tags r:id="rId26"/>
            </p:custDataLst>
          </p:nvPr>
        </p:nvSpPr>
        <p:spPr bwMode="auto">
          <a:xfrm>
            <a:off x="284163" y="378142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E4A7549-3A3C-4E57-B391-A8D16FE87784}" type="datetime'''''''''''''''ГП ''''''''''''''''''''''''''''''6''8'''''''">
              <a:rPr lang="en-US" sz="1000"/>
              <a:pPr/>
              <a:t>ГП 68</a:t>
            </a:fld>
            <a:endParaRPr lang="ru-RU" sz="1000" dirty="0"/>
          </a:p>
        </p:txBody>
      </p:sp>
      <p:sp>
        <p:nvSpPr>
          <p:cNvPr id="305" name="Text Placeholder 173"/>
          <p:cNvSpPr>
            <a:spLocks noGrp="1"/>
          </p:cNvSpPr>
          <p:nvPr>
            <p:custDataLst>
              <p:tags r:id="rId27"/>
            </p:custDataLst>
          </p:nvPr>
        </p:nvSpPr>
        <p:spPr bwMode="auto">
          <a:xfrm>
            <a:off x="284163" y="4595813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8046A0F-63A1-49A3-8112-922AB92AB95D}" type="datetime'''''''''''''''''''Г''''''П'''''''''' ''2''''''''''1''2'">
              <a:rPr lang="en-US" sz="1000"/>
              <a:pPr/>
              <a:t>ГП 212</a:t>
            </a:fld>
            <a:endParaRPr lang="ru-RU" sz="1000" dirty="0"/>
          </a:p>
        </p:txBody>
      </p:sp>
      <p:sp>
        <p:nvSpPr>
          <p:cNvPr id="304" name="Text Placeholder 172"/>
          <p:cNvSpPr>
            <a:spLocks noGrp="1"/>
          </p:cNvSpPr>
          <p:nvPr>
            <p:custDataLst>
              <p:tags r:id="rId28"/>
            </p:custDataLst>
          </p:nvPr>
        </p:nvSpPr>
        <p:spPr bwMode="auto">
          <a:xfrm>
            <a:off x="284163" y="4457700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8EC64D5-6E3B-4E12-9570-C161DC59DF31}" type="datetime'''''''Г''П'''''''''''''''''' ''''''''5'''''''''''''">
              <a:rPr lang="en-US" sz="1000"/>
              <a:pPr/>
              <a:t>ГП 5</a:t>
            </a:fld>
            <a:endParaRPr lang="ru-RU" sz="1000" dirty="0"/>
          </a:p>
        </p:txBody>
      </p:sp>
      <p:sp>
        <p:nvSpPr>
          <p:cNvPr id="295" name="Text Placeholder 163"/>
          <p:cNvSpPr>
            <a:spLocks noGrp="1"/>
          </p:cNvSpPr>
          <p:nvPr>
            <p:custDataLst>
              <p:tags r:id="rId29"/>
            </p:custDataLst>
          </p:nvPr>
        </p:nvSpPr>
        <p:spPr bwMode="auto">
          <a:xfrm>
            <a:off x="284163" y="32385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717ED1D-0CB6-42C0-9B83-F7F790B7156D}" type="datetime'''''''''''Г''''''''''''''''П'''' 6''''''2'''''''''">
              <a:rPr lang="en-US" sz="1000"/>
              <a:pPr/>
              <a:t>ГП 62</a:t>
            </a:fld>
            <a:endParaRPr lang="ru-RU" sz="1000" dirty="0"/>
          </a:p>
        </p:txBody>
      </p:sp>
      <p:sp>
        <p:nvSpPr>
          <p:cNvPr id="303" name="Text Placeholder 171"/>
          <p:cNvSpPr>
            <a:spLocks noGrp="1"/>
          </p:cNvSpPr>
          <p:nvPr>
            <p:custDataLst>
              <p:tags r:id="rId30"/>
            </p:custDataLst>
          </p:nvPr>
        </p:nvSpPr>
        <p:spPr bwMode="auto">
          <a:xfrm>
            <a:off x="284163" y="432435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5CD7B20-1101-4F24-BF71-1CE878E26545}" type="datetime'Г''''П'''''' ''''''''''1''''''''''''''''''''9''''''''''5'''''">
              <a:rPr lang="en-US" sz="1000"/>
              <a:pPr/>
              <a:t>ГП 195</a:t>
            </a:fld>
            <a:endParaRPr lang="ru-RU" sz="1000" dirty="0"/>
          </a:p>
        </p:txBody>
      </p:sp>
      <p:sp>
        <p:nvSpPr>
          <p:cNvPr id="307" name="Text Placeholder 175"/>
          <p:cNvSpPr>
            <a:spLocks noGrp="1"/>
          </p:cNvSpPr>
          <p:nvPr>
            <p:custDataLst>
              <p:tags r:id="rId31"/>
            </p:custDataLst>
          </p:nvPr>
        </p:nvSpPr>
        <p:spPr bwMode="auto">
          <a:xfrm>
            <a:off x="284163" y="48672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3003606-BBF9-43D6-B92F-080FCC8F1F5D}" type="datetime'''''''''Г''''''''''''''П'''''''''''''' 6''''''6'''''''''''''">
              <a:rPr lang="en-US" sz="1000"/>
              <a:pPr/>
              <a:t>ГП 66</a:t>
            </a:fld>
            <a:endParaRPr lang="ru-RU" sz="1000" dirty="0"/>
          </a:p>
        </p:txBody>
      </p:sp>
      <p:sp>
        <p:nvSpPr>
          <p:cNvPr id="301" name="Text Placeholder 169"/>
          <p:cNvSpPr>
            <a:spLocks noGrp="1"/>
          </p:cNvSpPr>
          <p:nvPr>
            <p:custDataLst>
              <p:tags r:id="rId32"/>
            </p:custDataLst>
          </p:nvPr>
        </p:nvSpPr>
        <p:spPr bwMode="auto">
          <a:xfrm>
            <a:off x="284163" y="4052888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BDDC64E-BEEC-4665-8CFD-0F28CE1789B5}" type="datetime'''''''Г''П'''''''''''''''''''''''''''''''''' ''''23'''''''''''">
              <a:rPr lang="en-US" sz="1000"/>
              <a:pPr/>
              <a:t>ГП 23</a:t>
            </a:fld>
            <a:endParaRPr lang="ru-RU" sz="1000" dirty="0"/>
          </a:p>
        </p:txBody>
      </p:sp>
      <p:sp>
        <p:nvSpPr>
          <p:cNvPr id="296" name="Text Placeholder 164"/>
          <p:cNvSpPr>
            <a:spLocks noGrp="1"/>
          </p:cNvSpPr>
          <p:nvPr>
            <p:custDataLst>
              <p:tags r:id="rId33"/>
            </p:custDataLst>
          </p:nvPr>
        </p:nvSpPr>
        <p:spPr bwMode="auto">
          <a:xfrm>
            <a:off x="284163" y="33718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886B07-CF47-421A-BDB1-C427C6ECA27A}" type="datetime'''''Г''''''''''П ''''''''1''''''''''''''''9'''''''">
              <a:rPr lang="en-US" sz="1000"/>
              <a:pPr/>
              <a:t>ГП 19</a:t>
            </a:fld>
            <a:endParaRPr lang="ru-RU" sz="1000" dirty="0"/>
          </a:p>
        </p:txBody>
      </p:sp>
      <p:sp>
        <p:nvSpPr>
          <p:cNvPr id="297" name="Text Placeholder 165"/>
          <p:cNvSpPr>
            <a:spLocks noGrp="1"/>
          </p:cNvSpPr>
          <p:nvPr>
            <p:custDataLst>
              <p:tags r:id="rId34"/>
            </p:custDataLst>
          </p:nvPr>
        </p:nvSpPr>
        <p:spPr bwMode="auto">
          <a:xfrm>
            <a:off x="284163" y="3509963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7D94E27-B7FB-4B78-921D-67A7F2F0E56E}" type="datetime'''''''''''''''''''''''Г''''''''П'''' ''''''''''''9'''''">
              <a:rPr lang="en-US" sz="1000"/>
              <a:pPr/>
              <a:t>ГП 9</a:t>
            </a:fld>
            <a:endParaRPr lang="ru-RU" sz="1000" dirty="0"/>
          </a:p>
        </p:txBody>
      </p:sp>
      <p:sp>
        <p:nvSpPr>
          <p:cNvPr id="294" name="Text Placeholder 162"/>
          <p:cNvSpPr>
            <a:spLocks noGrp="1"/>
          </p:cNvSpPr>
          <p:nvPr>
            <p:custDataLst>
              <p:tags r:id="rId35"/>
            </p:custDataLst>
          </p:nvPr>
        </p:nvSpPr>
        <p:spPr bwMode="auto">
          <a:xfrm>
            <a:off x="284163" y="3100388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4FEB966-6796-47DA-B3DE-3A9EA2C31D55}" type="datetime'''''''''''''Г''''П'''''''''''''''''''''''''''' ''''''1''07'''">
              <a:rPr lang="en-US" sz="1000"/>
              <a:pPr/>
              <a:t>ГП 107</a:t>
            </a:fld>
            <a:endParaRPr lang="ru-RU" sz="1000" dirty="0"/>
          </a:p>
        </p:txBody>
      </p:sp>
      <p:sp>
        <p:nvSpPr>
          <p:cNvPr id="293" name="Text Placeholder 161"/>
          <p:cNvSpPr>
            <a:spLocks noGrp="1"/>
          </p:cNvSpPr>
          <p:nvPr>
            <p:custDataLst>
              <p:tags r:id="rId36"/>
            </p:custDataLst>
          </p:nvPr>
        </p:nvSpPr>
        <p:spPr bwMode="auto">
          <a:xfrm>
            <a:off x="284163" y="2962275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7E5917D-02A7-414C-9936-BD909FB04BEB}" type="datetime'''Г''''''''''''''''''''П'''''' ''''3'''''''''''''''''">
              <a:rPr lang="en-US" sz="1000"/>
              <a:pPr/>
              <a:t>ГП 3</a:t>
            </a:fld>
            <a:endParaRPr lang="ru-RU" sz="1000" dirty="0"/>
          </a:p>
        </p:txBody>
      </p:sp>
      <p:sp>
        <p:nvSpPr>
          <p:cNvPr id="291" name="Text Placeholder 159"/>
          <p:cNvSpPr>
            <a:spLocks noGrp="1"/>
          </p:cNvSpPr>
          <p:nvPr>
            <p:custDataLst>
              <p:tags r:id="rId37"/>
            </p:custDataLst>
          </p:nvPr>
        </p:nvSpPr>
        <p:spPr bwMode="auto">
          <a:xfrm>
            <a:off x="284163" y="269557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63AE53B-864E-410D-8F29-C45783BADB04}" type="datetime'''''''Г''''''''''''П'''''''' ''''''''2''''''''0''''9'''''''''">
              <a:rPr lang="en-US" sz="1000"/>
              <a:pPr/>
              <a:t>ГП 209</a:t>
            </a:fld>
            <a:endParaRPr lang="ru-RU" sz="1000" dirty="0"/>
          </a:p>
        </p:txBody>
      </p:sp>
      <p:sp>
        <p:nvSpPr>
          <p:cNvPr id="290" name="Text Placeholder 158"/>
          <p:cNvSpPr>
            <a:spLocks noGrp="1"/>
          </p:cNvSpPr>
          <p:nvPr>
            <p:custDataLst>
              <p:tags r:id="rId38"/>
            </p:custDataLst>
          </p:nvPr>
        </p:nvSpPr>
        <p:spPr bwMode="auto">
          <a:xfrm>
            <a:off x="284163" y="2557463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1DEA315-2A93-4861-AD26-75F052D8AA0E}" type="datetime'''''''''Г''''''''''П'''''''''''' ''''''''''6''''7'''''">
              <a:rPr lang="en-US" sz="1000"/>
              <a:pPr/>
              <a:t>ГП 67</a:t>
            </a:fld>
            <a:endParaRPr lang="ru-RU" sz="1000" dirty="0"/>
          </a:p>
        </p:txBody>
      </p:sp>
      <p:sp>
        <p:nvSpPr>
          <p:cNvPr id="289" name="Text Placeholder 157"/>
          <p:cNvSpPr>
            <a:spLocks noGrp="1"/>
          </p:cNvSpPr>
          <p:nvPr>
            <p:custDataLst>
              <p:tags r:id="rId39"/>
            </p:custDataLst>
          </p:nvPr>
        </p:nvSpPr>
        <p:spPr bwMode="auto">
          <a:xfrm>
            <a:off x="284163" y="24193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4A68B90-864B-4B88-953A-2094452B4C05}" type="datetime'''''''''''''''''''''''Г''''П ''''''''''''1''''''''''2'''''''''">
              <a:rPr lang="en-US" sz="1000"/>
              <a:pPr/>
              <a:t>ГП 12</a:t>
            </a:fld>
            <a:endParaRPr lang="ru-RU" sz="1000" dirty="0"/>
          </a:p>
        </p:txBody>
      </p:sp>
      <p:sp>
        <p:nvSpPr>
          <p:cNvPr id="287" name="Text Placeholder 155"/>
          <p:cNvSpPr>
            <a:spLocks noGrp="1"/>
          </p:cNvSpPr>
          <p:nvPr>
            <p:custDataLst>
              <p:tags r:id="rId40"/>
            </p:custDataLst>
          </p:nvPr>
        </p:nvSpPr>
        <p:spPr bwMode="auto">
          <a:xfrm>
            <a:off x="284163" y="2152650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DA92DCD-0D1A-4E02-92EA-64D49B6FBA10}" type="datetime'''''''Г''''''''П'''''''''' 8'''''''''''''''''''''''">
              <a:rPr lang="en-US" sz="1000"/>
              <a:pPr/>
              <a:t>ГП 8</a:t>
            </a:fld>
            <a:endParaRPr lang="ru-RU" sz="1000" dirty="0"/>
          </a:p>
        </p:txBody>
      </p:sp>
      <p:sp>
        <p:nvSpPr>
          <p:cNvPr id="286" name="Text Placeholder 154"/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284163" y="2014538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ECE002-A407-490A-BA77-3A75DE2FE5C0}" type="datetime'''Д''К''''Ц'''''' ''''''''3'''''''''''''''''''''''''">
              <a:rPr lang="en-US" sz="1000"/>
              <a:pPr/>
              <a:t>ДКЦ 3</a:t>
            </a:fld>
            <a:endParaRPr lang="ru-RU" sz="1000" dirty="0"/>
          </a:p>
        </p:txBody>
      </p:sp>
      <p:sp>
        <p:nvSpPr>
          <p:cNvPr id="285" name="Text Placeholder 153"/>
          <p:cNvSpPr>
            <a:spLocks noGrp="1"/>
          </p:cNvSpPr>
          <p:nvPr>
            <p:custDataLst>
              <p:tags r:id="rId42"/>
            </p:custDataLst>
          </p:nvPr>
        </p:nvSpPr>
        <p:spPr bwMode="auto">
          <a:xfrm>
            <a:off x="284163" y="1876425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0889AB5-3827-4FD8-A53B-DDDC5C9E8C60}" type="datetime'''''''''''''''''''''''''Д''''''''К''Ц'''''' 1'''''''''''''">
              <a:rPr lang="en-US" sz="1000"/>
              <a:pPr/>
              <a:t>ДКЦ 1</a:t>
            </a:fld>
            <a:endParaRPr lang="ru-RU" sz="1000" dirty="0"/>
          </a:p>
        </p:txBody>
      </p:sp>
      <p:sp>
        <p:nvSpPr>
          <p:cNvPr id="288" name="Text Placeholder 156"/>
          <p:cNvSpPr>
            <a:spLocks noGrp="1"/>
          </p:cNvSpPr>
          <p:nvPr>
            <p:custDataLst>
              <p:tags r:id="rId43"/>
            </p:custDataLst>
          </p:nvPr>
        </p:nvSpPr>
        <p:spPr bwMode="auto">
          <a:xfrm>
            <a:off x="284163" y="22860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9B70E6-74E4-4E8F-BB68-A196A84BC093}" type="datetime'''''''''''Г''''''''''''П'''''''''''''''' ''''''4''''5'">
              <a:rPr lang="en-US" sz="1000"/>
              <a:pPr/>
              <a:t>ГП 45</a:t>
            </a:fld>
            <a:endParaRPr lang="ru-RU" sz="1000" dirty="0"/>
          </a:p>
        </p:txBody>
      </p:sp>
      <p:sp>
        <p:nvSpPr>
          <p:cNvPr id="284" name="Text Placeholder 152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284163" y="174307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22857EF-FEE8-404A-8912-C09536306ACA}" type="datetime'''Г''''''''П'''''' ''''''2''''''''2''''0'''">
              <a:rPr lang="en-US" sz="1000"/>
              <a:pPr/>
              <a:t>ГП 220</a:t>
            </a:fld>
            <a:endParaRPr lang="ru-RU" sz="1000" dirty="0"/>
          </a:p>
        </p:txBody>
      </p:sp>
      <p:sp>
        <p:nvSpPr>
          <p:cNvPr id="283" name="Text Placeholder 151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284163" y="1609725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C25F89B-061A-4D91-866A-4BADB690ABB9}" type="datetime'''''Д''''''''К''''''''''''Ц'''' 4'''''''''''">
              <a:rPr lang="en-US" sz="1000"/>
              <a:pPr/>
              <a:t>ДКЦ 4</a:t>
            </a:fld>
            <a:endParaRPr lang="ru-RU" sz="1000" dirty="0"/>
          </a:p>
        </p:txBody>
      </p:sp>
      <p:sp>
        <p:nvSpPr>
          <p:cNvPr id="281" name="Text Placeholder 149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84163" y="13335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8E04CAF-EBD5-451F-ACF6-340494AE001E}" type="datetime'''''''''''''''''''''Г''''''''''П'''''' 3''''''''''6'''''''''">
              <a:rPr lang="en-US" sz="1000"/>
              <a:pPr/>
              <a:t>ГП 36</a:t>
            </a:fld>
            <a:endParaRPr lang="ru-RU" sz="1000" dirty="0"/>
          </a:p>
        </p:txBody>
      </p:sp>
      <p:sp>
        <p:nvSpPr>
          <p:cNvPr id="282" name="Text Placeholder 150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284163" y="1471613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16E318A-DFEC-4B26-B648-CC15A7E9950E}" type="datetime'''''''''''''''''''''Д''К''Ц ''''''''''''''''''6'">
              <a:rPr lang="en-US" sz="1000"/>
              <a:pPr/>
              <a:t>ДКЦ 6</a:t>
            </a:fld>
            <a:endParaRPr lang="ru-RU" sz="1000" dirty="0"/>
          </a:p>
        </p:txBody>
      </p:sp>
      <p:graphicFrame>
        <p:nvGraphicFramePr>
          <p:cNvPr id="139" name="Object 138"/>
          <p:cNvGraphicFramePr>
            <a:graphicFrameLocks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1698550733"/>
              </p:ext>
            </p:extLst>
          </p:nvPr>
        </p:nvGraphicFramePr>
        <p:xfrm>
          <a:off x="3846513" y="1184275"/>
          <a:ext cx="2908300" cy="49276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0181" name="Диаграмма" r:id="rId123" imgW="2908300" imgH="4927600" progId="MSGraph.Chart.8">
                  <p:embed followColorScheme="full"/>
                </p:oleObj>
              </mc:Choice>
              <mc:Fallback>
                <p:oleObj name="Диаграмма" r:id="rId123" imgW="2908300" imgH="49276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4"/>
                      <a:stretch>
                        <a:fillRect/>
                      </a:stretch>
                    </p:blipFill>
                    <p:spPr>
                      <a:xfrm>
                        <a:off x="3846513" y="1184275"/>
                        <a:ext cx="2908300" cy="492760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26" name="Straight Connector 25"/>
          <p:cNvCxnSpPr/>
          <p:nvPr>
            <p:custDataLst>
              <p:tags r:id="rId49"/>
            </p:custDataLst>
          </p:nvPr>
        </p:nvCxnSpPr>
        <p:spPr bwMode="gray">
          <a:xfrm>
            <a:off x="4352925" y="3013075"/>
            <a:ext cx="0" cy="3333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/>
          <p:cNvCxnSpPr/>
          <p:nvPr>
            <p:custDataLst>
              <p:tags r:id="rId50"/>
            </p:custDataLst>
          </p:nvPr>
        </p:nvCxnSpPr>
        <p:spPr bwMode="gray">
          <a:xfrm>
            <a:off x="4352925" y="3419475"/>
            <a:ext cx="0" cy="3968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>
            <p:custDataLst>
              <p:tags r:id="rId51"/>
            </p:custDataLst>
          </p:nvPr>
        </p:nvCxnSpPr>
        <p:spPr bwMode="gray">
          <a:xfrm>
            <a:off x="4352925" y="4029075"/>
            <a:ext cx="0" cy="5715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Connector 31"/>
          <p:cNvCxnSpPr/>
          <p:nvPr>
            <p:custDataLst>
              <p:tags r:id="rId52"/>
            </p:custDataLst>
          </p:nvPr>
        </p:nvCxnSpPr>
        <p:spPr bwMode="gray">
          <a:xfrm>
            <a:off x="4352925" y="4760913"/>
            <a:ext cx="0" cy="3968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3" name="Straight Connector 32"/>
          <p:cNvCxnSpPr/>
          <p:nvPr>
            <p:custDataLst>
              <p:tags r:id="rId53"/>
            </p:custDataLst>
          </p:nvPr>
        </p:nvCxnSpPr>
        <p:spPr bwMode="gray">
          <a:xfrm>
            <a:off x="4352925" y="4953000"/>
            <a:ext cx="0" cy="5715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>
            <p:custDataLst>
              <p:tags r:id="rId54"/>
            </p:custDataLst>
          </p:nvPr>
        </p:nvCxnSpPr>
        <p:spPr bwMode="gray">
          <a:xfrm>
            <a:off x="4352925" y="4351338"/>
            <a:ext cx="0" cy="3175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>
            <p:custDataLst>
              <p:tags r:id="rId55"/>
            </p:custDataLst>
          </p:nvPr>
        </p:nvCxnSpPr>
        <p:spPr bwMode="gray">
          <a:xfrm>
            <a:off x="4352925" y="3724275"/>
            <a:ext cx="0" cy="4445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7" name="Right Arrow 216"/>
          <p:cNvSpPr/>
          <p:nvPr>
            <p:custDataLst>
              <p:tags r:id="rId56"/>
            </p:custDataLst>
          </p:nvPr>
        </p:nvSpPr>
        <p:spPr bwMode="auto">
          <a:xfrm rot="16200000">
            <a:off x="4289425" y="6000750"/>
            <a:ext cx="128588" cy="152400"/>
          </a:xfrm>
          <a:prstGeom prst="rightArrow">
            <a:avLst>
              <a:gd name="adj1" fmla="val 100000"/>
              <a:gd name="adj2" fmla="val 100000"/>
            </a:avLst>
          </a:prstGeom>
          <a:solidFill>
            <a:schemeClr val="tx2"/>
          </a:solidFill>
          <a:ln w="9525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xmlns="" w="9525" cap="flat" cmpd="sng" algn="ctr">
                <a:solidFill>
                  <a:schemeClr val="accent6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900" dirty="0" err="1" smtClean="0">
              <a:solidFill>
                <a:schemeClr val="tx1"/>
              </a:solidFill>
            </a:endParaRPr>
          </a:p>
        </p:txBody>
      </p:sp>
      <p:cxnSp>
        <p:nvCxnSpPr>
          <p:cNvPr id="228" name="Straight Connector 227"/>
          <p:cNvCxnSpPr/>
          <p:nvPr>
            <p:custDataLst>
              <p:tags r:id="rId57"/>
            </p:custDataLst>
          </p:nvPr>
        </p:nvCxnSpPr>
        <p:spPr bwMode="gray">
          <a:xfrm>
            <a:off x="4352925" y="5810250"/>
            <a:ext cx="0" cy="1524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8" name="Straight Connector 217"/>
          <p:cNvCxnSpPr/>
          <p:nvPr>
            <p:custDataLst>
              <p:tags r:id="rId58"/>
            </p:custDataLst>
          </p:nvPr>
        </p:nvCxnSpPr>
        <p:spPr bwMode="gray">
          <a:xfrm>
            <a:off x="4352925" y="1343025"/>
            <a:ext cx="0" cy="129698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Connector 10"/>
          <p:cNvCxnSpPr/>
          <p:nvPr>
            <p:custDataLst>
              <p:tags r:id="rId59"/>
            </p:custDataLst>
          </p:nvPr>
        </p:nvCxnSpPr>
        <p:spPr bwMode="gray">
          <a:xfrm>
            <a:off x="4260850" y="5905500"/>
            <a:ext cx="2124075" cy="0"/>
          </a:xfrm>
          <a:prstGeom prst="line">
            <a:avLst/>
          </a:prstGeom>
          <a:ln w="38100">
            <a:solidFill>
              <a:schemeClr val="tx2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Connector 9"/>
          <p:cNvCxnSpPr/>
          <p:nvPr>
            <p:custDataLst>
              <p:tags r:id="rId60"/>
            </p:custDataLst>
          </p:nvPr>
        </p:nvCxnSpPr>
        <p:spPr bwMode="gray">
          <a:xfrm>
            <a:off x="6381750" y="1430338"/>
            <a:ext cx="0" cy="4532313"/>
          </a:xfrm>
          <a:prstGeom prst="line">
            <a:avLst/>
          </a:prstGeom>
          <a:ln w="3175">
            <a:solidFill>
              <a:srgbClr val="808080"/>
            </a:solidFill>
            <a:prstDash val="lg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61"/>
            </p:custDataLst>
          </p:nvPr>
        </p:nvCxnSpPr>
        <p:spPr bwMode="gray">
          <a:xfrm>
            <a:off x="4352925" y="5600700"/>
            <a:ext cx="0" cy="5715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62"/>
            </p:custDataLst>
          </p:nvPr>
        </p:nvCxnSpPr>
        <p:spPr bwMode="gray">
          <a:xfrm>
            <a:off x="4352925" y="5275263"/>
            <a:ext cx="0" cy="39688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63"/>
            </p:custDataLst>
          </p:nvPr>
        </p:nvCxnSpPr>
        <p:spPr bwMode="gray">
          <a:xfrm flipH="1">
            <a:off x="4152900" y="3752850"/>
            <a:ext cx="352425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/>
          <p:cNvCxnSpPr/>
          <p:nvPr>
            <p:custDataLst>
              <p:tags r:id="rId64"/>
            </p:custDataLst>
          </p:nvPr>
        </p:nvCxnSpPr>
        <p:spPr bwMode="gray">
          <a:xfrm flipH="1">
            <a:off x="4333875" y="2519363"/>
            <a:ext cx="3429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/>
          <p:nvPr>
            <p:custDataLst>
              <p:tags r:id="rId65"/>
            </p:custDataLst>
          </p:nvPr>
        </p:nvCxnSpPr>
        <p:spPr bwMode="gray">
          <a:xfrm flipH="1">
            <a:off x="4400550" y="2105025"/>
            <a:ext cx="32385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1" name="Straight Connector 80"/>
          <p:cNvCxnSpPr/>
          <p:nvPr>
            <p:custDataLst>
              <p:tags r:id="rId66"/>
            </p:custDataLst>
          </p:nvPr>
        </p:nvCxnSpPr>
        <p:spPr bwMode="gray">
          <a:xfrm flipH="1">
            <a:off x="4171950" y="3443288"/>
            <a:ext cx="352425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Straight Connector 67"/>
          <p:cNvCxnSpPr/>
          <p:nvPr>
            <p:custDataLst>
              <p:tags r:id="rId67"/>
            </p:custDataLst>
          </p:nvPr>
        </p:nvCxnSpPr>
        <p:spPr bwMode="gray">
          <a:xfrm flipH="1">
            <a:off x="4219575" y="3028950"/>
            <a:ext cx="342900" cy="0"/>
          </a:xfrm>
          <a:prstGeom prst="line">
            <a:avLst/>
          </a:prstGeom>
          <a:ln w="317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 useBgFill="1">
        <p:nvSpPr>
          <p:cNvPr id="193" name="Text Placeholder 17"/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5006975" y="1355725"/>
            <a:ext cx="241300" cy="152400"/>
          </a:xfrm>
          <a:prstGeom prst="rect">
            <a:avLst/>
          </a:prstGeom>
          <a:ln w="9525">
            <a:noFill/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15875" tIns="0" rIns="15875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E9CBB87-F1FF-4DA0-B286-309923A9142F}" type="datetime'''''''''''''''''''''''''4''''''''''12'''''''''''''''">
              <a:rPr lang="en-US" sz="100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412</a:t>
            </a:fld>
            <a:endParaRPr lang="ru-RU" sz="1000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241" name="Text Placeholder 109"/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3379788" y="1828800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6FE0ADE-D462-4D7B-A442-C6C94DB0033D}" type="datetime'''''''''Д''''''''''''К''''''''''''''Ц'''''''''' 2'">
              <a:rPr lang="en-US" sz="1000"/>
              <a:pPr/>
              <a:t>ДКЦ 2</a:t>
            </a:fld>
            <a:endParaRPr lang="ru-RU" sz="1000" dirty="0"/>
          </a:p>
        </p:txBody>
      </p:sp>
      <p:sp>
        <p:nvSpPr>
          <p:cNvPr id="242" name="Text Placeholder 110"/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379788" y="1928813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E2E594D-1A3D-4237-A2D1-4D76733C4C4F}" type="datetime'''''''''''''''''''''Г''''''''П'' 2''''''''''0''''9'''''''''">
              <a:rPr lang="en-US" sz="1000"/>
              <a:pPr/>
              <a:t>ГП 209</a:t>
            </a:fld>
            <a:endParaRPr lang="ru-RU" sz="1000" dirty="0"/>
          </a:p>
        </p:txBody>
      </p:sp>
      <p:sp>
        <p:nvSpPr>
          <p:cNvPr id="251" name="Text Placeholder 119"/>
          <p:cNvSpPr>
            <a:spLocks noGrp="1"/>
          </p:cNvSpPr>
          <p:nvPr>
            <p:custDataLst>
              <p:tags r:id="rId71"/>
            </p:custDataLst>
          </p:nvPr>
        </p:nvSpPr>
        <p:spPr bwMode="auto">
          <a:xfrm>
            <a:off x="3379788" y="2852738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2C0E06E-6E8F-4407-BA1E-BE50E3513751}" type="datetime'''''''''''''''Г''''П ''''''1''''''''''''''8''''''''0'''">
              <a:rPr lang="en-US" sz="1000"/>
              <a:pPr/>
              <a:t>ГП 180</a:t>
            </a:fld>
            <a:endParaRPr lang="ru-RU" sz="1000" dirty="0"/>
          </a:p>
        </p:txBody>
      </p:sp>
      <p:sp>
        <p:nvSpPr>
          <p:cNvPr id="249" name="Text Placeholder 117"/>
          <p:cNvSpPr>
            <a:spLocks noGrp="1"/>
          </p:cNvSpPr>
          <p:nvPr>
            <p:custDataLst>
              <p:tags r:id="rId72"/>
            </p:custDataLst>
          </p:nvPr>
        </p:nvSpPr>
        <p:spPr bwMode="auto">
          <a:xfrm>
            <a:off x="3379788" y="264795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774B3D6-69D6-4E63-B8E8-A1CF8145C4DD}" type="datetime'''''Г''''''''''П'' ''''''''''12''9'''''''''''''">
              <a:rPr lang="en-US" sz="1000"/>
              <a:pPr/>
              <a:t>ГП 129</a:t>
            </a:fld>
            <a:endParaRPr lang="ru-RU" sz="1000" dirty="0"/>
          </a:p>
        </p:txBody>
      </p:sp>
      <p:sp>
        <p:nvSpPr>
          <p:cNvPr id="246" name="Text Placeholder 114"/>
          <p:cNvSpPr>
            <a:spLocks noGrp="1"/>
          </p:cNvSpPr>
          <p:nvPr>
            <p:custDataLst>
              <p:tags r:id="rId73"/>
            </p:custDataLst>
          </p:nvPr>
        </p:nvSpPr>
        <p:spPr bwMode="auto">
          <a:xfrm>
            <a:off x="3379788" y="23431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FEC86DB-27FE-4B37-BC51-77FD6190EB41}" type="datetime'Г''''П'' ''''''''''''6''''''''''4'''''''''''">
              <a:rPr lang="en-US" sz="1000"/>
              <a:pPr/>
              <a:t>ГП 64</a:t>
            </a:fld>
            <a:endParaRPr lang="ru-RU" sz="1000" dirty="0"/>
          </a:p>
        </p:txBody>
      </p:sp>
      <p:sp>
        <p:nvSpPr>
          <p:cNvPr id="244" name="Text Placeholder 112"/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379788" y="2133600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EAD7CDA-832A-4296-AA14-F860B88E5A33}" type="datetime'''''''''''''''''Г''П'' ''''''''''''''''''''''''''8'''''''''">
              <a:rPr lang="en-US" sz="1000"/>
              <a:pPr/>
              <a:t>ГП 8</a:t>
            </a:fld>
            <a:endParaRPr lang="ru-RU" sz="1000" dirty="0"/>
          </a:p>
        </p:txBody>
      </p:sp>
      <p:sp>
        <p:nvSpPr>
          <p:cNvPr id="250" name="Text Placeholder 118"/>
          <p:cNvSpPr>
            <a:spLocks noGrp="1"/>
          </p:cNvSpPr>
          <p:nvPr>
            <p:custDataLst>
              <p:tags r:id="rId75"/>
            </p:custDataLst>
          </p:nvPr>
        </p:nvSpPr>
        <p:spPr bwMode="auto">
          <a:xfrm>
            <a:off x="3379788" y="275272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6B0C086-447A-4F87-8233-0A2308FA77A1}" type="datetime'''''Г''''''''''''''''''''П'''''''''''' ''1''''''1'''''''''''">
              <a:rPr lang="en-US" sz="1000"/>
              <a:pPr/>
              <a:t>ГП 11</a:t>
            </a:fld>
            <a:endParaRPr lang="ru-RU" sz="1000" dirty="0"/>
          </a:p>
        </p:txBody>
      </p:sp>
      <p:sp>
        <p:nvSpPr>
          <p:cNvPr id="248" name="Text Placeholder 116"/>
          <p:cNvSpPr>
            <a:spLocks noGrp="1"/>
          </p:cNvSpPr>
          <p:nvPr>
            <p:custDataLst>
              <p:tags r:id="rId76"/>
            </p:custDataLst>
          </p:nvPr>
        </p:nvSpPr>
        <p:spPr bwMode="auto">
          <a:xfrm>
            <a:off x="3379788" y="25431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3F0B9AE-13B6-491C-99B0-15DA93CEC2E8}" type="datetime'''''Г''''''''''''''П'''' ''''6''''2'''''''''''''''''''''''''''">
              <a:rPr lang="en-US" sz="1000"/>
              <a:pPr/>
              <a:t>ГП 62</a:t>
            </a:fld>
            <a:endParaRPr lang="ru-RU" sz="1000" dirty="0"/>
          </a:p>
        </p:txBody>
      </p:sp>
      <p:sp>
        <p:nvSpPr>
          <p:cNvPr id="247" name="Text Placeholder 115"/>
          <p:cNvSpPr>
            <a:spLocks noGrp="1"/>
          </p:cNvSpPr>
          <p:nvPr>
            <p:custDataLst>
              <p:tags r:id="rId77"/>
            </p:custDataLst>
          </p:nvPr>
        </p:nvSpPr>
        <p:spPr bwMode="auto">
          <a:xfrm>
            <a:off x="3379788" y="2443163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86B48F8-1F6B-4783-B413-DEF7CFAB9C5F}" type="datetime'''''''Г''''''П'''''' ''''''''1''''''''70'''''''''''''''''''''">
              <a:rPr lang="en-US" sz="1000"/>
              <a:pPr/>
              <a:t>ГП 170</a:t>
            </a:fld>
            <a:endParaRPr lang="ru-RU" sz="1000" dirty="0"/>
          </a:p>
        </p:txBody>
      </p:sp>
      <p:sp>
        <p:nvSpPr>
          <p:cNvPr id="243" name="Text Placeholder 111"/>
          <p:cNvSpPr>
            <a:spLocks noGrp="1"/>
          </p:cNvSpPr>
          <p:nvPr>
            <p:custDataLst>
              <p:tags r:id="rId78"/>
            </p:custDataLst>
          </p:nvPr>
        </p:nvSpPr>
        <p:spPr bwMode="auto">
          <a:xfrm>
            <a:off x="3379788" y="20288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94935B3-433E-4653-8C6C-400B7C0E9F44}" type="datetime'''Г''П'''''''''''''''' ''''''220'''''''''''''">
              <a:rPr lang="en-US" sz="1000"/>
              <a:pPr/>
              <a:t>ГП 220</a:t>
            </a:fld>
            <a:endParaRPr lang="ru-RU" sz="1000" dirty="0"/>
          </a:p>
        </p:txBody>
      </p:sp>
      <p:sp>
        <p:nvSpPr>
          <p:cNvPr id="239" name="Text Placeholder 107"/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3379788" y="1619250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8EED654-2E33-456F-8817-E7FB04ADDBFA}" type="datetime'''''''''''Д''''''''''К''Ц'''''''''' ''''4'''''''''''''''''">
              <a:rPr lang="en-US" sz="1000"/>
              <a:pPr/>
              <a:t>ДКЦ 4</a:t>
            </a:fld>
            <a:endParaRPr lang="ru-RU" sz="1000" dirty="0"/>
          </a:p>
        </p:txBody>
      </p:sp>
      <p:sp>
        <p:nvSpPr>
          <p:cNvPr id="238" name="Text Placeholder 106"/>
          <p:cNvSpPr>
            <a:spLocks noGrp="1"/>
          </p:cNvSpPr>
          <p:nvPr>
            <p:custDataLst>
              <p:tags r:id="rId80"/>
            </p:custDataLst>
          </p:nvPr>
        </p:nvSpPr>
        <p:spPr bwMode="auto">
          <a:xfrm>
            <a:off x="3379788" y="1519238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BEBA806-4A0F-4B5F-A448-624D8D774902}" type="datetime'''''''''''''''''''ДК''''''''Ц'''' ''''''''''''6'''">
              <a:rPr lang="en-US" sz="1000"/>
              <a:pPr/>
              <a:t>ДКЦ 6</a:t>
            </a:fld>
            <a:endParaRPr lang="ru-RU" sz="1000" dirty="0"/>
          </a:p>
        </p:txBody>
      </p:sp>
      <p:sp>
        <p:nvSpPr>
          <p:cNvPr id="237" name="Text Placeholder 105"/>
          <p:cNvSpPr>
            <a:spLocks noGrp="1"/>
          </p:cNvSpPr>
          <p:nvPr>
            <p:custDataLst>
              <p:tags r:id="rId81"/>
            </p:custDataLst>
          </p:nvPr>
        </p:nvSpPr>
        <p:spPr bwMode="auto">
          <a:xfrm>
            <a:off x="3379788" y="1419225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C17FC05-B763-40F1-8DF2-FEC0E6B5C848}" type="datetime'''''Д''К''''''''''''''''''''''''''''''''''Ц 5'''''''">
              <a:rPr lang="en-US" sz="1000"/>
              <a:pPr/>
              <a:t>ДКЦ 5</a:t>
            </a:fld>
            <a:endParaRPr lang="ru-RU" sz="1000" dirty="0"/>
          </a:p>
        </p:txBody>
      </p:sp>
      <p:sp>
        <p:nvSpPr>
          <p:cNvPr id="236" name="Text Placeholder 104"/>
          <p:cNvSpPr>
            <a:spLocks noGrp="1"/>
          </p:cNvSpPr>
          <p:nvPr>
            <p:custDataLst>
              <p:tags r:id="rId82"/>
            </p:custDataLst>
          </p:nvPr>
        </p:nvSpPr>
        <p:spPr bwMode="auto">
          <a:xfrm>
            <a:off x="3379788" y="1314450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40855605-C870-44F5-9EC8-7821850E6C17}" type="datetime'Д''''''''К''''''''''''''''''Ц'''''''''''''' ''''''''''1'''''">
              <a:rPr lang="en-US" sz="1000"/>
              <a:pPr/>
              <a:t>ДКЦ 1</a:t>
            </a:fld>
            <a:endParaRPr lang="ru-RU" sz="1000" dirty="0"/>
          </a:p>
        </p:txBody>
      </p:sp>
      <p:sp>
        <p:nvSpPr>
          <p:cNvPr id="280" name="Text Placeholder 148"/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3379788" y="58293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054A77-ED4C-45FB-B7F0-2A57A3EE1319}" type="datetime'''''Г''''П'''''''' ''''''''''''''''''''2''''1''''4'''''''''''">
              <a:rPr lang="en-US" sz="1000"/>
              <a:pPr/>
              <a:t>ГП 214</a:t>
            </a:fld>
            <a:endParaRPr lang="ru-RU" sz="1000" dirty="0"/>
          </a:p>
        </p:txBody>
      </p:sp>
      <p:sp>
        <p:nvSpPr>
          <p:cNvPr id="216" name="Text Placeholder 102"/>
          <p:cNvSpPr>
            <a:spLocks noGrp="1"/>
          </p:cNvSpPr>
          <p:nvPr>
            <p:custDataLst>
              <p:tags r:id="rId84"/>
            </p:custDataLst>
          </p:nvPr>
        </p:nvSpPr>
        <p:spPr bwMode="auto">
          <a:xfrm>
            <a:off x="3681413" y="6192838"/>
            <a:ext cx="13414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/>
            <a:r>
              <a:rPr lang="ru-RU" sz="1000" dirty="0" smtClean="0"/>
              <a:t>Среднее значение</a:t>
            </a:r>
            <a:r>
              <a:rPr lang="en-US" sz="1000" dirty="0" smtClean="0"/>
              <a:t> </a:t>
            </a:r>
            <a:fld id="{B7BF627F-4BD8-48FF-A42E-6B4709CB7E0F}" type="datetime'''''''1''''''''''''''''''''5''''6'''''">
              <a:rPr lang="en-US" sz="1000" smtClean="0"/>
              <a:pPr algn="ctr"/>
              <a:t>156</a:t>
            </a:fld>
            <a:endParaRPr lang="ru-RU" sz="1000" dirty="0"/>
          </a:p>
        </p:txBody>
      </p:sp>
      <p:sp>
        <p:nvSpPr>
          <p:cNvPr id="112" name="Text Placeholder 1"/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5118100" y="5808663"/>
            <a:ext cx="295275" cy="193675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r>
              <a:rPr lang="ru-RU" sz="1000" b="1" dirty="0" smtClean="0">
                <a:solidFill>
                  <a:schemeClr val="tx2"/>
                </a:solidFill>
              </a:rPr>
              <a:t>х2</a:t>
            </a:r>
            <a:r>
              <a:rPr lang="en-US" sz="1000" b="1" dirty="0" smtClean="0">
                <a:solidFill>
                  <a:schemeClr val="tx2"/>
                </a:solidFill>
              </a:rPr>
              <a:t>5</a:t>
            </a:r>
            <a:endParaRPr lang="ru-RU" sz="1000" b="1" dirty="0">
              <a:solidFill>
                <a:schemeClr val="tx2"/>
              </a:solidFill>
            </a:endParaRPr>
          </a:p>
        </p:txBody>
      </p:sp>
      <p:sp>
        <p:nvSpPr>
          <p:cNvPr id="261" name="Text Placeholder 129"/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3379788" y="3876675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D2D06CC-59F4-4D98-BFC5-039D503BEF0F}" type="datetime'''Г''''''''''''П'''''''''''''' ''''''''''''''6'''''''''''">
              <a:rPr lang="en-US" sz="1000"/>
              <a:pPr/>
              <a:t>ГП 6</a:t>
            </a:fld>
            <a:endParaRPr lang="ru-RU" sz="1000" dirty="0"/>
          </a:p>
        </p:txBody>
      </p:sp>
      <p:sp>
        <p:nvSpPr>
          <p:cNvPr id="258" name="Text Placeholder 126"/>
          <p:cNvSpPr>
            <a:spLocks noGrp="1"/>
          </p:cNvSpPr>
          <p:nvPr>
            <p:custDataLst>
              <p:tags r:id="rId87"/>
            </p:custDataLst>
          </p:nvPr>
        </p:nvSpPr>
        <p:spPr bwMode="auto">
          <a:xfrm>
            <a:off x="3379788" y="35718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AB3585E0-2EE7-4749-A79A-1750F910A5B4}" type="datetime'''''''''''''Г''''''''''''''''''''''''''П ''''4''''''5'''''''''">
              <a:rPr lang="en-US" sz="1000"/>
              <a:pPr/>
              <a:t>ГП 45</a:t>
            </a:fld>
            <a:endParaRPr lang="ru-RU" sz="1000" dirty="0"/>
          </a:p>
        </p:txBody>
      </p:sp>
      <p:sp>
        <p:nvSpPr>
          <p:cNvPr id="256" name="Text Placeholder 124"/>
          <p:cNvSpPr>
            <a:spLocks noGrp="1"/>
          </p:cNvSpPr>
          <p:nvPr>
            <p:custDataLst>
              <p:tags r:id="rId88"/>
            </p:custDataLst>
          </p:nvPr>
        </p:nvSpPr>
        <p:spPr bwMode="auto">
          <a:xfrm>
            <a:off x="3379788" y="3367088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CF0BD07-20D5-4FA3-8697-969BE5B7530A}" type="datetime'''''''''''''''''''''''''ГП'''''''' ''''''''''''''''''2'">
              <a:rPr lang="en-US" sz="1000"/>
              <a:pPr/>
              <a:t>ГП 2</a:t>
            </a:fld>
            <a:endParaRPr lang="ru-RU" sz="1000" dirty="0"/>
          </a:p>
        </p:txBody>
      </p:sp>
      <p:sp>
        <p:nvSpPr>
          <p:cNvPr id="254" name="Text Placeholder 122"/>
          <p:cNvSpPr>
            <a:spLocks noGrp="1"/>
          </p:cNvSpPr>
          <p:nvPr>
            <p:custDataLst>
              <p:tags r:id="rId89"/>
            </p:custDataLst>
          </p:nvPr>
        </p:nvSpPr>
        <p:spPr bwMode="auto">
          <a:xfrm>
            <a:off x="3379788" y="31623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A2DD1DD-D945-438A-BF89-593D0E5CB52F}" type="datetime'''''''''''''ГП'''''''''''' ''6''''''8'''''''''''''">
              <a:rPr lang="en-US" sz="1000"/>
              <a:pPr/>
              <a:t>ГП 68</a:t>
            </a:fld>
            <a:endParaRPr lang="ru-RU" sz="1000" dirty="0"/>
          </a:p>
        </p:txBody>
      </p:sp>
      <p:sp>
        <p:nvSpPr>
          <p:cNvPr id="263" name="Text Placeholder 131"/>
          <p:cNvSpPr>
            <a:spLocks noGrp="1"/>
          </p:cNvSpPr>
          <p:nvPr>
            <p:custDataLst>
              <p:tags r:id="rId90"/>
            </p:custDataLst>
          </p:nvPr>
        </p:nvSpPr>
        <p:spPr bwMode="auto">
          <a:xfrm>
            <a:off x="3379788" y="4086225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230D272-7364-40A7-B34F-6E7778BEE0D3}" type="datetime'''''''''''''''''''''''''''''''''''''''''Г''''П'''' ''''9'''">
              <a:rPr lang="en-US" sz="1000"/>
              <a:pPr/>
              <a:t>ГП 9</a:t>
            </a:fld>
            <a:endParaRPr lang="ru-RU" sz="1000" dirty="0"/>
          </a:p>
        </p:txBody>
      </p:sp>
      <p:sp>
        <p:nvSpPr>
          <p:cNvPr id="262" name="Text Placeholder 130"/>
          <p:cNvSpPr>
            <a:spLocks noGrp="1"/>
          </p:cNvSpPr>
          <p:nvPr>
            <p:custDataLst>
              <p:tags r:id="rId91"/>
            </p:custDataLst>
          </p:nvPr>
        </p:nvSpPr>
        <p:spPr bwMode="auto">
          <a:xfrm>
            <a:off x="3379788" y="39814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D946C9C-96DC-4573-83C6-D9C4E11B6705}" type="datetime'''''''''''''''Г''П'' ''''''''''5''2'''''''''''''''''''''''">
              <a:rPr lang="en-US" sz="1000"/>
              <a:pPr/>
              <a:t>ГП 52</a:t>
            </a:fld>
            <a:endParaRPr lang="ru-RU" sz="1000" dirty="0"/>
          </a:p>
        </p:txBody>
      </p:sp>
      <p:sp>
        <p:nvSpPr>
          <p:cNvPr id="260" name="Text Placeholder 128"/>
          <p:cNvSpPr>
            <a:spLocks noGrp="1"/>
          </p:cNvSpPr>
          <p:nvPr>
            <p:custDataLst>
              <p:tags r:id="rId92"/>
            </p:custDataLst>
          </p:nvPr>
        </p:nvSpPr>
        <p:spPr bwMode="auto">
          <a:xfrm>
            <a:off x="3379788" y="3776663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D2251BE3-EF70-40D9-9FE2-17298DF43F26}" type="datetime'''''''''''''''''Г''''''''П'''''' ''''''''''''''''''1''6''6'">
              <a:rPr lang="en-US" sz="1000"/>
              <a:pPr/>
              <a:t>ГП 166</a:t>
            </a:fld>
            <a:endParaRPr lang="ru-RU" sz="1000" dirty="0"/>
          </a:p>
        </p:txBody>
      </p:sp>
      <p:sp>
        <p:nvSpPr>
          <p:cNvPr id="255" name="Text Placeholder 123"/>
          <p:cNvSpPr>
            <a:spLocks noGrp="1"/>
          </p:cNvSpPr>
          <p:nvPr>
            <p:custDataLst>
              <p:tags r:id="rId93"/>
            </p:custDataLst>
          </p:nvPr>
        </p:nvSpPr>
        <p:spPr bwMode="auto">
          <a:xfrm>
            <a:off x="3379788" y="3267075"/>
            <a:ext cx="4905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28B97DD-75AC-4E36-BC4F-85C550AF3A63}" type="datetime'''''''''''Д''''''''Г''''''''''''''''П'''' ''1''''''1''''''0'">
              <a:rPr lang="en-US" sz="1000"/>
              <a:pPr/>
              <a:t>ДГП 110</a:t>
            </a:fld>
            <a:endParaRPr lang="ru-RU" sz="1000" dirty="0"/>
          </a:p>
        </p:txBody>
      </p:sp>
      <p:sp>
        <p:nvSpPr>
          <p:cNvPr id="257" name="Text Placeholder 125"/>
          <p:cNvSpPr>
            <a:spLocks noGrp="1"/>
          </p:cNvSpPr>
          <p:nvPr>
            <p:custDataLst>
              <p:tags r:id="rId94"/>
            </p:custDataLst>
          </p:nvPr>
        </p:nvSpPr>
        <p:spPr bwMode="auto">
          <a:xfrm>
            <a:off x="3379788" y="34671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94BB7BB-6AA6-4FB8-AD72-464B941519B1}" type="datetime'''Г''''''''''''''''П'''''''''''' ''''''1''''''9''''1'''''''">
              <a:rPr lang="en-US" sz="1000"/>
              <a:pPr/>
              <a:t>ГП 191</a:t>
            </a:fld>
            <a:endParaRPr lang="ru-RU" sz="1000" dirty="0"/>
          </a:p>
        </p:txBody>
      </p:sp>
      <p:sp>
        <p:nvSpPr>
          <p:cNvPr id="259" name="Text Placeholder 127"/>
          <p:cNvSpPr>
            <a:spLocks noGrp="1"/>
          </p:cNvSpPr>
          <p:nvPr>
            <p:custDataLst>
              <p:tags r:id="rId95"/>
            </p:custDataLst>
          </p:nvPr>
        </p:nvSpPr>
        <p:spPr bwMode="auto">
          <a:xfrm>
            <a:off x="3379788" y="3676650"/>
            <a:ext cx="49053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0B352AD-34C3-4616-A95E-2B9EDFA92CCD}" type="datetime'''Д''''Г''''''''''П'''''''''' ''''''1''''''''''4''''''''''8'''">
              <a:rPr lang="en-US" sz="1000"/>
              <a:pPr/>
              <a:t>ДГП 148</a:t>
            </a:fld>
            <a:endParaRPr lang="ru-RU" sz="1000" dirty="0"/>
          </a:p>
        </p:txBody>
      </p:sp>
      <p:sp>
        <p:nvSpPr>
          <p:cNvPr id="253" name="Text Placeholder 121"/>
          <p:cNvSpPr>
            <a:spLocks noGrp="1"/>
          </p:cNvSpPr>
          <p:nvPr>
            <p:custDataLst>
              <p:tags r:id="rId96"/>
            </p:custDataLst>
          </p:nvPr>
        </p:nvSpPr>
        <p:spPr bwMode="auto">
          <a:xfrm>
            <a:off x="3379788" y="30575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D3B6665-D965-4F41-95F5-E65B94DBBA11}" type="datetime'''Г''''''''''П'''' ''''''''''''1''''''''''7''''5'''''''">
              <a:rPr lang="en-US" sz="1000"/>
              <a:pPr/>
              <a:t>ГП 175</a:t>
            </a:fld>
            <a:endParaRPr lang="ru-RU" sz="1000" dirty="0"/>
          </a:p>
        </p:txBody>
      </p:sp>
      <p:sp>
        <p:nvSpPr>
          <p:cNvPr id="252" name="Text Placeholder 120"/>
          <p:cNvSpPr>
            <a:spLocks noGrp="1"/>
          </p:cNvSpPr>
          <p:nvPr>
            <p:custDataLst>
              <p:tags r:id="rId97"/>
            </p:custDataLst>
          </p:nvPr>
        </p:nvSpPr>
        <p:spPr bwMode="auto">
          <a:xfrm>
            <a:off x="3379788" y="29527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08F1950-DED8-4C26-BD31-03878599CC78}" type="datetime'ГП ''''6''''''''''''''''''6'''''''''''''''''''''''''''''''''''">
              <a:rPr lang="en-US" sz="1000"/>
              <a:pPr/>
              <a:t>ГП 66</a:t>
            </a:fld>
            <a:endParaRPr lang="ru-RU" sz="1000" dirty="0"/>
          </a:p>
        </p:txBody>
      </p:sp>
      <p:sp>
        <p:nvSpPr>
          <p:cNvPr id="276" name="Text Placeholder 144"/>
          <p:cNvSpPr>
            <a:spLocks noGrp="1"/>
          </p:cNvSpPr>
          <p:nvPr>
            <p:custDataLst>
              <p:tags r:id="rId98"/>
            </p:custDataLst>
          </p:nvPr>
        </p:nvSpPr>
        <p:spPr bwMode="auto">
          <a:xfrm>
            <a:off x="3379788" y="541972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FCF8DF7-3050-41E2-8103-DA243BECC1EB}" type="datetime'Г''''''''''''''''''П'''''''''''''''' ''6''''''''''''9'''''">
              <a:rPr lang="en-US" sz="1000"/>
              <a:pPr/>
              <a:t>ГП 69</a:t>
            </a:fld>
            <a:endParaRPr lang="ru-RU" sz="1000" dirty="0"/>
          </a:p>
        </p:txBody>
      </p:sp>
      <p:sp>
        <p:nvSpPr>
          <p:cNvPr id="279" name="Text Placeholder 147"/>
          <p:cNvSpPr>
            <a:spLocks noGrp="1"/>
          </p:cNvSpPr>
          <p:nvPr>
            <p:custDataLst>
              <p:tags r:id="rId99"/>
            </p:custDataLst>
          </p:nvPr>
        </p:nvSpPr>
        <p:spPr bwMode="auto">
          <a:xfrm>
            <a:off x="3379788" y="57245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5874137-C8E6-409B-AD37-184DC06C4809}" type="datetime'Г''''''''''''''''П ''2''''''1''''''0'''''''''''''''''''''''''">
              <a:rPr lang="en-US" sz="1000"/>
              <a:pPr/>
              <a:t>ГП 210</a:t>
            </a:fld>
            <a:endParaRPr lang="ru-RU" sz="1000" dirty="0"/>
          </a:p>
        </p:txBody>
      </p:sp>
      <p:sp>
        <p:nvSpPr>
          <p:cNvPr id="267" name="Text Placeholder 135"/>
          <p:cNvSpPr>
            <a:spLocks noGrp="1"/>
          </p:cNvSpPr>
          <p:nvPr>
            <p:custDataLst>
              <p:tags r:id="rId100"/>
            </p:custDataLst>
          </p:nvPr>
        </p:nvSpPr>
        <p:spPr bwMode="auto">
          <a:xfrm>
            <a:off x="3379788" y="44958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5DF65987-BD39-45BB-A67B-DCAF7CDDE799}" type="datetime'''''''''''''''''''''''''''''ГП'''''''' ''1''''''''''''95'''">
              <a:rPr lang="en-US" sz="1000"/>
              <a:pPr/>
              <a:t>ГП 195</a:t>
            </a:fld>
            <a:endParaRPr lang="ru-RU" sz="1000" dirty="0"/>
          </a:p>
        </p:txBody>
      </p:sp>
      <p:sp>
        <p:nvSpPr>
          <p:cNvPr id="268" name="Text Placeholder 136"/>
          <p:cNvSpPr>
            <a:spLocks noGrp="1"/>
          </p:cNvSpPr>
          <p:nvPr>
            <p:custDataLst>
              <p:tags r:id="rId101"/>
            </p:custDataLst>
          </p:nvPr>
        </p:nvSpPr>
        <p:spPr bwMode="auto">
          <a:xfrm>
            <a:off x="3379788" y="460057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BEBE1AD-FED2-4830-9B83-0CB8EBCEE581}" type="datetime'''Г''''''''''''''''''''П ''''1''''''9'''''''''''''''">
              <a:rPr lang="en-US" sz="1000"/>
              <a:pPr/>
              <a:t>ГП 19</a:t>
            </a:fld>
            <a:endParaRPr lang="ru-RU" sz="1000" dirty="0"/>
          </a:p>
        </p:txBody>
      </p:sp>
      <p:sp>
        <p:nvSpPr>
          <p:cNvPr id="266" name="Text Placeholder 134"/>
          <p:cNvSpPr>
            <a:spLocks noGrp="1"/>
          </p:cNvSpPr>
          <p:nvPr>
            <p:custDataLst>
              <p:tags r:id="rId102"/>
            </p:custDataLst>
          </p:nvPr>
        </p:nvSpPr>
        <p:spPr bwMode="auto">
          <a:xfrm>
            <a:off x="3379788" y="4391025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A36DA27-6890-425B-A257-746D429D0213}" type="datetime'''''''Г''''''''''''П ''''''2''''''''''''''''''2'">
              <a:rPr lang="en-US" sz="1000"/>
              <a:pPr/>
              <a:t>ГП 22</a:t>
            </a:fld>
            <a:endParaRPr lang="ru-RU" sz="1000" dirty="0"/>
          </a:p>
        </p:txBody>
      </p:sp>
      <p:sp>
        <p:nvSpPr>
          <p:cNvPr id="273" name="Text Placeholder 141"/>
          <p:cNvSpPr>
            <a:spLocks noGrp="1"/>
          </p:cNvSpPr>
          <p:nvPr>
            <p:custDataLst>
              <p:tags r:id="rId103"/>
            </p:custDataLst>
          </p:nvPr>
        </p:nvSpPr>
        <p:spPr bwMode="auto">
          <a:xfrm>
            <a:off x="3379788" y="5114925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6EBFE1D-7EC4-4C2A-BAA0-BDBF9E913559}" type="datetime'''''''''Г''''''П'''''''''' ''''''''1''''''0''''''''''''9'''">
              <a:rPr lang="en-US" sz="1000"/>
              <a:pPr/>
              <a:t>ГП 109</a:t>
            </a:fld>
            <a:endParaRPr lang="ru-RU" sz="1000" dirty="0"/>
          </a:p>
        </p:txBody>
      </p:sp>
      <p:sp>
        <p:nvSpPr>
          <p:cNvPr id="271" name="Text Placeholder 139"/>
          <p:cNvSpPr>
            <a:spLocks noGrp="1"/>
          </p:cNvSpPr>
          <p:nvPr>
            <p:custDataLst>
              <p:tags r:id="rId104"/>
            </p:custDataLst>
          </p:nvPr>
        </p:nvSpPr>
        <p:spPr bwMode="auto">
          <a:xfrm>
            <a:off x="3379788" y="4905375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ED0319A-B7DE-4667-B14F-AB4BBB1C96C2}" type="datetime'Г''П'''''''''''''''' ''''''''''5'''''''''''''''">
              <a:rPr lang="en-US" sz="1000"/>
              <a:pPr/>
              <a:t>ГП 5</a:t>
            </a:fld>
            <a:endParaRPr lang="ru-RU" sz="1000" dirty="0"/>
          </a:p>
        </p:txBody>
      </p:sp>
      <p:sp>
        <p:nvSpPr>
          <p:cNvPr id="272" name="Text Placeholder 140"/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3379788" y="501015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8186CFA5-48EA-445F-BA95-AE4D54C7C820}" type="datetime'''''''''''''''''''''''''Г''''''''''''''''П'''' 3''''''6'">
              <a:rPr lang="en-US" sz="1000"/>
              <a:pPr/>
              <a:t>ГП 36</a:t>
            </a:fld>
            <a:endParaRPr lang="ru-RU" sz="1000" dirty="0"/>
          </a:p>
        </p:txBody>
      </p:sp>
      <p:sp>
        <p:nvSpPr>
          <p:cNvPr id="270" name="Text Placeholder 138"/>
          <p:cNvSpPr>
            <a:spLocks noGrp="1"/>
          </p:cNvSpPr>
          <p:nvPr>
            <p:custDataLst>
              <p:tags r:id="rId106"/>
            </p:custDataLst>
          </p:nvPr>
        </p:nvSpPr>
        <p:spPr bwMode="auto">
          <a:xfrm>
            <a:off x="3379788" y="4800600"/>
            <a:ext cx="2651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58A01C5-1D40-4623-BB74-1331245BE820}" type="datetime'ГП'''''' ''''3'''''''''''''''''''''''''''''''''''''''''''">
              <a:rPr lang="en-US" sz="1000"/>
              <a:pPr/>
              <a:t>ГП 3</a:t>
            </a:fld>
            <a:endParaRPr lang="ru-RU" sz="1000" dirty="0"/>
          </a:p>
        </p:txBody>
      </p:sp>
      <p:sp>
        <p:nvSpPr>
          <p:cNvPr id="275" name="Text Placeholder 143"/>
          <p:cNvSpPr>
            <a:spLocks noGrp="1"/>
          </p:cNvSpPr>
          <p:nvPr>
            <p:custDataLst>
              <p:tags r:id="rId107"/>
            </p:custDataLst>
          </p:nvPr>
        </p:nvSpPr>
        <p:spPr bwMode="auto">
          <a:xfrm>
            <a:off x="3379788" y="531495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310CB92-D66C-4A3B-8025-63CC10BD8853}" type="datetime'''''''''''''''''''''''Г''''''''П'''''''''' ''''2''''18'">
              <a:rPr lang="en-US" sz="1000"/>
              <a:pPr/>
              <a:t>ГП 218</a:t>
            </a:fld>
            <a:endParaRPr lang="ru-RU" sz="1000" dirty="0"/>
          </a:p>
        </p:txBody>
      </p:sp>
      <p:sp>
        <p:nvSpPr>
          <p:cNvPr id="265" name="Text Placeholder 133"/>
          <p:cNvSpPr>
            <a:spLocks noGrp="1"/>
          </p:cNvSpPr>
          <p:nvPr>
            <p:custDataLst>
              <p:tags r:id="rId108"/>
            </p:custDataLst>
          </p:nvPr>
        </p:nvSpPr>
        <p:spPr bwMode="auto">
          <a:xfrm>
            <a:off x="3379788" y="4291013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ADBCFAC-94D0-43C8-8850-816ABA2A48BF}" type="datetime'Г''''''''''''''''П'''' ''''''''2''''''''''''''3'''''''">
              <a:rPr lang="en-US" sz="1000"/>
              <a:pPr/>
              <a:t>ГП 23</a:t>
            </a:fld>
            <a:endParaRPr lang="ru-RU" sz="1000" dirty="0"/>
          </a:p>
        </p:txBody>
      </p:sp>
      <p:sp>
        <p:nvSpPr>
          <p:cNvPr id="269" name="Text Placeholder 137"/>
          <p:cNvSpPr>
            <a:spLocks noGrp="1"/>
          </p:cNvSpPr>
          <p:nvPr>
            <p:custDataLst>
              <p:tags r:id="rId109"/>
            </p:custDataLst>
          </p:nvPr>
        </p:nvSpPr>
        <p:spPr bwMode="auto">
          <a:xfrm>
            <a:off x="3379788" y="4700588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DB69624-5BEC-467D-B5BC-90A06B310001}" type="datetime'''Г''''''''П'''' ''''''''''''''4''''6'''''''''">
              <a:rPr lang="en-US" sz="1000"/>
              <a:pPr/>
              <a:t>ГП 46</a:t>
            </a:fld>
            <a:endParaRPr lang="ru-RU" sz="1000" dirty="0"/>
          </a:p>
        </p:txBody>
      </p:sp>
      <p:sp>
        <p:nvSpPr>
          <p:cNvPr id="264" name="Text Placeholder 132"/>
          <p:cNvSpPr>
            <a:spLocks noGrp="1"/>
          </p:cNvSpPr>
          <p:nvPr>
            <p:custDataLst>
              <p:tags r:id="rId110"/>
            </p:custDataLst>
          </p:nvPr>
        </p:nvSpPr>
        <p:spPr bwMode="auto">
          <a:xfrm>
            <a:off x="3379788" y="4191000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BEE852F6-A069-4AEB-B782-9CE9C73D397E}" type="datetime'''''''''Г''П'''' ''''2''''''''12'''''''''''''">
              <a:rPr lang="en-US" sz="1000"/>
              <a:pPr/>
              <a:t>ГП 212</a:t>
            </a:fld>
            <a:endParaRPr lang="ru-RU" sz="1000" dirty="0"/>
          </a:p>
        </p:txBody>
      </p:sp>
      <p:sp>
        <p:nvSpPr>
          <p:cNvPr id="278" name="Text Placeholder 146"/>
          <p:cNvSpPr>
            <a:spLocks noGrp="1"/>
          </p:cNvSpPr>
          <p:nvPr>
            <p:custDataLst>
              <p:tags r:id="rId111"/>
            </p:custDataLst>
          </p:nvPr>
        </p:nvSpPr>
        <p:spPr bwMode="auto">
          <a:xfrm>
            <a:off x="3379788" y="5624513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72C474C5-9E84-4DC4-8A5A-80214EE9B702}" type="datetime'''''''''''Г''''''''''''''П'''''''''' ''''''''''''''1''''''2'''">
              <a:rPr lang="en-US" sz="1000"/>
              <a:pPr/>
              <a:t>ГП 12</a:t>
            </a:fld>
            <a:endParaRPr lang="ru-RU" sz="1000" dirty="0"/>
          </a:p>
        </p:txBody>
      </p:sp>
      <p:sp>
        <p:nvSpPr>
          <p:cNvPr id="277" name="Text Placeholder 145"/>
          <p:cNvSpPr>
            <a:spLocks noGrp="1"/>
          </p:cNvSpPr>
          <p:nvPr>
            <p:custDataLst>
              <p:tags r:id="rId112"/>
            </p:custDataLst>
          </p:nvPr>
        </p:nvSpPr>
        <p:spPr bwMode="auto">
          <a:xfrm>
            <a:off x="3379788" y="5524500"/>
            <a:ext cx="33496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35FDBF7C-769B-43DE-93CC-E8FAE5C9D115}" type="datetime'''Г''''''П'''''' ''''''''''''''''''6''''7'''''''''''">
              <a:rPr lang="en-US" sz="1000"/>
              <a:pPr/>
              <a:t>ГП 67</a:t>
            </a:fld>
            <a:endParaRPr lang="ru-RU" sz="1000" dirty="0"/>
          </a:p>
        </p:txBody>
      </p:sp>
      <p:sp>
        <p:nvSpPr>
          <p:cNvPr id="245" name="Text Placeholder 113"/>
          <p:cNvSpPr>
            <a:spLocks noGrp="1"/>
          </p:cNvSpPr>
          <p:nvPr>
            <p:custDataLst>
              <p:tags r:id="rId113"/>
            </p:custDataLst>
          </p:nvPr>
        </p:nvSpPr>
        <p:spPr bwMode="auto">
          <a:xfrm>
            <a:off x="3379788" y="2238375"/>
            <a:ext cx="358775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5FB411F-DB98-4682-8992-2327A254AF5E}" type="datetime'''''''''''''''''Д''''''''''''''''К''''Ц'''''' ''''''''''''3'">
              <a:rPr lang="en-US" sz="1000"/>
              <a:pPr/>
              <a:t>ДКЦ 3</a:t>
            </a:fld>
            <a:endParaRPr lang="ru-RU" sz="1000" dirty="0"/>
          </a:p>
        </p:txBody>
      </p:sp>
      <p:sp>
        <p:nvSpPr>
          <p:cNvPr id="240" name="Text Placeholder 108"/>
          <p:cNvSpPr>
            <a:spLocks noGrp="1"/>
          </p:cNvSpPr>
          <p:nvPr>
            <p:custDataLst>
              <p:tags r:id="rId114"/>
            </p:custDataLst>
          </p:nvPr>
        </p:nvSpPr>
        <p:spPr bwMode="auto">
          <a:xfrm>
            <a:off x="3379788" y="1724025"/>
            <a:ext cx="420688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041E85FA-E770-4FDD-8247-BE7B157B7318}" type="datetime'Д''''''Г''''П'''' ''''''''''3''''''''''''9'''''''''">
              <a:rPr lang="en-US" sz="1000"/>
              <a:pPr/>
              <a:t>ДГП 39</a:t>
            </a:fld>
            <a:endParaRPr lang="ru-RU" sz="1000" dirty="0"/>
          </a:p>
        </p:txBody>
      </p:sp>
      <p:sp>
        <p:nvSpPr>
          <p:cNvPr id="274" name="Text Placeholder 142"/>
          <p:cNvSpPr>
            <a:spLocks noGrp="1"/>
          </p:cNvSpPr>
          <p:nvPr>
            <p:custDataLst>
              <p:tags r:id="rId115"/>
            </p:custDataLst>
          </p:nvPr>
        </p:nvSpPr>
        <p:spPr bwMode="auto">
          <a:xfrm>
            <a:off x="3379788" y="5214938"/>
            <a:ext cx="404813" cy="152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2C7F28B-715F-42EF-82D4-59072C160BA2}" type="datetime'''''Г''''П'' ''''1''''''3''''''''''''''''4'">
              <a:rPr lang="en-US" sz="1000"/>
              <a:pPr/>
              <a:t>ГП 134</a:t>
            </a:fld>
            <a:endParaRPr lang="ru-RU" sz="1000" dirty="0"/>
          </a:p>
        </p:txBody>
      </p:sp>
      <p:sp>
        <p:nvSpPr>
          <p:cNvPr id="111" name="McK 5. Source"/>
          <p:cNvSpPr>
            <a:spLocks noChangeArrowheads="1"/>
          </p:cNvSpPr>
          <p:nvPr/>
        </p:nvSpPr>
        <p:spPr bwMode="auto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ИСТОЧНИК: сводный отчет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НПЦ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Р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 за 4 квартал 2015 г., анализ рабочей группы</a:t>
            </a:r>
          </a:p>
        </p:txBody>
      </p:sp>
      <p:sp>
        <p:nvSpPr>
          <p:cNvPr id="12" name="Rectangle 11"/>
          <p:cNvSpPr/>
          <p:nvPr/>
        </p:nvSpPr>
        <p:spPr>
          <a:xfrm>
            <a:off x="4862943" y="4634151"/>
            <a:ext cx="1132744" cy="86177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r>
              <a:rPr lang="ru-RU" sz="1000" dirty="0" smtClean="0">
                <a:solidFill>
                  <a:schemeClr val="tx1"/>
                </a:solidFill>
              </a:rPr>
              <a:t>С чем связана значительная вариативность количества исследований?</a:t>
            </a:r>
          </a:p>
        </p:txBody>
      </p:sp>
      <p:sp>
        <p:nvSpPr>
          <p:cNvPr id="123" name="McK 1. On-page tracker"/>
          <p:cNvSpPr>
            <a:spLocks noChangeArrowheads="1"/>
          </p:cNvSpPr>
          <p:nvPr>
            <p:custDataLst>
              <p:tags r:id="rId116"/>
            </p:custDataLst>
          </p:nvPr>
        </p:nvSpPr>
        <p:spPr bwMode="auto">
          <a:xfrm>
            <a:off x="119064" y="2693"/>
            <a:ext cx="494853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69875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АРШРУТИЗАЦИЯ ПАЦИЕНТОВ НА ИССЛЕДОВАНИЯ</a:t>
            </a:r>
          </a:p>
        </p:txBody>
      </p:sp>
      <p:sp>
        <p:nvSpPr>
          <p:cNvPr id="124" name="Oval 15"/>
          <p:cNvSpPr txBox="1"/>
          <p:nvPr>
            <p:custDataLst>
              <p:tags r:id="rId117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143" name="3. Unit of measure"/>
          <p:cNvSpPr txBox="1">
            <a:spLocks noChangeArrowheads="1"/>
          </p:cNvSpPr>
          <p:nvPr/>
        </p:nvSpPr>
        <p:spPr bwMode="gray">
          <a:xfrm>
            <a:off x="119063" y="783218"/>
            <a:ext cx="87466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38163" algn="l"/>
              </a:tabLst>
              <a:defRPr/>
            </a:pPr>
            <a:r>
              <a:rPr lang="ru-RU" sz="1600" dirty="0" smtClean="0">
                <a:solidFill>
                  <a:schemeClr val="accent3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+mn-lt"/>
              </a:rPr>
              <a:t>Шт. </a:t>
            </a:r>
            <a:r>
              <a:rPr lang="ru-RU" sz="1600" dirty="0">
                <a:solidFill>
                  <a:schemeClr val="accent3">
                    <a:lumMod val="50000"/>
                  </a:schemeClr>
                </a:solidFill>
                <a:latin typeface="+mn-lt"/>
                <a:cs typeface="Arial" panose="020B0604020202020204" pitchFamily="34" charset="0"/>
                <a:sym typeface="+mn-lt"/>
              </a:rPr>
              <a:t>на 10 000 приписанного населения</a:t>
            </a:r>
          </a:p>
        </p:txBody>
      </p:sp>
      <p:grpSp>
        <p:nvGrpSpPr>
          <p:cNvPr id="140" name="ACET 13"/>
          <p:cNvGrpSpPr>
            <a:grpSpLocks/>
          </p:cNvGrpSpPr>
          <p:nvPr/>
        </p:nvGrpSpPr>
        <p:grpSpPr bwMode="gray">
          <a:xfrm>
            <a:off x="260350" y="1117130"/>
            <a:ext cx="3031343" cy="173688"/>
            <a:chOff x="915" y="975"/>
            <a:chExt cx="2686" cy="55"/>
          </a:xfrm>
        </p:grpSpPr>
        <p:cxnSp>
          <p:nvCxnSpPr>
            <p:cNvPr id="141" name="AutoShape 249"/>
            <p:cNvCxnSpPr>
              <a:cxnSpLocks noChangeShapeType="1"/>
              <a:stCxn id="142" idx="4"/>
              <a:endCxn id="14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2" name="AutoShape 250"/>
            <p:cNvSpPr>
              <a:spLocks noChangeArrowheads="1"/>
            </p:cNvSpPr>
            <p:nvPr/>
          </p:nvSpPr>
          <p:spPr bwMode="gray">
            <a:xfrm>
              <a:off x="915" y="975"/>
              <a:ext cx="2686" cy="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оличество </a:t>
              </a:r>
              <a:r>
                <a:rPr lang="ru-RU" sz="1000" dirty="0" err="1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МРТ</a:t>
              </a:r>
              <a:r>
                <a:rPr lang="ru-RU" sz="10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-исследований за 2015 год</a:t>
              </a:r>
            </a:p>
          </p:txBody>
        </p:sp>
      </p:grpSp>
      <p:grpSp>
        <p:nvGrpSpPr>
          <p:cNvPr id="144" name="ACET 13"/>
          <p:cNvGrpSpPr>
            <a:grpSpLocks/>
          </p:cNvGrpSpPr>
          <p:nvPr/>
        </p:nvGrpSpPr>
        <p:grpSpPr bwMode="gray">
          <a:xfrm>
            <a:off x="3389313" y="1117130"/>
            <a:ext cx="3221977" cy="173688"/>
            <a:chOff x="915" y="975"/>
            <a:chExt cx="2686" cy="55"/>
          </a:xfrm>
        </p:grpSpPr>
        <p:cxnSp>
          <p:nvCxnSpPr>
            <p:cNvPr id="145" name="AutoShape 249"/>
            <p:cNvCxnSpPr>
              <a:cxnSpLocks noChangeShapeType="1"/>
              <a:stCxn id="146" idx="4"/>
              <a:endCxn id="14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6" name="AutoShape 250"/>
            <p:cNvSpPr>
              <a:spLocks noChangeArrowheads="1"/>
            </p:cNvSpPr>
            <p:nvPr/>
          </p:nvSpPr>
          <p:spPr bwMode="gray">
            <a:xfrm>
              <a:off x="915" y="975"/>
              <a:ext cx="2686" cy="5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sz="10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оличество </a:t>
              </a:r>
              <a:r>
                <a:rPr lang="ru-RU" sz="1000" dirty="0" err="1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Т</a:t>
              </a:r>
              <a:r>
                <a:rPr lang="ru-RU" sz="10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-исследований за 2015 </a:t>
              </a:r>
              <a:r>
                <a:rPr lang="ru-RU" sz="10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год </a:t>
              </a:r>
              <a:endParaRPr lang="ru-RU" sz="10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cxnSp>
        <p:nvCxnSpPr>
          <p:cNvPr id="8" name="Straight Connector 7"/>
          <p:cNvCxnSpPr/>
          <p:nvPr/>
        </p:nvCxnSpPr>
        <p:spPr>
          <a:xfrm>
            <a:off x="5219766" y="5500295"/>
            <a:ext cx="0" cy="253198"/>
          </a:xfrm>
          <a:prstGeom prst="line">
            <a:avLst/>
          </a:prstGeom>
          <a:ln>
            <a:solidFill>
              <a:srgbClr val="808080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87101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7" name="Object 1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3" name="think-cell Slide" r:id="rId18" imgW="493" imgH="493" progId="TCLayout.ActiveDocument.1">
                  <p:embed/>
                </p:oleObj>
              </mc:Choice>
              <mc:Fallback>
                <p:oleObj name="think-cell Slide" r:id="rId18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sz="1400" dirty="0" err="1" smtClean="0">
              <a:solidFill>
                <a:schemeClr val="tx1"/>
              </a:solidFill>
              <a:cs typeface="Arial" panose="020B0604020202020204" pitchFamily="34" charset="0"/>
              <a:sym typeface="+mn-lt"/>
            </a:endParaRPr>
          </a:p>
        </p:txBody>
      </p:sp>
      <p:pic>
        <p:nvPicPr>
          <p:cNvPr id="39" name="Picture 5" descr="Ausriss"/>
          <p:cNvPicPr>
            <a:picLocks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3" t="2852" r="5972" b="7652"/>
          <a:stretch/>
        </p:blipFill>
        <p:spPr bwMode="auto">
          <a:xfrm>
            <a:off x="184380" y="1760538"/>
            <a:ext cx="4673820" cy="89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03337" y="230188"/>
            <a:ext cx="7221537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dirty="0"/>
              <a:t>Б. Опрос пациентов выявил 230%-расхождение между декларируемым и реальным сроком ожидания </a:t>
            </a:r>
            <a:r>
              <a:rPr lang="ru-RU" sz="1600" dirty="0" err="1"/>
              <a:t>МРТ</a:t>
            </a:r>
            <a:r>
              <a:rPr lang="ru-RU" sz="1600" dirty="0"/>
              <a:t>-обследования</a:t>
            </a:r>
          </a:p>
        </p:txBody>
      </p:sp>
      <p:graphicFrame>
        <p:nvGraphicFramePr>
          <p:cNvPr id="16" name="Object 15"/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367036918"/>
              </p:ext>
            </p:extLst>
          </p:nvPr>
        </p:nvGraphicFramePr>
        <p:xfrm>
          <a:off x="1181100" y="2857500"/>
          <a:ext cx="3314790" cy="19810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4" name="Диаграмма" r:id="rId21" imgW="3314700" imgH="1981200" progId="MSGraph.Chart.8">
                  <p:embed followColorScheme="full"/>
                </p:oleObj>
              </mc:Choice>
              <mc:Fallback>
                <p:oleObj name="Диаграмма" r:id="rId21" imgW="3314700" imgH="19812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181100" y="2857500"/>
                        <a:ext cx="3314790" cy="19810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" name="Straight Connector 14"/>
          <p:cNvCxnSpPr/>
          <p:nvPr>
            <p:custDataLst>
              <p:tags r:id="rId5"/>
            </p:custDataLst>
          </p:nvPr>
        </p:nvCxnSpPr>
        <p:spPr bwMode="gray">
          <a:xfrm flipV="1">
            <a:off x="2292972" y="3250652"/>
            <a:ext cx="1962150" cy="242888"/>
          </a:xfrm>
          <a:prstGeom prst="line">
            <a:avLst/>
          </a:prstGeom>
          <a:ln w="38100">
            <a:solidFill>
              <a:srgbClr val="003264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Text Placeholder 6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239713" y="4337050"/>
            <a:ext cx="771525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4B9F72E-B11D-462A-8E31-E09106625709}" type="datetime'''ГП'''''''''' ''В (''''К''''''''Т'''''''''''''''')'''''''''''">
              <a:rPr lang="en-US" sz="1400"/>
              <a:pPr/>
              <a:t>ГП В (КТ)</a:t>
            </a:fld>
            <a:endParaRPr lang="ru-RU" sz="1400" dirty="0"/>
          </a:p>
        </p:txBody>
      </p:sp>
      <p:sp>
        <p:nvSpPr>
          <p:cNvPr id="38" name="Text Placeholder 1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239713" y="3175000"/>
            <a:ext cx="925513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6A6842CB-C1C4-454B-87C0-25E4D0CDD74D}" type="datetime'''ГП'''' Б'' ''''''(''М''''''Р''''''Т'''')'''''''''''''''">
              <a:rPr lang="en-US" sz="1400"/>
              <a:pPr/>
              <a:t>ГП Б (МРТ)</a:t>
            </a:fld>
            <a:endParaRPr lang="ru-RU" sz="1400" dirty="0"/>
          </a:p>
        </p:txBody>
      </p:sp>
      <p:sp>
        <p:nvSpPr>
          <p:cNvPr id="41" name="Text Placeholder 3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239713" y="3756025"/>
            <a:ext cx="769938" cy="212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38073C9-0A16-4B66-8855-D0F0C7E33978}" type="datetime'''''Г''''''''''''''''''''''П'' Б'''''''''' ''''''(КТ'')'''">
              <a:rPr lang="en-US" sz="1400"/>
              <a:pPr/>
              <a:t>ГП Б (КТ)</a:t>
            </a:fld>
            <a:endParaRPr lang="ru-RU" sz="1400" dirty="0"/>
          </a:p>
        </p:txBody>
      </p:sp>
      <p:sp>
        <p:nvSpPr>
          <p:cNvPr id="47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2880347" y="3234777"/>
            <a:ext cx="788988" cy="273050"/>
          </a:xfrm>
          <a:prstGeom prst="ellipse">
            <a:avLst/>
          </a:prstGeom>
          <a:solidFill>
            <a:schemeClr val="bg1"/>
          </a:solidFill>
          <a:ln w="1905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pPr algn="ctr">
              <a:lnSpc>
                <a:spcPct val="90000"/>
              </a:lnSpc>
            </a:pPr>
            <a:fld id="{5CBBBBD4-8BBB-4836-A064-08EBB04D01DB}" type="datetime'''''''+''''''''2''2''''''''9%'''''''''''''''''''''''''''''">
              <a:rPr lang="en-US" sz="1400" b="1" smtClean="0">
                <a:solidFill>
                  <a:schemeClr val="tx2"/>
                </a:solidFill>
              </a:rPr>
              <a:pPr/>
              <a:t>+229%</a:t>
            </a:fld>
            <a:endParaRPr lang="ru-RU" sz="1400" b="1" dirty="0">
              <a:solidFill>
                <a:schemeClr val="tx2"/>
              </a:solidFill>
            </a:endParaRPr>
          </a:p>
        </p:txBody>
      </p:sp>
      <p:sp>
        <p:nvSpPr>
          <p:cNvPr id="36" name="5. Source"/>
          <p:cNvSpPr>
            <a:spLocks noChangeArrowheads="1"/>
          </p:cNvSpPr>
          <p:nvPr/>
        </p:nvSpPr>
        <p:spPr bwMode="gray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az-Cyrl-AZ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ИСТОЧНИК: телефонный опрос пациентов ГП А (50 чел.) и ГП Б (60 чел.) от </a:t>
            </a:r>
            <a:r>
              <a:rPr lang="az-Cyrl-AZ" sz="1000" dirty="0" smtClean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26-29.02.2016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;</a:t>
            </a:r>
            <a:r>
              <a:rPr lang="az-Cyrl-AZ" sz="1000" dirty="0" smtClean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 </a:t>
            </a:r>
            <a:r>
              <a:rPr lang="az-Cyrl-AZ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анализ рабочей группы</a:t>
            </a:r>
            <a:endParaRPr lang="de-DE" sz="1000" dirty="0">
              <a:solidFill>
                <a:schemeClr val="accent6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graphicFrame>
        <p:nvGraphicFramePr>
          <p:cNvPr id="25" name="Object 24"/>
          <p:cNvGraphicFramePr>
            <a:graphicFrameLocks/>
          </p:cNvGraphicFramePr>
          <p:nvPr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209675499"/>
              </p:ext>
            </p:extLst>
          </p:nvPr>
        </p:nvGraphicFramePr>
        <p:xfrm>
          <a:off x="5829300" y="2857500"/>
          <a:ext cx="3048000" cy="198105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1205" name="Диаграмма" r:id="rId23" imgW="3048000" imgH="1981200" progId="MSGraph.Chart.8">
                  <p:embed followColorScheme="full"/>
                </p:oleObj>
              </mc:Choice>
              <mc:Fallback>
                <p:oleObj name="Диаграмма" r:id="rId23" imgW="3048000" imgH="1981200" progId="MSGraph.Chart.8">
                  <p:embed followColorScheme="full"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5829300" y="2857500"/>
                        <a:ext cx="3048000" cy="198105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8" name="Group 7"/>
          <p:cNvGrpSpPr>
            <a:grpSpLocks/>
          </p:cNvGrpSpPr>
          <p:nvPr/>
        </p:nvGrpSpPr>
        <p:grpSpPr>
          <a:xfrm>
            <a:off x="5957888" y="2703513"/>
            <a:ext cx="2819463" cy="233910"/>
            <a:chOff x="5284163" y="2455090"/>
            <a:chExt cx="3342573" cy="233910"/>
          </a:xfrm>
        </p:grpSpPr>
        <p:cxnSp>
          <p:nvCxnSpPr>
            <p:cNvPr id="23" name="AutoShape 249"/>
            <p:cNvCxnSpPr>
              <a:cxnSpLocks noChangeShapeType="1"/>
              <a:stCxn id="24" idx="4"/>
              <a:endCxn id="24" idx="6"/>
            </p:cNvCxnSpPr>
            <p:nvPr/>
          </p:nvCxnSpPr>
          <p:spPr bwMode="gray">
            <a:xfrm>
              <a:off x="5284163" y="2689000"/>
              <a:ext cx="3342573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4" name="AutoShape 250"/>
            <p:cNvSpPr>
              <a:spLocks noChangeArrowheads="1"/>
            </p:cNvSpPr>
            <p:nvPr/>
          </p:nvSpPr>
          <p:spPr bwMode="gray">
            <a:xfrm>
              <a:off x="5284163" y="2455090"/>
              <a:ext cx="3342573" cy="233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az-Cyrl-AZ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Время ожидания </a:t>
              </a:r>
              <a:r>
                <a:rPr lang="ru-RU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заключения</a:t>
              </a:r>
              <a:endParaRPr lang="de-DE" sz="1400" baseline="0" noProof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26" name="Rectangle 25"/>
          <p:cNvSpPr>
            <a:spLocks/>
          </p:cNvSpPr>
          <p:nvPr/>
        </p:nvSpPr>
        <p:spPr>
          <a:xfrm>
            <a:off x="119063" y="1681163"/>
            <a:ext cx="8723312" cy="3181538"/>
          </a:xfrm>
          <a:prstGeom prst="rect">
            <a:avLst/>
          </a:prstGeom>
          <a:noFill/>
          <a:ln w="19050">
            <a:solidFill>
              <a:schemeClr val="accent1"/>
            </a:solidFill>
          </a:ln>
          <a:ex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>
              <a:latin typeface="+mn-lt"/>
            </a:endParaRPr>
          </a:p>
        </p:txBody>
      </p:sp>
      <p:sp>
        <p:nvSpPr>
          <p:cNvPr id="56" name="McK 1. On-page tracker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119064" y="2693"/>
            <a:ext cx="4948534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269875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АРШРУТИЗАЦИЯ ПАЦИЕНТОВ НА ИССЛЕДОВАНИЯ</a:t>
            </a:r>
          </a:p>
        </p:txBody>
      </p:sp>
      <p:sp>
        <p:nvSpPr>
          <p:cNvPr id="60" name="AutoShape 250"/>
          <p:cNvSpPr>
            <a:spLocks noChangeArrowheads="1"/>
          </p:cNvSpPr>
          <p:nvPr/>
        </p:nvSpPr>
        <p:spPr bwMode="gray">
          <a:xfrm>
            <a:off x="119063" y="1204913"/>
            <a:ext cx="8723312" cy="44935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Результаты опроса 110 пациентов 2 </a:t>
            </a:r>
            <a:r>
              <a:rPr lang="ru-RU" sz="1400" dirty="0" err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ГП</a:t>
            </a:r>
            <a:r>
              <a: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 (А и Б), проходивших </a:t>
            </a:r>
            <a:r>
              <a:rPr lang="ru-RU" sz="1400" dirty="0" err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МРТ</a:t>
            </a:r>
            <a:r>
              <a: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 или </a:t>
            </a:r>
            <a:r>
              <a:rPr lang="ru-RU" sz="1400" dirty="0" err="1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КТ</a:t>
            </a:r>
            <a:r>
              <a: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-обследование в период </a:t>
            </a:r>
            <a:r>
              <a:rPr lang="ru-RU" sz="140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с 1 октября 2015 г. </a:t>
            </a:r>
            <a:r>
              <a: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по 25 февраля 2016 </a:t>
            </a:r>
            <a:r>
              <a:rPr lang="ru-RU" sz="140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rPr>
              <a:t>г.</a:t>
            </a:r>
            <a:endParaRPr lang="ru-RU" sz="1400" dirty="0">
              <a:solidFill>
                <a:schemeClr val="accent1"/>
              </a:solidFill>
              <a:latin typeface="+mn-lt"/>
              <a:cs typeface="Arial" panose="020B0604020202020204" pitchFamily="34" charset="0"/>
              <a:sym typeface="+mn-lt"/>
            </a:endParaRPr>
          </a:p>
        </p:txBody>
      </p:sp>
      <p:sp>
        <p:nvSpPr>
          <p:cNvPr id="65" name="Oval 15"/>
          <p:cNvSpPr txBox="1"/>
          <p:nvPr>
            <p:custDataLst>
              <p:tags r:id="rId12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latin typeface="+mn-lt"/>
                <a:ea typeface="+mn-ea"/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grpSp>
        <p:nvGrpSpPr>
          <p:cNvPr id="68" name="Group 67"/>
          <p:cNvGrpSpPr>
            <a:grpSpLocks/>
          </p:cNvGrpSpPr>
          <p:nvPr/>
        </p:nvGrpSpPr>
        <p:grpSpPr>
          <a:xfrm>
            <a:off x="1303338" y="2703513"/>
            <a:ext cx="4564062" cy="233910"/>
            <a:chOff x="5284163" y="2455090"/>
            <a:chExt cx="3342573" cy="233910"/>
          </a:xfrm>
        </p:grpSpPr>
        <p:cxnSp>
          <p:nvCxnSpPr>
            <p:cNvPr id="69" name="AutoShape 249"/>
            <p:cNvCxnSpPr>
              <a:cxnSpLocks noChangeShapeType="1"/>
              <a:stCxn id="70" idx="4"/>
              <a:endCxn id="70" idx="6"/>
            </p:cNvCxnSpPr>
            <p:nvPr/>
          </p:nvCxnSpPr>
          <p:spPr bwMode="gray">
            <a:xfrm>
              <a:off x="5284163" y="2689000"/>
              <a:ext cx="3342573" cy="0"/>
            </a:xfrm>
            <a:prstGeom prst="straightConnector1">
              <a:avLst/>
            </a:prstGeom>
            <a:noFill/>
            <a:ln w="952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70" name="AutoShape 250"/>
            <p:cNvSpPr>
              <a:spLocks noChangeArrowheads="1"/>
            </p:cNvSpPr>
            <p:nvPr/>
          </p:nvSpPr>
          <p:spPr bwMode="gray">
            <a:xfrm>
              <a:off x="5284163" y="2455090"/>
              <a:ext cx="3342573" cy="23391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square" lIns="0" tIns="0" rIns="0" bIns="18288" anchor="b">
              <a:spAutoFit/>
            </a:bodyPr>
            <a:lstStyle/>
            <a:p>
              <a:r>
                <a:rPr lang="ru-RU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Время ожидания обследования </a:t>
              </a:r>
              <a:r>
                <a:rPr lang="ru-RU" sz="1400" dirty="0" err="1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Т</a:t>
              </a:r>
              <a:r>
                <a:rPr lang="ru-RU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 и </a:t>
              </a:r>
              <a:r>
                <a:rPr lang="ru-RU" sz="1400" dirty="0" err="1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МРТ</a:t>
              </a:r>
              <a:endParaRPr lang="ru-RU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71" name="3. Unit of measure"/>
          <p:cNvSpPr txBox="1">
            <a:spLocks noChangeArrowheads="1"/>
          </p:cNvSpPr>
          <p:nvPr/>
        </p:nvSpPr>
        <p:spPr bwMode="gray">
          <a:xfrm>
            <a:off x="119063" y="824833"/>
            <a:ext cx="8746662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tabLst>
                <a:tab pos="538163" algn="l"/>
              </a:tabLst>
              <a:defRPr/>
            </a:pPr>
            <a:r>
              <a:rPr lang="az-Cyrl-AZ" sz="16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  <a:sym typeface="+mn-lt"/>
              </a:rPr>
              <a:t>По результатам обзвона, дней</a:t>
            </a:r>
          </a:p>
        </p:txBody>
      </p:sp>
      <p:sp>
        <p:nvSpPr>
          <p:cNvPr id="3" name="Rectangle 2"/>
          <p:cNvSpPr/>
          <p:nvPr>
            <p:custDataLst>
              <p:tags r:id="rId13"/>
            </p:custDataLst>
          </p:nvPr>
        </p:nvSpPr>
        <p:spPr bwMode="auto">
          <a:xfrm>
            <a:off x="5691188" y="858838"/>
            <a:ext cx="165100" cy="16510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 smtClean="0">
              <a:solidFill>
                <a:schemeClr val="tx1"/>
              </a:solidFill>
            </a:endParaRPr>
          </a:p>
        </p:txBody>
      </p:sp>
      <p:sp>
        <p:nvSpPr>
          <p:cNvPr id="5" name="Rectangle 4"/>
          <p:cNvSpPr/>
          <p:nvPr>
            <p:custDataLst>
              <p:tags r:id="rId14"/>
            </p:custDataLst>
          </p:nvPr>
        </p:nvSpPr>
        <p:spPr bwMode="auto">
          <a:xfrm>
            <a:off x="6823075" y="858838"/>
            <a:ext cx="165100" cy="165100"/>
          </a:xfrm>
          <a:prstGeom prst="rect">
            <a:avLst/>
          </a:prstGeom>
          <a:solidFill>
            <a:schemeClr val="hlink"/>
          </a:solidFill>
          <a:ln w="9525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 smtClean="0">
              <a:solidFill>
                <a:schemeClr val="tx1"/>
              </a:solidFill>
            </a:endParaRPr>
          </a:p>
        </p:txBody>
      </p:sp>
      <p:sp>
        <p:nvSpPr>
          <p:cNvPr id="37" name="Text Placeholder 1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7089775" y="857250"/>
            <a:ext cx="1752600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dirty="0"/>
              <a:t>По отчету за </a:t>
            </a:r>
            <a:r>
              <a:rPr lang="ru-RU" sz="1200" dirty="0" smtClean="0"/>
              <a:t>4</a:t>
            </a:r>
            <a:r>
              <a:rPr lang="en-US" sz="1200" dirty="0" smtClean="0"/>
              <a:t> </a:t>
            </a:r>
            <a:r>
              <a:rPr lang="ru-RU" sz="1200" dirty="0" smtClean="0"/>
              <a:t>кв.</a:t>
            </a:r>
            <a:r>
              <a:rPr lang="en-US" sz="1200" dirty="0" smtClean="0"/>
              <a:t> </a:t>
            </a:r>
            <a:r>
              <a:rPr lang="ru-RU" sz="1200" dirty="0" smtClean="0"/>
              <a:t>2015</a:t>
            </a:r>
            <a:r>
              <a:rPr lang="en-US" sz="1200" dirty="0" smtClean="0"/>
              <a:t> </a:t>
            </a:r>
            <a:r>
              <a:rPr lang="ru-RU" sz="1200" dirty="0" smtClean="0"/>
              <a:t>г.</a:t>
            </a:r>
            <a:endParaRPr lang="ru-RU" sz="1200" dirty="0"/>
          </a:p>
        </p:txBody>
      </p:sp>
      <p:sp>
        <p:nvSpPr>
          <p:cNvPr id="50" name="Text Placeholder 3"/>
          <p:cNvSpPr>
            <a:spLocks noGrp="1"/>
          </p:cNvSpPr>
          <p:nvPr>
            <p:custDataLst>
              <p:tags r:id="rId16"/>
            </p:custDataLst>
          </p:nvPr>
        </p:nvSpPr>
        <p:spPr bwMode="auto">
          <a:xfrm>
            <a:off x="5957888" y="857250"/>
            <a:ext cx="661988" cy="1825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sz="1200" dirty="0" smtClean="0"/>
              <a:t>По факту</a:t>
            </a:r>
            <a:endParaRPr lang="ru-RU" sz="1200" dirty="0"/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493625" y="1865313"/>
            <a:ext cx="4055331" cy="6463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i="1" dirty="0" smtClean="0">
                <a:cs typeface="+mj-cs"/>
              </a:rPr>
              <a:t>Сколько времени вы ожидали с момента записи на </a:t>
            </a:r>
            <a:r>
              <a:rPr lang="ru-RU" sz="1400" i="1" dirty="0" err="1" smtClean="0">
                <a:cs typeface="+mj-cs"/>
              </a:rPr>
              <a:t>МРТ</a:t>
            </a:r>
            <a:r>
              <a:rPr lang="ru-RU" sz="1400" i="1" dirty="0" smtClean="0">
                <a:cs typeface="+mj-cs"/>
              </a:rPr>
              <a:t>/</a:t>
            </a:r>
            <a:r>
              <a:rPr lang="ru-RU" sz="1400" i="1" dirty="0" err="1" smtClean="0">
                <a:cs typeface="+mj-cs"/>
              </a:rPr>
              <a:t>КТ</a:t>
            </a:r>
            <a:r>
              <a:rPr lang="ru-RU" sz="1400" i="1" dirty="0" smtClean="0">
                <a:cs typeface="+mj-cs"/>
              </a:rPr>
              <a:t> (после получения направления) и до момента проведения обследования?</a:t>
            </a:r>
            <a:endParaRPr lang="ru-RU" sz="1400" i="1" dirty="0" smtClean="0"/>
          </a:p>
        </p:txBody>
      </p:sp>
      <p:pic>
        <p:nvPicPr>
          <p:cNvPr id="42" name="Picture 5" descr="Ausriss"/>
          <p:cNvPicPr>
            <a:picLocks noChangeArrowheads="1"/>
          </p:cNvPicPr>
          <p:nvPr/>
        </p:nvPicPr>
        <p:blipFill rotWithShape="1">
          <a:blip r:embed="rId2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33" t="2852" r="5972" b="7652"/>
          <a:stretch/>
        </p:blipFill>
        <p:spPr bwMode="auto">
          <a:xfrm>
            <a:off x="4954787" y="1760538"/>
            <a:ext cx="3822271" cy="89014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44" name="TextBox 43"/>
          <p:cNvSpPr txBox="1">
            <a:spLocks/>
          </p:cNvSpPr>
          <p:nvPr/>
        </p:nvSpPr>
        <p:spPr>
          <a:xfrm>
            <a:off x="5328831" y="1990725"/>
            <a:ext cx="307418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i="1" dirty="0" smtClean="0">
                <a:cs typeface="+mj-cs"/>
              </a:rPr>
              <a:t>Через сколько дней вам предложили забрать готовые результаты?</a:t>
            </a:r>
            <a:endParaRPr lang="ru-RU" sz="1400" i="1" dirty="0" smtClean="0"/>
          </a:p>
        </p:txBody>
      </p:sp>
      <p:grpSp>
        <p:nvGrpSpPr>
          <p:cNvPr id="45" name="Group 44"/>
          <p:cNvGrpSpPr>
            <a:grpSpLocks/>
          </p:cNvGrpSpPr>
          <p:nvPr/>
        </p:nvGrpSpPr>
        <p:grpSpPr bwMode="auto">
          <a:xfrm>
            <a:off x="275684" y="1822450"/>
            <a:ext cx="191877" cy="143208"/>
            <a:chOff x="713" y="499"/>
            <a:chExt cx="1293" cy="968"/>
          </a:xfrm>
          <a:solidFill>
            <a:schemeClr val="accent6"/>
          </a:solidFill>
        </p:grpSpPr>
        <p:sp>
          <p:nvSpPr>
            <p:cNvPr id="48" name="Freeform 47"/>
            <p:cNvSpPr>
              <a:spLocks/>
            </p:cNvSpPr>
            <p:nvPr/>
          </p:nvSpPr>
          <p:spPr bwMode="auto">
            <a:xfrm>
              <a:off x="713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49" name="Freeform 48"/>
            <p:cNvSpPr>
              <a:spLocks/>
            </p:cNvSpPr>
            <p:nvPr/>
          </p:nvSpPr>
          <p:spPr bwMode="auto">
            <a:xfrm>
              <a:off x="1424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</p:grpSp>
      <p:grpSp>
        <p:nvGrpSpPr>
          <p:cNvPr id="55" name="Group 54"/>
          <p:cNvGrpSpPr>
            <a:grpSpLocks/>
          </p:cNvGrpSpPr>
          <p:nvPr/>
        </p:nvGrpSpPr>
        <p:grpSpPr bwMode="auto">
          <a:xfrm flipH="1" flipV="1">
            <a:off x="4438240" y="2374900"/>
            <a:ext cx="191877" cy="143208"/>
            <a:chOff x="713" y="499"/>
            <a:chExt cx="1293" cy="968"/>
          </a:xfrm>
          <a:solidFill>
            <a:schemeClr val="accent6"/>
          </a:solidFill>
        </p:grpSpPr>
        <p:sp>
          <p:nvSpPr>
            <p:cNvPr id="57" name="Freeform 56"/>
            <p:cNvSpPr>
              <a:spLocks/>
            </p:cNvSpPr>
            <p:nvPr/>
          </p:nvSpPr>
          <p:spPr bwMode="auto">
            <a:xfrm>
              <a:off x="713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61" name="Freeform 60"/>
            <p:cNvSpPr>
              <a:spLocks/>
            </p:cNvSpPr>
            <p:nvPr/>
          </p:nvSpPr>
          <p:spPr bwMode="auto">
            <a:xfrm>
              <a:off x="1424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</p:grpSp>
      <p:grpSp>
        <p:nvGrpSpPr>
          <p:cNvPr id="72" name="Group 71"/>
          <p:cNvGrpSpPr>
            <a:grpSpLocks/>
          </p:cNvGrpSpPr>
          <p:nvPr/>
        </p:nvGrpSpPr>
        <p:grpSpPr bwMode="auto">
          <a:xfrm>
            <a:off x="5044916" y="1822450"/>
            <a:ext cx="191877" cy="143208"/>
            <a:chOff x="713" y="499"/>
            <a:chExt cx="1293" cy="968"/>
          </a:xfrm>
          <a:solidFill>
            <a:schemeClr val="accent6"/>
          </a:solidFill>
        </p:grpSpPr>
        <p:sp>
          <p:nvSpPr>
            <p:cNvPr id="73" name="Freeform 72"/>
            <p:cNvSpPr>
              <a:spLocks/>
            </p:cNvSpPr>
            <p:nvPr/>
          </p:nvSpPr>
          <p:spPr bwMode="auto">
            <a:xfrm>
              <a:off x="713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74" name="Freeform 73"/>
            <p:cNvSpPr>
              <a:spLocks/>
            </p:cNvSpPr>
            <p:nvPr/>
          </p:nvSpPr>
          <p:spPr bwMode="auto">
            <a:xfrm>
              <a:off x="1424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</p:grpSp>
      <p:grpSp>
        <p:nvGrpSpPr>
          <p:cNvPr id="75" name="Group 74"/>
          <p:cNvGrpSpPr>
            <a:grpSpLocks/>
          </p:cNvGrpSpPr>
          <p:nvPr/>
        </p:nvGrpSpPr>
        <p:grpSpPr bwMode="auto">
          <a:xfrm flipH="1" flipV="1">
            <a:off x="8388929" y="2395538"/>
            <a:ext cx="191877" cy="143208"/>
            <a:chOff x="713" y="499"/>
            <a:chExt cx="1293" cy="968"/>
          </a:xfrm>
          <a:solidFill>
            <a:schemeClr val="accent6"/>
          </a:solidFill>
        </p:grpSpPr>
        <p:sp>
          <p:nvSpPr>
            <p:cNvPr id="76" name="Freeform 75"/>
            <p:cNvSpPr>
              <a:spLocks/>
            </p:cNvSpPr>
            <p:nvPr/>
          </p:nvSpPr>
          <p:spPr bwMode="auto">
            <a:xfrm>
              <a:off x="713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  <p:sp>
          <p:nvSpPr>
            <p:cNvPr id="77" name="Freeform 76"/>
            <p:cNvSpPr>
              <a:spLocks/>
            </p:cNvSpPr>
            <p:nvPr/>
          </p:nvSpPr>
          <p:spPr bwMode="auto">
            <a:xfrm>
              <a:off x="1424" y="499"/>
              <a:ext cx="582" cy="968"/>
            </a:xfrm>
            <a:custGeom>
              <a:avLst/>
              <a:gdLst>
                <a:gd name="T0" fmla="*/ 528 w 582"/>
                <a:gd name="T1" fmla="*/ 0 h 968"/>
                <a:gd name="T2" fmla="*/ 528 w 582"/>
                <a:gd name="T3" fmla="*/ 70 h 968"/>
                <a:gd name="T4" fmla="*/ 210 w 582"/>
                <a:gd name="T5" fmla="*/ 516 h 968"/>
                <a:gd name="T6" fmla="*/ 240 w 582"/>
                <a:gd name="T7" fmla="*/ 538 h 968"/>
                <a:gd name="T8" fmla="*/ 366 w 582"/>
                <a:gd name="T9" fmla="*/ 496 h 968"/>
                <a:gd name="T10" fmla="*/ 578 w 582"/>
                <a:gd name="T11" fmla="*/ 730 h 968"/>
                <a:gd name="T12" fmla="*/ 320 w 582"/>
                <a:gd name="T13" fmla="*/ 968 h 968"/>
                <a:gd name="T14" fmla="*/ 28 w 582"/>
                <a:gd name="T15" fmla="*/ 566 h 968"/>
                <a:gd name="T16" fmla="*/ 528 w 582"/>
                <a:gd name="T17" fmla="*/ 0 h 9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582" h="968">
                  <a:moveTo>
                    <a:pt x="528" y="0"/>
                  </a:moveTo>
                  <a:cubicBezTo>
                    <a:pt x="528" y="35"/>
                    <a:pt x="528" y="70"/>
                    <a:pt x="528" y="70"/>
                  </a:cubicBezTo>
                  <a:cubicBezTo>
                    <a:pt x="528" y="70"/>
                    <a:pt x="202" y="171"/>
                    <a:pt x="210" y="516"/>
                  </a:cubicBezTo>
                  <a:cubicBezTo>
                    <a:pt x="210" y="516"/>
                    <a:pt x="207" y="550"/>
                    <a:pt x="240" y="538"/>
                  </a:cubicBezTo>
                  <a:cubicBezTo>
                    <a:pt x="240" y="538"/>
                    <a:pt x="289" y="493"/>
                    <a:pt x="366" y="496"/>
                  </a:cubicBezTo>
                  <a:cubicBezTo>
                    <a:pt x="366" y="496"/>
                    <a:pt x="582" y="505"/>
                    <a:pt x="578" y="730"/>
                  </a:cubicBezTo>
                  <a:cubicBezTo>
                    <a:pt x="578" y="730"/>
                    <a:pt x="560" y="962"/>
                    <a:pt x="320" y="968"/>
                  </a:cubicBezTo>
                  <a:cubicBezTo>
                    <a:pt x="0" y="936"/>
                    <a:pt x="28" y="566"/>
                    <a:pt x="28" y="566"/>
                  </a:cubicBezTo>
                  <a:cubicBezTo>
                    <a:pt x="28" y="566"/>
                    <a:pt x="7" y="180"/>
                    <a:pt x="528" y="0"/>
                  </a:cubicBezTo>
                  <a:close/>
                </a:path>
              </a:pathLst>
            </a:custGeom>
            <a:grp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xmlns="" w="9525" cap="flat" cmpd="sng">
                  <a:solidFill>
                    <a:schemeClr val="tx1"/>
                  </a:solidFill>
                  <a:prstDash val="solid"/>
                  <a:round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91440" tIns="45720" rIns="91440" bIns="45720" numCol="1" anchor="ctr" anchorCtr="0" compatLnSpc="1">
              <a:prstTxWarp prst="textNoShape">
                <a:avLst/>
              </a:prstTxWarp>
              <a:noAutofit/>
            </a:bodyPr>
            <a:lstStyle/>
            <a:p>
              <a:endParaRPr lang="de-DE" sz="1400"/>
            </a:p>
          </p:txBody>
        </p:sp>
      </p:grpSp>
      <p:cxnSp>
        <p:nvCxnSpPr>
          <p:cNvPr id="11" name="Straight Connector 10"/>
          <p:cNvCxnSpPr>
            <a:cxnSpLocks/>
          </p:cNvCxnSpPr>
          <p:nvPr/>
        </p:nvCxnSpPr>
        <p:spPr>
          <a:xfrm flipH="1">
            <a:off x="184380" y="3567113"/>
            <a:ext cx="859267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>
            <a:cxnSpLocks/>
          </p:cNvCxnSpPr>
          <p:nvPr/>
        </p:nvCxnSpPr>
        <p:spPr>
          <a:xfrm flipH="1">
            <a:off x="184380" y="4151313"/>
            <a:ext cx="8592678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>
            <a:spLocks/>
          </p:cNvSpPr>
          <p:nvPr/>
        </p:nvSpPr>
        <p:spPr>
          <a:xfrm>
            <a:off x="119063" y="4943868"/>
            <a:ext cx="8723312" cy="143808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3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400" dirty="0" smtClean="0"/>
              <a:t>Для </a:t>
            </a:r>
            <a:r>
              <a:rPr lang="ru-RU" sz="1400" dirty="0" err="1" smtClean="0"/>
              <a:t>ГП</a:t>
            </a:r>
            <a:r>
              <a:rPr lang="ru-RU" sz="1400" dirty="0" smtClean="0"/>
              <a:t> Б </a:t>
            </a:r>
            <a:r>
              <a:rPr lang="ru-RU" sz="1400" dirty="0" smtClean="0">
                <a:solidFill>
                  <a:schemeClr val="accent1"/>
                </a:solidFill>
              </a:rPr>
              <a:t>время ожидания обследования варьируется от 0 до 45 дней </a:t>
            </a:r>
            <a:r>
              <a:rPr lang="ru-RU" sz="1400" dirty="0" smtClean="0"/>
              <a:t>– возможно, из-за попадания на январские праздники, а также включения части пациентов, перенаправленных в </a:t>
            </a:r>
            <a:r>
              <a:rPr lang="ru-RU" sz="1400" dirty="0" err="1" smtClean="0"/>
              <a:t>ГП</a:t>
            </a:r>
            <a:r>
              <a:rPr lang="ru-RU" sz="1400" dirty="0" smtClean="0"/>
              <a:t> Б</a:t>
            </a:r>
          </a:p>
          <a:p>
            <a:pPr lvl="1"/>
            <a:r>
              <a:rPr lang="ru-RU" sz="1400" dirty="0" smtClean="0"/>
              <a:t>В </a:t>
            </a:r>
            <a:r>
              <a:rPr lang="ru-RU" sz="1400" dirty="0" err="1" smtClean="0"/>
              <a:t>ГП</a:t>
            </a:r>
            <a:r>
              <a:rPr lang="ru-RU" sz="1400" dirty="0" smtClean="0"/>
              <a:t> Б в числе респондентов были несколько </a:t>
            </a:r>
            <a:r>
              <a:rPr lang="ru-RU" sz="1400" dirty="0" smtClean="0">
                <a:solidFill>
                  <a:schemeClr val="accent1"/>
                </a:solidFill>
              </a:rPr>
              <a:t>сотрудников </a:t>
            </a:r>
            <a:r>
              <a:rPr lang="ru-RU" sz="1400" dirty="0" err="1" smtClean="0">
                <a:solidFill>
                  <a:schemeClr val="accent1"/>
                </a:solidFill>
              </a:rPr>
              <a:t>ГП</a:t>
            </a:r>
            <a:r>
              <a:rPr lang="ru-RU" sz="1400" dirty="0" smtClean="0"/>
              <a:t>, в </a:t>
            </a:r>
            <a:r>
              <a:rPr lang="ru-RU" sz="1400" dirty="0" err="1" smtClean="0"/>
              <a:t>т.ч</a:t>
            </a:r>
            <a:r>
              <a:rPr lang="ru-RU" sz="1400" dirty="0" smtClean="0"/>
              <a:t>. главврач, у которых время ожидания назначения на обследования равнялось 0 дням</a:t>
            </a:r>
          </a:p>
          <a:p>
            <a:pPr lvl="1"/>
            <a:r>
              <a:rPr lang="ru-RU" sz="1400" dirty="0" smtClean="0">
                <a:solidFill>
                  <a:schemeClr val="accent1"/>
                </a:solidFill>
              </a:rPr>
              <a:t>Данные по времени выдачи </a:t>
            </a:r>
            <a:r>
              <a:rPr lang="ru-RU" sz="1400" dirty="0" smtClean="0"/>
              <a:t>заключений могут отличаться от официальных, так как демонстрируют, когда пациенту было рекомендовано получить заключение, а не когда врач закончил его составлять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25285356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" name="Object 24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2215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00602" y="230188"/>
            <a:ext cx="7211548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dirty="0"/>
              <a:t>В. Текущая система финансирования и нечеткий порядок маршрутизации усложняют процесс перенаправления пациентов</a:t>
            </a:r>
          </a:p>
        </p:txBody>
      </p:sp>
      <p:sp>
        <p:nvSpPr>
          <p:cNvPr id="19" name="McK 5. Source"/>
          <p:cNvSpPr>
            <a:spLocks noChangeArrowheads="1"/>
          </p:cNvSpPr>
          <p:nvPr/>
        </p:nvSpPr>
        <p:spPr bwMode="auto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ИСТОЧНИК: интервью с сотрудниками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НПЦ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Р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000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зав.отделениями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, </a:t>
            </a:r>
            <a:r>
              <a:rPr lang="ru-RU" sz="1000" dirty="0" smtClean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врачами; анализ </a:t>
            </a:r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рабочей группы</a:t>
            </a:r>
          </a:p>
        </p:txBody>
      </p:sp>
      <p:cxnSp>
        <p:nvCxnSpPr>
          <p:cNvPr id="51" name="Straight Connector 50"/>
          <p:cNvCxnSpPr>
            <a:cxnSpLocks/>
          </p:cNvCxnSpPr>
          <p:nvPr>
            <p:custDataLst>
              <p:tags r:id="rId3"/>
            </p:custDataLst>
          </p:nvPr>
        </p:nvCxnSpPr>
        <p:spPr>
          <a:xfrm>
            <a:off x="119063" y="2719392"/>
            <a:ext cx="8723313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Straight Connector 47"/>
          <p:cNvCxnSpPr>
            <a:cxnSpLocks/>
          </p:cNvCxnSpPr>
          <p:nvPr>
            <p:custDataLst>
              <p:tags r:id="rId4"/>
            </p:custDataLst>
          </p:nvPr>
        </p:nvCxnSpPr>
        <p:spPr>
          <a:xfrm>
            <a:off x="1907946" y="1042374"/>
            <a:ext cx="693443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6" name="McK 1. On-page tracke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9064" y="2693"/>
            <a:ext cx="49453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indent="266700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АРШРУТИЗАЦИЯ ПАЦИЕНТОВ НА ИССЛЕДОВАНИЯ</a:t>
            </a:r>
          </a:p>
        </p:txBody>
      </p:sp>
      <p:grpSp>
        <p:nvGrpSpPr>
          <p:cNvPr id="47" name="Flow 2"/>
          <p:cNvGrpSpPr>
            <a:grpSpLocks/>
          </p:cNvGrpSpPr>
          <p:nvPr>
            <p:custDataLst>
              <p:tags r:id="rId6"/>
            </p:custDataLst>
          </p:nvPr>
        </p:nvGrpSpPr>
        <p:grpSpPr bwMode="gray">
          <a:xfrm>
            <a:off x="119063" y="2798031"/>
            <a:ext cx="1633537" cy="1477329"/>
            <a:chOff x="5905500" y="3124200"/>
            <a:chExt cx="1828800" cy="914400"/>
          </a:xfrm>
        </p:grpSpPr>
        <p:sp>
          <p:nvSpPr>
            <p:cNvPr id="50" name="Freeform 49"/>
            <p:cNvSpPr/>
            <p:nvPr>
              <p:custDataLst>
                <p:tags r:id="rId12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52" name="TextBox 51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dirty="0">
                  <a:solidFill>
                    <a:schemeClr val="accent1"/>
                  </a:solidFill>
                  <a:cs typeface="Arial" panose="020B0604020202020204" pitchFamily="34" charset="0"/>
                </a:rPr>
                <a:t>Система финансирования обследования перенаправленных пациентов</a:t>
              </a:r>
              <a:endParaRPr lang="en-US" sz="1200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35" name="Oval 15"/>
          <p:cNvSpPr txBox="1"/>
          <p:nvPr>
            <p:custDataLst>
              <p:tags r:id="rId7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45" name="4. Footnote"/>
          <p:cNvSpPr txBox="1">
            <a:spLocks noChangeArrowheads="1"/>
          </p:cNvSpPr>
          <p:nvPr/>
        </p:nvSpPr>
        <p:spPr bwMode="gray">
          <a:xfrm>
            <a:off x="119063" y="6283038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solidFill>
                  <a:schemeClr val="accent6"/>
                </a:solidFill>
                <a:latin typeface="+mn-lt"/>
                <a:cs typeface="Arial" panose="020B0604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>
                <a:sym typeface="+mn-lt"/>
              </a:rPr>
              <a:t>1 По мнению </a:t>
            </a:r>
            <a:r>
              <a:rPr lang="ru-RU" dirty="0" err="1">
                <a:sym typeface="+mn-lt"/>
              </a:rPr>
              <a:t>мед.персонала</a:t>
            </a:r>
            <a:r>
              <a:rPr lang="ru-RU" dirty="0">
                <a:sym typeface="+mn-lt"/>
              </a:rPr>
              <a:t>, а также т.к. стоимость исследования с контрастом составляет более 50% от </a:t>
            </a:r>
            <a:r>
              <a:rPr lang="ru-RU" dirty="0" err="1">
                <a:sym typeface="+mn-lt"/>
              </a:rPr>
              <a:t>подушевого</a:t>
            </a:r>
            <a:r>
              <a:rPr lang="ru-RU" dirty="0">
                <a:sym typeface="+mn-lt"/>
              </a:rPr>
              <a:t> тарифа на человека</a:t>
            </a:r>
            <a:endParaRPr lang="de-DE" dirty="0">
              <a:sym typeface="+mn-lt"/>
            </a:endParaRPr>
          </a:p>
        </p:txBody>
      </p:sp>
      <p:grpSp>
        <p:nvGrpSpPr>
          <p:cNvPr id="40" name="Flow 2"/>
          <p:cNvGrpSpPr>
            <a:grpSpLocks/>
          </p:cNvGrpSpPr>
          <p:nvPr>
            <p:custDataLst>
              <p:tags r:id="rId8"/>
            </p:custDataLst>
          </p:nvPr>
        </p:nvGrpSpPr>
        <p:grpSpPr bwMode="gray">
          <a:xfrm>
            <a:off x="119063" y="1119249"/>
            <a:ext cx="1633537" cy="1477329"/>
            <a:chOff x="5905500" y="3124199"/>
            <a:chExt cx="1828800" cy="914400"/>
          </a:xfrm>
        </p:grpSpPr>
        <p:sp>
          <p:nvSpPr>
            <p:cNvPr id="42" name="Freeform 41"/>
            <p:cNvSpPr/>
            <p:nvPr>
              <p:custDataLst>
                <p:tags r:id="rId10"/>
              </p:custDataLst>
            </p:nvPr>
          </p:nvSpPr>
          <p:spPr bwMode="gray">
            <a:xfrm>
              <a:off x="5905500" y="3124199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43" name="TextBox 42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5969000" y="3187700"/>
              <a:ext cx="1524000" cy="78740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dirty="0">
                  <a:solidFill>
                    <a:schemeClr val="accent1"/>
                  </a:solidFill>
                  <a:cs typeface="Arial" panose="020B0604020202020204" pitchFamily="34" charset="0"/>
                </a:rPr>
                <a:t>Направления маршрутизации между учреждениями</a:t>
              </a:r>
              <a:endParaRPr lang="en-US" sz="1200" dirty="0">
                <a:solidFill>
                  <a:schemeClr val="accent1"/>
                </a:solidFill>
                <a:cs typeface="Arial" panose="020B0604020202020204" pitchFamily="34" charset="0"/>
              </a:endParaRPr>
            </a:p>
          </p:txBody>
        </p:sp>
      </p:grpSp>
      <p:sp>
        <p:nvSpPr>
          <p:cNvPr id="44" name="TextBox 43"/>
          <p:cNvSpPr txBox="1">
            <a:spLocks/>
          </p:cNvSpPr>
          <p:nvPr>
            <p:custDataLst>
              <p:tags r:id="rId9"/>
            </p:custDataLst>
          </p:nvPr>
        </p:nvSpPr>
        <p:spPr>
          <a:xfrm>
            <a:off x="5691092" y="841834"/>
            <a:ext cx="3151284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</a:rPr>
              <a:t>Цитата</a:t>
            </a:r>
            <a:endParaRPr lang="en-US" sz="1200" dirty="0">
              <a:solidFill>
                <a:schemeClr val="accent1"/>
              </a:solidFill>
            </a:endParaRPr>
          </a:p>
        </p:txBody>
      </p:sp>
      <p:sp>
        <p:nvSpPr>
          <p:cNvPr id="26" name="TextBox 25"/>
          <p:cNvSpPr txBox="1">
            <a:spLocks/>
          </p:cNvSpPr>
          <p:nvPr/>
        </p:nvSpPr>
        <p:spPr>
          <a:xfrm>
            <a:off x="1907946" y="841834"/>
            <a:ext cx="3627800" cy="1846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  <a:cs typeface="Arial" panose="020B0604020202020204" pitchFamily="34" charset="0"/>
              </a:rPr>
              <a:t>Пояснение</a:t>
            </a:r>
            <a:endParaRPr lang="en-US" sz="1200" dirty="0">
              <a:solidFill>
                <a:schemeClr val="accent1"/>
              </a:solidFill>
              <a:cs typeface="Arial" panose="020B0604020202020204" pitchFamily="34" charset="0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1907946" y="2875339"/>
            <a:ext cx="3627800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/>
              <a:t>Невыгодные условия для поликлиник при направлении больных в другие амбулаторные </a:t>
            </a:r>
            <a:r>
              <a:rPr lang="ru-RU" sz="1200" dirty="0" smtClean="0"/>
              <a:t>учреждения</a:t>
            </a:r>
          </a:p>
          <a:p>
            <a:pPr lvl="1"/>
            <a:r>
              <a:rPr lang="ru-RU" sz="1200" dirty="0" smtClean="0">
                <a:solidFill>
                  <a:srgbClr val="000000"/>
                </a:solidFill>
              </a:rPr>
              <a:t>Выгоднее перенаправить в стационар, чем в другую поликлинику</a:t>
            </a:r>
            <a:endParaRPr lang="ru-RU" sz="1200" dirty="0">
              <a:solidFill>
                <a:srgbClr val="000000"/>
              </a:solidFill>
            </a:endParaRPr>
          </a:p>
        </p:txBody>
      </p:sp>
      <p:sp>
        <p:nvSpPr>
          <p:cNvPr id="3" name="TextBox 2"/>
          <p:cNvSpPr txBox="1">
            <a:spLocks/>
          </p:cNvSpPr>
          <p:nvPr/>
        </p:nvSpPr>
        <p:spPr>
          <a:xfrm>
            <a:off x="1907946" y="1119249"/>
            <a:ext cx="3627800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Отсутствие системы нормативов, определяющих маршрутизацию пациентов (между поликлиниками, между поликлиниками и стационарами)</a:t>
            </a:r>
          </a:p>
          <a:p>
            <a:pPr lvl="1"/>
            <a:r>
              <a:rPr lang="ru-RU" sz="1200" dirty="0">
                <a:solidFill>
                  <a:srgbClr val="000000"/>
                </a:solidFill>
              </a:rPr>
              <a:t>Отсутствие классификации медицинских случаев, требующих направления из амбулаторных в стационарные мед. </a:t>
            </a:r>
            <a:r>
              <a:rPr lang="ru-RU" sz="1200" dirty="0" smtClean="0">
                <a:solidFill>
                  <a:srgbClr val="000000"/>
                </a:solidFill>
              </a:rPr>
              <a:t>учреждения</a:t>
            </a:r>
          </a:p>
        </p:txBody>
      </p:sp>
      <p:grpSp>
        <p:nvGrpSpPr>
          <p:cNvPr id="38" name="Group 37"/>
          <p:cNvGrpSpPr/>
          <p:nvPr/>
        </p:nvGrpSpPr>
        <p:grpSpPr>
          <a:xfrm>
            <a:off x="5691092" y="1119249"/>
            <a:ext cx="3151284" cy="1465801"/>
            <a:chOff x="5691092" y="1119249"/>
            <a:chExt cx="3151284" cy="1465801"/>
          </a:xfrm>
        </p:grpSpPr>
        <p:pic>
          <p:nvPicPr>
            <p:cNvPr id="54" name="Picture 5" descr="Ausriss"/>
            <p:cNvPicPr>
              <a:picLocks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33" t="2852" r="5972" b="7652"/>
            <a:stretch/>
          </p:blipFill>
          <p:spPr bwMode="auto">
            <a:xfrm>
              <a:off x="5691092" y="1119249"/>
              <a:ext cx="3151284" cy="1465801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58" name="Group 57"/>
            <p:cNvGrpSpPr>
              <a:grpSpLocks/>
            </p:cNvGrpSpPr>
            <p:nvPr/>
          </p:nvGrpSpPr>
          <p:grpSpPr bwMode="auto">
            <a:xfrm>
              <a:off x="5780890" y="1177333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59" name="Freeform 58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60" name="Freeform 59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grpSp>
          <p:nvGrpSpPr>
            <p:cNvPr id="61" name="Group 60"/>
            <p:cNvGrpSpPr>
              <a:grpSpLocks/>
            </p:cNvGrpSpPr>
            <p:nvPr/>
          </p:nvGrpSpPr>
          <p:grpSpPr bwMode="auto">
            <a:xfrm flipH="1" flipV="1">
              <a:off x="8422385" y="2337917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62" name="Freeform 61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65" name="Freeform 64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sp>
          <p:nvSpPr>
            <p:cNvPr id="17" name="TextBox 16"/>
            <p:cNvSpPr txBox="1">
              <a:spLocks/>
            </p:cNvSpPr>
            <p:nvPr/>
          </p:nvSpPr>
          <p:spPr>
            <a:xfrm>
              <a:off x="6005466" y="1205818"/>
              <a:ext cx="2522536" cy="129266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i="1" dirty="0" smtClean="0">
                  <a:cs typeface="+mj-cs"/>
                </a:rPr>
                <a:t>Из амбулаторных часто отправляют на </a:t>
              </a:r>
              <a:r>
                <a:rPr lang="ru-RU" sz="1200" i="1" dirty="0" err="1" smtClean="0">
                  <a:cs typeface="+mj-cs"/>
                </a:rPr>
                <a:t>КТ</a:t>
              </a:r>
              <a:r>
                <a:rPr lang="ru-RU" sz="1200" i="1" dirty="0" smtClean="0">
                  <a:cs typeface="+mj-cs"/>
                </a:rPr>
                <a:t>/</a:t>
              </a:r>
              <a:r>
                <a:rPr lang="ru-RU" sz="1200" i="1" dirty="0" err="1" smtClean="0">
                  <a:cs typeface="+mj-cs"/>
                </a:rPr>
                <a:t>МРТ</a:t>
              </a:r>
              <a:r>
                <a:rPr lang="ru-RU" sz="1200" i="1" dirty="0" smtClean="0">
                  <a:cs typeface="+mj-cs"/>
                </a:rPr>
                <a:t> с контрастом не столько в силу отсутствия должной квалификации, сколько</a:t>
              </a:r>
              <a:br>
                <a:rPr lang="ru-RU" sz="1200" i="1" dirty="0" smtClean="0">
                  <a:cs typeface="+mj-cs"/>
                </a:rPr>
              </a:br>
              <a:r>
                <a:rPr lang="ru-RU" sz="1200" i="1" dirty="0" smtClean="0">
                  <a:cs typeface="+mj-cs"/>
                </a:rPr>
                <a:t>из-за экономии средств и желания перестраховаться</a:t>
              </a:r>
              <a:endParaRPr lang="ru-RU" sz="1200" i="1" dirty="0" smtClean="0"/>
            </a:p>
          </p:txBody>
        </p:sp>
      </p:grpSp>
      <p:grpSp>
        <p:nvGrpSpPr>
          <p:cNvPr id="83" name="Group 82"/>
          <p:cNvGrpSpPr/>
          <p:nvPr/>
        </p:nvGrpSpPr>
        <p:grpSpPr>
          <a:xfrm>
            <a:off x="5691092" y="4992512"/>
            <a:ext cx="3151284" cy="1093964"/>
            <a:chOff x="5691092" y="4992512"/>
            <a:chExt cx="3151284" cy="1093964"/>
          </a:xfrm>
        </p:grpSpPr>
        <p:pic>
          <p:nvPicPr>
            <p:cNvPr id="74" name="Picture 5" descr="Ausriss"/>
            <p:cNvPicPr>
              <a:picLocks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33" t="2852" r="5972" b="7652"/>
            <a:stretch/>
          </p:blipFill>
          <p:spPr bwMode="auto">
            <a:xfrm>
              <a:off x="5691092" y="4992512"/>
              <a:ext cx="3151284" cy="109396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75" name="Group 74"/>
            <p:cNvGrpSpPr>
              <a:grpSpLocks/>
            </p:cNvGrpSpPr>
            <p:nvPr/>
          </p:nvGrpSpPr>
          <p:grpSpPr bwMode="auto">
            <a:xfrm>
              <a:off x="5780890" y="5050595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76" name="Freeform 75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77" name="Freeform 76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grpSp>
          <p:nvGrpSpPr>
            <p:cNvPr id="78" name="Group 77"/>
            <p:cNvGrpSpPr>
              <a:grpSpLocks/>
            </p:cNvGrpSpPr>
            <p:nvPr/>
          </p:nvGrpSpPr>
          <p:grpSpPr bwMode="auto">
            <a:xfrm flipH="1" flipV="1">
              <a:off x="8422385" y="5811129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79" name="Freeform 78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80" name="Freeform 79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sp>
          <p:nvSpPr>
            <p:cNvPr id="11" name="TextBox 10"/>
            <p:cNvSpPr txBox="1">
              <a:spLocks/>
            </p:cNvSpPr>
            <p:nvPr/>
          </p:nvSpPr>
          <p:spPr>
            <a:xfrm>
              <a:off x="6005466" y="5170162"/>
              <a:ext cx="2522536" cy="73866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i="1" dirty="0" smtClean="0">
                  <a:cs typeface="+mj-cs"/>
                </a:rPr>
                <a:t>Принимать амбулаторных пациентов – "добрая воля" стационаров. В </a:t>
              </a:r>
              <a:r>
                <a:rPr lang="ru-RU" sz="1200" i="1" dirty="0" err="1" smtClean="0">
                  <a:cs typeface="+mj-cs"/>
                </a:rPr>
                <a:t>СЗАО</a:t>
              </a:r>
              <a:r>
                <a:rPr lang="ru-RU" sz="1200" i="1" dirty="0" smtClean="0">
                  <a:cs typeface="+mj-cs"/>
                </a:rPr>
                <a:t> мы временно отказались от этого</a:t>
              </a:r>
            </a:p>
          </p:txBody>
        </p:sp>
      </p:grpSp>
      <p:grpSp>
        <p:nvGrpSpPr>
          <p:cNvPr id="39" name="Group 38"/>
          <p:cNvGrpSpPr/>
          <p:nvPr/>
        </p:nvGrpSpPr>
        <p:grpSpPr>
          <a:xfrm>
            <a:off x="5691092" y="2753855"/>
            <a:ext cx="3151284" cy="2069852"/>
            <a:chOff x="5691092" y="2753855"/>
            <a:chExt cx="3151284" cy="2069852"/>
          </a:xfrm>
        </p:grpSpPr>
        <p:pic>
          <p:nvPicPr>
            <p:cNvPr id="67" name="Picture 5" descr="Ausriss"/>
            <p:cNvPicPr>
              <a:picLocks noChangeArrowheads="1"/>
            </p:cNvPicPr>
            <p:nvPr/>
          </p:nvPicPr>
          <p:blipFill rotWithShape="1">
            <a:blip r:embed="rId1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2533" t="2852" r="5972" b="7652"/>
            <a:stretch/>
          </p:blipFill>
          <p:spPr bwMode="auto">
            <a:xfrm>
              <a:off x="5691092" y="2753855"/>
              <a:ext cx="3151284" cy="206985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</a:extLst>
          </p:spPr>
        </p:pic>
        <p:grpSp>
          <p:nvGrpSpPr>
            <p:cNvPr id="68" name="Group 67"/>
            <p:cNvGrpSpPr>
              <a:grpSpLocks/>
            </p:cNvGrpSpPr>
            <p:nvPr/>
          </p:nvGrpSpPr>
          <p:grpSpPr bwMode="auto">
            <a:xfrm flipH="1" flipV="1">
              <a:off x="8422385" y="4531323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69" name="Freeform 68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70" name="Freeform 69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grpSp>
          <p:nvGrpSpPr>
            <p:cNvPr id="71" name="Group 70"/>
            <p:cNvGrpSpPr>
              <a:grpSpLocks/>
            </p:cNvGrpSpPr>
            <p:nvPr/>
          </p:nvGrpSpPr>
          <p:grpSpPr bwMode="auto">
            <a:xfrm>
              <a:off x="5780890" y="2832371"/>
              <a:ext cx="191878" cy="143208"/>
              <a:chOff x="713" y="499"/>
              <a:chExt cx="1293" cy="968"/>
            </a:xfrm>
            <a:solidFill>
              <a:schemeClr val="accent6"/>
            </a:solidFill>
          </p:grpSpPr>
          <p:sp>
            <p:nvSpPr>
              <p:cNvPr id="72" name="Freeform 71"/>
              <p:cNvSpPr>
                <a:spLocks/>
              </p:cNvSpPr>
              <p:nvPr/>
            </p:nvSpPr>
            <p:spPr bwMode="auto">
              <a:xfrm>
                <a:off x="713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  <p:sp>
            <p:nvSpPr>
              <p:cNvPr id="73" name="Freeform 72"/>
              <p:cNvSpPr>
                <a:spLocks/>
              </p:cNvSpPr>
              <p:nvPr/>
            </p:nvSpPr>
            <p:spPr bwMode="auto">
              <a:xfrm>
                <a:off x="1424" y="499"/>
                <a:ext cx="582" cy="968"/>
              </a:xfrm>
              <a:custGeom>
                <a:avLst/>
                <a:gdLst>
                  <a:gd name="T0" fmla="*/ 528 w 582"/>
                  <a:gd name="T1" fmla="*/ 0 h 968"/>
                  <a:gd name="T2" fmla="*/ 528 w 582"/>
                  <a:gd name="T3" fmla="*/ 70 h 968"/>
                  <a:gd name="T4" fmla="*/ 210 w 582"/>
                  <a:gd name="T5" fmla="*/ 516 h 968"/>
                  <a:gd name="T6" fmla="*/ 240 w 582"/>
                  <a:gd name="T7" fmla="*/ 538 h 968"/>
                  <a:gd name="T8" fmla="*/ 366 w 582"/>
                  <a:gd name="T9" fmla="*/ 496 h 968"/>
                  <a:gd name="T10" fmla="*/ 578 w 582"/>
                  <a:gd name="T11" fmla="*/ 730 h 968"/>
                  <a:gd name="T12" fmla="*/ 320 w 582"/>
                  <a:gd name="T13" fmla="*/ 968 h 968"/>
                  <a:gd name="T14" fmla="*/ 28 w 582"/>
                  <a:gd name="T15" fmla="*/ 566 h 968"/>
                  <a:gd name="T16" fmla="*/ 528 w 582"/>
                  <a:gd name="T17" fmla="*/ 0 h 968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582" h="968">
                    <a:moveTo>
                      <a:pt x="528" y="0"/>
                    </a:moveTo>
                    <a:cubicBezTo>
                      <a:pt x="528" y="35"/>
                      <a:pt x="528" y="70"/>
                      <a:pt x="528" y="70"/>
                    </a:cubicBezTo>
                    <a:cubicBezTo>
                      <a:pt x="528" y="70"/>
                      <a:pt x="202" y="171"/>
                      <a:pt x="210" y="516"/>
                    </a:cubicBezTo>
                    <a:cubicBezTo>
                      <a:pt x="210" y="516"/>
                      <a:pt x="207" y="550"/>
                      <a:pt x="240" y="538"/>
                    </a:cubicBezTo>
                    <a:cubicBezTo>
                      <a:pt x="240" y="538"/>
                      <a:pt x="289" y="493"/>
                      <a:pt x="366" y="496"/>
                    </a:cubicBezTo>
                    <a:cubicBezTo>
                      <a:pt x="366" y="496"/>
                      <a:pt x="582" y="505"/>
                      <a:pt x="578" y="730"/>
                    </a:cubicBezTo>
                    <a:cubicBezTo>
                      <a:pt x="578" y="730"/>
                      <a:pt x="560" y="962"/>
                      <a:pt x="320" y="968"/>
                    </a:cubicBezTo>
                    <a:cubicBezTo>
                      <a:pt x="0" y="936"/>
                      <a:pt x="28" y="566"/>
                      <a:pt x="28" y="566"/>
                    </a:cubicBezTo>
                    <a:cubicBezTo>
                      <a:pt x="28" y="566"/>
                      <a:pt x="7" y="180"/>
                      <a:pt x="528" y="0"/>
                    </a:cubicBezTo>
                    <a:close/>
                  </a:path>
                </a:pathLst>
              </a:custGeom>
              <a:grpFill/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="" w="9525" cap="flat" cmpd="sng">
                    <a:solidFill>
                      <a:schemeClr val="tx1"/>
                    </a:solidFill>
                    <a:prstDash val="solid"/>
                    <a:round/>
                    <a:headEnd/>
                    <a:tailEnd/>
                  </a14:hiddenLine>
                </a:ex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vert="horz" wrap="square" lIns="91440" tIns="45720" rIns="91440" bIns="45720" numCol="1" anchor="ctr" anchorCtr="0" compatLnSpc="1">
                <a:prstTxWarp prst="textNoShape">
                  <a:avLst/>
                </a:prstTxWarp>
                <a:noAutofit/>
              </a:bodyPr>
              <a:lstStyle/>
              <a:p>
                <a:endParaRPr lang="de-DE" sz="1200"/>
              </a:p>
            </p:txBody>
          </p:sp>
        </p:grpSp>
        <p:sp>
          <p:nvSpPr>
            <p:cNvPr id="13" name="TextBox 12"/>
            <p:cNvSpPr txBox="1">
              <a:spLocks/>
            </p:cNvSpPr>
            <p:nvPr/>
          </p:nvSpPr>
          <p:spPr>
            <a:xfrm>
              <a:off x="6005466" y="2865452"/>
              <a:ext cx="2522536" cy="1846659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i="1" dirty="0" smtClean="0">
                  <a:cs typeface="+mj-cs"/>
                </a:rPr>
                <a:t>Больнице невыгодно проводить </a:t>
              </a:r>
              <a:r>
                <a:rPr lang="ru-RU" sz="1200" i="1" dirty="0" err="1" smtClean="0">
                  <a:cs typeface="+mj-cs"/>
                </a:rPr>
                <a:t>КТ</a:t>
              </a:r>
              <a:r>
                <a:rPr lang="ru-RU" sz="1200" i="1" dirty="0" smtClean="0">
                  <a:cs typeface="+mj-cs"/>
                </a:rPr>
                <a:t> с контрастом амбулаторному пациенту за счет "</a:t>
              </a:r>
              <a:r>
                <a:rPr lang="ru-RU" sz="1200" i="1" dirty="0" err="1" smtClean="0">
                  <a:cs typeface="+mj-cs"/>
                </a:rPr>
                <a:t>подушевика</a:t>
              </a:r>
              <a:r>
                <a:rPr lang="ru-RU" sz="1200" i="1" dirty="0" smtClean="0">
                  <a:cs typeface="+mj-cs"/>
                </a:rPr>
                <a:t>". </a:t>
              </a:r>
              <a:r>
                <a:rPr lang="en-US" sz="1200" i="1" dirty="0" smtClean="0">
                  <a:cs typeface="+mj-cs"/>
                </a:rPr>
                <a:t/>
              </a:r>
              <a:br>
                <a:rPr lang="en-US" sz="1200" i="1" dirty="0" smtClean="0">
                  <a:cs typeface="+mj-cs"/>
                </a:rPr>
              </a:br>
              <a:r>
                <a:rPr lang="ru-RU" sz="1200" i="1" dirty="0" smtClean="0">
                  <a:cs typeface="+mj-cs"/>
                </a:rPr>
                <a:t>Иногда стационары госпитализировали амбулаторных пациентов на день только ради проведения </a:t>
              </a:r>
              <a:r>
                <a:rPr lang="ru-RU" sz="1200" i="1" dirty="0" err="1" smtClean="0">
                  <a:cs typeface="+mj-cs"/>
                </a:rPr>
                <a:t>КТ</a:t>
              </a:r>
              <a:r>
                <a:rPr lang="ru-RU" sz="1200" i="1" dirty="0" smtClean="0">
                  <a:cs typeface="+mj-cs"/>
                </a:rPr>
                <a:t>/</a:t>
              </a:r>
              <a:r>
                <a:rPr lang="ru-RU" sz="1200" i="1" dirty="0" err="1" smtClean="0">
                  <a:cs typeface="+mj-cs"/>
                </a:rPr>
                <a:t>МРТ</a:t>
              </a:r>
              <a:r>
                <a:rPr lang="ru-RU" sz="1200" i="1" dirty="0" smtClean="0">
                  <a:cs typeface="+mj-cs"/>
                </a:rPr>
                <a:t>, чтобы получить финансирование не из "</a:t>
              </a:r>
              <a:r>
                <a:rPr lang="ru-RU" sz="1200" i="1" dirty="0" err="1" smtClean="0">
                  <a:cs typeface="+mj-cs"/>
                </a:rPr>
                <a:t>подушевика</a:t>
              </a:r>
              <a:r>
                <a:rPr lang="ru-RU" sz="1200" i="1" dirty="0" smtClean="0">
                  <a:cs typeface="+mj-cs"/>
                </a:rPr>
                <a:t>", а как за своего пациента 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1806039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7" name="Object 6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239" name="think-cell Slide" r:id="rId15" imgW="493" imgH="493" progId="TCLayout.ActiveDocument.1">
                  <p:embed/>
                </p:oleObj>
              </mc:Choice>
              <mc:Fallback>
                <p:oleObj name="think-cell Slide" r:id="rId15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9651" y="230188"/>
            <a:ext cx="7219950" cy="87716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dirty="0"/>
              <a:t>Г. Необходима разработка единых принципов маршрутизации пациентов между медицинскими учреждениями Москвы</a:t>
            </a:r>
          </a:p>
        </p:txBody>
      </p:sp>
      <p:grpSp>
        <p:nvGrpSpPr>
          <p:cNvPr id="106" name="Group 105"/>
          <p:cNvGrpSpPr/>
          <p:nvPr>
            <p:custDataLst>
              <p:tags r:id="rId3"/>
            </p:custDataLst>
          </p:nvPr>
        </p:nvGrpSpPr>
        <p:grpSpPr>
          <a:xfrm>
            <a:off x="4349740" y="835724"/>
            <a:ext cx="2048531" cy="597322"/>
            <a:chOff x="4349740" y="832224"/>
            <a:chExt cx="2048531" cy="621575"/>
          </a:xfrm>
        </p:grpSpPr>
        <p:sp>
          <p:nvSpPr>
            <p:cNvPr id="5" name="Freeform 4"/>
            <p:cNvSpPr/>
            <p:nvPr>
              <p:custDataLst>
                <p:tags r:id="rId12"/>
              </p:custDataLst>
            </p:nvPr>
          </p:nvSpPr>
          <p:spPr bwMode="gray">
            <a:xfrm>
              <a:off x="4349740" y="832224"/>
              <a:ext cx="2048531" cy="62157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09420 w 1828800"/>
                <a:gd name="connsiteY5" fmla="*/ 457200 h 914400"/>
                <a:gd name="connsiteX0" fmla="*/ 0 w 1828800"/>
                <a:gd name="connsiteY0" fmla="*/ 0 h 914400"/>
                <a:gd name="connsiteX1" fmla="*/ 1719380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09420 w 1828800"/>
                <a:gd name="connsiteY5" fmla="*/ 457200 h 914400"/>
                <a:gd name="connsiteX0" fmla="*/ 0 w 1828800"/>
                <a:gd name="connsiteY0" fmla="*/ 0 h 914400"/>
                <a:gd name="connsiteX1" fmla="*/ 1719380 w 1828800"/>
                <a:gd name="connsiteY1" fmla="*/ 0 h 914400"/>
                <a:gd name="connsiteX2" fmla="*/ 1828800 w 1828800"/>
                <a:gd name="connsiteY2" fmla="*/ 457200 h 914400"/>
                <a:gd name="connsiteX3" fmla="*/ 1719380 w 1828800"/>
                <a:gd name="connsiteY3" fmla="*/ 914400 h 914400"/>
                <a:gd name="connsiteX4" fmla="*/ 0 w 1828800"/>
                <a:gd name="connsiteY4" fmla="*/ 914400 h 914400"/>
                <a:gd name="connsiteX5" fmla="*/ 109420 w 1828800"/>
                <a:gd name="connsiteY5" fmla="*/ 457200 h 914400"/>
                <a:gd name="connsiteX0" fmla="*/ 0 w 1828800"/>
                <a:gd name="connsiteY0" fmla="*/ 0 h 914400"/>
                <a:gd name="connsiteX1" fmla="*/ 1719380 w 1828800"/>
                <a:gd name="connsiteY1" fmla="*/ 0 h 914400"/>
                <a:gd name="connsiteX2" fmla="*/ 1828800 w 1828800"/>
                <a:gd name="connsiteY2" fmla="*/ 457200 h 914400"/>
                <a:gd name="connsiteX3" fmla="*/ 1719380 w 1828800"/>
                <a:gd name="connsiteY3" fmla="*/ 914400 h 914400"/>
                <a:gd name="connsiteX4" fmla="*/ 0 w 1828800"/>
                <a:gd name="connsiteY4" fmla="*/ 914400 h 914400"/>
                <a:gd name="connsiteX5" fmla="*/ 136775 w 1828800"/>
                <a:gd name="connsiteY5" fmla="*/ 457200 h 914400"/>
                <a:gd name="connsiteX0" fmla="*/ 0 w 1828800"/>
                <a:gd name="connsiteY0" fmla="*/ 0 h 914400"/>
                <a:gd name="connsiteX1" fmla="*/ 1692025 w 1828800"/>
                <a:gd name="connsiteY1" fmla="*/ 0 h 914400"/>
                <a:gd name="connsiteX2" fmla="*/ 1828800 w 1828800"/>
                <a:gd name="connsiteY2" fmla="*/ 457200 h 914400"/>
                <a:gd name="connsiteX3" fmla="*/ 1719380 w 1828800"/>
                <a:gd name="connsiteY3" fmla="*/ 914400 h 914400"/>
                <a:gd name="connsiteX4" fmla="*/ 0 w 1828800"/>
                <a:gd name="connsiteY4" fmla="*/ 914400 h 914400"/>
                <a:gd name="connsiteX5" fmla="*/ 136775 w 1828800"/>
                <a:gd name="connsiteY5" fmla="*/ 457200 h 914400"/>
                <a:gd name="connsiteX0" fmla="*/ 0 w 1828800"/>
                <a:gd name="connsiteY0" fmla="*/ 0 h 914400"/>
                <a:gd name="connsiteX1" fmla="*/ 1692025 w 1828800"/>
                <a:gd name="connsiteY1" fmla="*/ 0 h 914400"/>
                <a:gd name="connsiteX2" fmla="*/ 1828800 w 1828800"/>
                <a:gd name="connsiteY2" fmla="*/ 457200 h 914400"/>
                <a:gd name="connsiteX3" fmla="*/ 1692025 w 1828800"/>
                <a:gd name="connsiteY3" fmla="*/ 914400 h 914400"/>
                <a:gd name="connsiteX4" fmla="*/ 0 w 1828800"/>
                <a:gd name="connsiteY4" fmla="*/ 914400 h 914400"/>
                <a:gd name="connsiteX5" fmla="*/ 136775 w 1828800"/>
                <a:gd name="connsiteY5" fmla="*/ 457200 h 914400"/>
                <a:gd name="connsiteX0" fmla="*/ 0 w 1828800"/>
                <a:gd name="connsiteY0" fmla="*/ 0 h 914400"/>
                <a:gd name="connsiteX1" fmla="*/ 1692025 w 1828800"/>
                <a:gd name="connsiteY1" fmla="*/ 0 h 914400"/>
                <a:gd name="connsiteX2" fmla="*/ 1828800 w 1828800"/>
                <a:gd name="connsiteY2" fmla="*/ 457200 h 914400"/>
                <a:gd name="connsiteX3" fmla="*/ 1692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6920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0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89813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01570 w 1828800"/>
                <a:gd name="connsiteY3" fmla="*/ 914400 h 914400"/>
                <a:gd name="connsiteX4" fmla="*/ 0 w 1828800"/>
                <a:gd name="connsiteY4" fmla="*/ 914400 h 914400"/>
                <a:gd name="connsiteX5" fmla="*/ 89813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89813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84884 w 1828800"/>
                <a:gd name="connsiteY5" fmla="*/ 457201 h 914400"/>
                <a:gd name="connsiteX0" fmla="*/ 0 w 1828800"/>
                <a:gd name="connsiteY0" fmla="*/ 0 h 914400"/>
                <a:gd name="connsiteX1" fmla="*/ 174391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84884 w 1828800"/>
                <a:gd name="connsiteY5" fmla="*/ 457201 h 914400"/>
                <a:gd name="connsiteX0" fmla="*/ 0 w 1828800"/>
                <a:gd name="connsiteY0" fmla="*/ 0 h 914400"/>
                <a:gd name="connsiteX1" fmla="*/ 1743916 w 1828800"/>
                <a:gd name="connsiteY1" fmla="*/ 0 h 914400"/>
                <a:gd name="connsiteX2" fmla="*/ 1828800 w 1828800"/>
                <a:gd name="connsiteY2" fmla="*/ 457200 h 914400"/>
                <a:gd name="connsiteX3" fmla="*/ 1743916 w 1828800"/>
                <a:gd name="connsiteY3" fmla="*/ 914400 h 914400"/>
                <a:gd name="connsiteX4" fmla="*/ 0 w 1828800"/>
                <a:gd name="connsiteY4" fmla="*/ 914400 h 914400"/>
                <a:gd name="connsiteX5" fmla="*/ 84884 w 1828800"/>
                <a:gd name="connsiteY5" fmla="*/ 457201 h 914400"/>
                <a:gd name="connsiteX0" fmla="*/ 0 w 1828800"/>
                <a:gd name="connsiteY0" fmla="*/ 0 h 914400"/>
                <a:gd name="connsiteX1" fmla="*/ 1743916 w 1828800"/>
                <a:gd name="connsiteY1" fmla="*/ 0 h 914400"/>
                <a:gd name="connsiteX2" fmla="*/ 1828800 w 1828800"/>
                <a:gd name="connsiteY2" fmla="*/ 457200 h 914400"/>
                <a:gd name="connsiteX3" fmla="*/ 17439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391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81981 w 1828800"/>
                <a:gd name="connsiteY5" fmla="*/ 457201 h 914400"/>
                <a:gd name="connsiteX0" fmla="*/ 0 w 1828800"/>
                <a:gd name="connsiteY0" fmla="*/ 0 h 914400"/>
                <a:gd name="connsiteX1" fmla="*/ 1746820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68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79570 w 1828800"/>
                <a:gd name="connsiteY5" fmla="*/ 457201 h 914400"/>
                <a:gd name="connsiteX0" fmla="*/ 0 w 1828800"/>
                <a:gd name="connsiteY0" fmla="*/ 0 h 914400"/>
                <a:gd name="connsiteX1" fmla="*/ 17492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492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120770 w 1828800"/>
                <a:gd name="connsiteY5" fmla="*/ 457201 h 914400"/>
                <a:gd name="connsiteX0" fmla="*/ 0 w 1828800"/>
                <a:gd name="connsiteY0" fmla="*/ 0 h 914400"/>
                <a:gd name="connsiteX1" fmla="*/ 1708031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0803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118685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118685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118685 w 1828800"/>
                <a:gd name="connsiteY5" fmla="*/ 457201 h 914400"/>
                <a:gd name="connsiteX0" fmla="*/ 0 w 1828800"/>
                <a:gd name="connsiteY0" fmla="*/ 0 h 914400"/>
                <a:gd name="connsiteX1" fmla="*/ 1710115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1011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11938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11938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119380 w 1828800"/>
                <a:gd name="connsiteY5" fmla="*/ 457201 h 914400"/>
                <a:gd name="connsiteX0" fmla="*/ 0 w 1828800"/>
                <a:gd name="connsiteY0" fmla="*/ 0 h 914400"/>
                <a:gd name="connsiteX1" fmla="*/ 1709420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42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119427 w 1828800"/>
                <a:gd name="connsiteY5" fmla="*/ 457201 h 914400"/>
                <a:gd name="connsiteX0" fmla="*/ 0 w 1828800"/>
                <a:gd name="connsiteY0" fmla="*/ 0 h 914400"/>
                <a:gd name="connsiteX1" fmla="*/ 1709373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093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115993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115993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115993 w 1828800"/>
                <a:gd name="connsiteY5" fmla="*/ 457201 h 914400"/>
                <a:gd name="connsiteX0" fmla="*/ 0 w 1828800"/>
                <a:gd name="connsiteY0" fmla="*/ 0 h 914400"/>
                <a:gd name="connsiteX1" fmla="*/ 1712808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12808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97915 w 1828800"/>
                <a:gd name="connsiteY5" fmla="*/ 457201 h 914400"/>
                <a:gd name="connsiteX0" fmla="*/ 0 w 1828800"/>
                <a:gd name="connsiteY0" fmla="*/ 0 h 914400"/>
                <a:gd name="connsiteX1" fmla="*/ 1730885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3088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  <a:gd name="connsiteX0" fmla="*/ 0 w 1828800"/>
                <a:gd name="connsiteY0" fmla="*/ 0 h 914400"/>
                <a:gd name="connsiteX1" fmla="*/ 1728917 w 1828800"/>
                <a:gd name="connsiteY1" fmla="*/ 0 h 914400"/>
                <a:gd name="connsiteX2" fmla="*/ 1828800 w 1828800"/>
                <a:gd name="connsiteY2" fmla="*/ 457200 h 914400"/>
                <a:gd name="connsiteX3" fmla="*/ 1728917 w 1828800"/>
                <a:gd name="connsiteY3" fmla="*/ 914400 h 914400"/>
                <a:gd name="connsiteX4" fmla="*/ 0 w 1828800"/>
                <a:gd name="connsiteY4" fmla="*/ 914400 h 914400"/>
                <a:gd name="connsiteX5" fmla="*/ 99882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28917" y="0"/>
                  </a:lnTo>
                  <a:lnTo>
                    <a:pt x="1828800" y="457200"/>
                  </a:lnTo>
                  <a:lnTo>
                    <a:pt x="1728917" y="914400"/>
                  </a:lnTo>
                  <a:lnTo>
                    <a:pt x="0" y="914400"/>
                  </a:lnTo>
                  <a:lnTo>
                    <a:pt x="99882" y="457201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6" name="TextBox 5"/>
            <p:cNvSpPr txBox="1"/>
            <p:nvPr>
              <p:custDataLst>
                <p:tags r:id="rId13"/>
              </p:custDataLst>
            </p:nvPr>
          </p:nvSpPr>
          <p:spPr bwMode="gray">
            <a:xfrm>
              <a:off x="4512423" y="875389"/>
              <a:ext cx="1773964" cy="535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Выбор </a:t>
              </a:r>
              <a:r>
                <a:rPr lang="ru-RU" sz="1200" dirty="0" err="1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мед.учреждения</a:t>
              </a:r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 для</a:t>
              </a:r>
              <a:r>
                <a:rPr lang="pl-PL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 </a:t>
              </a:r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перенаправления</a:t>
              </a:r>
              <a:endParaRPr lang="en-US" sz="1200" dirty="0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107" name="Group 106"/>
          <p:cNvGrpSpPr/>
          <p:nvPr>
            <p:custDataLst>
              <p:tags r:id="rId4"/>
            </p:custDataLst>
          </p:nvPr>
        </p:nvGrpSpPr>
        <p:grpSpPr>
          <a:xfrm>
            <a:off x="1028700" y="835724"/>
            <a:ext cx="3432810" cy="597322"/>
            <a:chOff x="1028700" y="832224"/>
            <a:chExt cx="3432810" cy="621575"/>
          </a:xfrm>
        </p:grpSpPr>
        <p:sp>
          <p:nvSpPr>
            <p:cNvPr id="9" name="Freeform 8"/>
            <p:cNvSpPr/>
            <p:nvPr>
              <p:custDataLst>
                <p:tags r:id="rId10"/>
              </p:custDataLst>
            </p:nvPr>
          </p:nvSpPr>
          <p:spPr bwMode="gray">
            <a:xfrm>
              <a:off x="1028700" y="832224"/>
              <a:ext cx="3432810" cy="62157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3069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3069 w 1828800"/>
                <a:gd name="connsiteY1" fmla="*/ 0 h 914400"/>
                <a:gd name="connsiteX2" fmla="*/ 1828800 w 1828800"/>
                <a:gd name="connsiteY2" fmla="*/ 457200 h 914400"/>
                <a:gd name="connsiteX3" fmla="*/ 17530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53069 w 1828800"/>
                <a:gd name="connsiteY1" fmla="*/ 0 h 914400"/>
                <a:gd name="connsiteX2" fmla="*/ 1828800 w 1828800"/>
                <a:gd name="connsiteY2" fmla="*/ 457200 h 914400"/>
                <a:gd name="connsiteX3" fmla="*/ 17530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4136 w 1828800"/>
                <a:gd name="connsiteY1" fmla="*/ 0 h 914400"/>
                <a:gd name="connsiteX2" fmla="*/ 1828800 w 1828800"/>
                <a:gd name="connsiteY2" fmla="*/ 457200 h 914400"/>
                <a:gd name="connsiteX3" fmla="*/ 175306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4136 w 1828800"/>
                <a:gd name="connsiteY1" fmla="*/ 0 h 914400"/>
                <a:gd name="connsiteX2" fmla="*/ 1828800 w 1828800"/>
                <a:gd name="connsiteY2" fmla="*/ 457200 h 914400"/>
                <a:gd name="connsiteX3" fmla="*/ 17341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4136 w 1828800"/>
                <a:gd name="connsiteY1" fmla="*/ 0 h 914400"/>
                <a:gd name="connsiteX2" fmla="*/ 1828800 w 1828800"/>
                <a:gd name="connsiteY2" fmla="*/ 457200 h 914400"/>
                <a:gd name="connsiteX3" fmla="*/ 17341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3413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38987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38987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0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43350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67227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67227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67227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4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1574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6024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6024 w 1828800"/>
                <a:gd name="connsiteY1" fmla="*/ 0 h 914400"/>
                <a:gd name="connsiteX2" fmla="*/ 1828800 w 1828800"/>
                <a:gd name="connsiteY2" fmla="*/ 457200 h 914400"/>
                <a:gd name="connsiteX3" fmla="*/ 177602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6024 w 1828800"/>
                <a:gd name="connsiteY1" fmla="*/ 0 h 914400"/>
                <a:gd name="connsiteX2" fmla="*/ 1828800 w 1828800"/>
                <a:gd name="connsiteY2" fmla="*/ 457200 h 914400"/>
                <a:gd name="connsiteX3" fmla="*/ 1776024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6024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51175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77625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7762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74202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74202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74202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4598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71563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4598 w 1828800"/>
                <a:gd name="connsiteY3" fmla="*/ 914400 h 914400"/>
                <a:gd name="connsiteX4" fmla="*/ 0 w 1828800"/>
                <a:gd name="connsiteY4" fmla="*/ 914400 h 914400"/>
                <a:gd name="connsiteX5" fmla="*/ 71563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71563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7237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5723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59605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9195 w 1828800"/>
                <a:gd name="connsiteY1" fmla="*/ 0 h 914400"/>
                <a:gd name="connsiteX2" fmla="*/ 1828800 w 1828800"/>
                <a:gd name="connsiteY2" fmla="*/ 457200 h 914400"/>
                <a:gd name="connsiteX3" fmla="*/ 176919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69195" y="0"/>
                  </a:lnTo>
                  <a:lnTo>
                    <a:pt x="1828800" y="457200"/>
                  </a:lnTo>
                  <a:lnTo>
                    <a:pt x="1769195" y="914400"/>
                  </a:lnTo>
                  <a:lnTo>
                    <a:pt x="0" y="914400"/>
                  </a:lnTo>
                  <a:lnTo>
                    <a:pt x="0" y="457201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0" name="TextBox 9"/>
            <p:cNvSpPr txBox="1"/>
            <p:nvPr>
              <p:custDataLst>
                <p:tags r:id="rId11"/>
              </p:custDataLst>
            </p:nvPr>
          </p:nvSpPr>
          <p:spPr bwMode="gray">
            <a:xfrm>
              <a:off x="1092200" y="875389"/>
              <a:ext cx="3257426" cy="535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Выбор случаев для перенаправления</a:t>
              </a:r>
              <a:endParaRPr lang="en-US" sz="1200" dirty="0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</p:grpSp>
      <p:cxnSp>
        <p:nvCxnSpPr>
          <p:cNvPr id="28" name="Straight Connector 27"/>
          <p:cNvCxnSpPr>
            <a:cxnSpLocks/>
          </p:cNvCxnSpPr>
          <p:nvPr/>
        </p:nvCxnSpPr>
        <p:spPr>
          <a:xfrm>
            <a:off x="119063" y="3315961"/>
            <a:ext cx="8723312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AutoShape 250"/>
          <p:cNvSpPr>
            <a:spLocks noChangeArrowheads="1"/>
          </p:cNvSpPr>
          <p:nvPr/>
        </p:nvSpPr>
        <p:spPr bwMode="gray">
          <a:xfrm>
            <a:off x="119063" y="3337662"/>
            <a:ext cx="856297" cy="2628727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19050" cmpd="sng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r>
              <a:rPr lang="az-Cyrl-AZ" sz="1200" dirty="0" smtClean="0">
                <a:solidFill>
                  <a:schemeClr val="accent1"/>
                </a:solidFill>
                <a:latin typeface="+mn-lt"/>
                <a:sym typeface="+mn-lt"/>
              </a:rPr>
              <a:t>Необхо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sym typeface="+mn-lt"/>
              </a:rPr>
              <a:t>-</a:t>
            </a:r>
            <a:r>
              <a:rPr lang="az-Cyrl-AZ" sz="1200" dirty="0" smtClean="0">
                <a:solidFill>
                  <a:schemeClr val="accent1"/>
                </a:solidFill>
                <a:latin typeface="+mn-lt"/>
                <a:sym typeface="+mn-lt"/>
              </a:rPr>
              <a:t>димые </a:t>
            </a:r>
            <a:r>
              <a:rPr lang="az-Cyrl-AZ" sz="1200" dirty="0">
                <a:solidFill>
                  <a:schemeClr val="accent1"/>
                </a:solidFill>
                <a:latin typeface="+mn-lt"/>
                <a:sym typeface="+mn-lt"/>
              </a:rPr>
              <a:t>действия</a:t>
            </a:r>
            <a:endParaRPr lang="de-DE" sz="1200" dirty="0">
              <a:solidFill>
                <a:schemeClr val="accent1"/>
              </a:solidFill>
              <a:latin typeface="+mn-lt"/>
              <a:sym typeface="+mn-lt"/>
            </a:endParaRPr>
          </a:p>
        </p:txBody>
      </p:sp>
      <p:grpSp>
        <p:nvGrpSpPr>
          <p:cNvPr id="7" name="Group 6"/>
          <p:cNvGrpSpPr/>
          <p:nvPr/>
        </p:nvGrpSpPr>
        <p:grpSpPr>
          <a:xfrm>
            <a:off x="7343902" y="324059"/>
            <a:ext cx="912236" cy="397032"/>
            <a:chOff x="6718176" y="640834"/>
            <a:chExt cx="2147549" cy="397032"/>
          </a:xfrm>
        </p:grpSpPr>
        <p:sp>
          <p:nvSpPr>
            <p:cNvPr id="24" name="StickerRectangle"/>
            <p:cNvSpPr>
              <a:spLocks noChangeArrowheads="1"/>
            </p:cNvSpPr>
            <p:nvPr/>
          </p:nvSpPr>
          <p:spPr bwMode="gray">
            <a:xfrm>
              <a:off x="6718176" y="640834"/>
              <a:ext cx="2147549" cy="39703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defTabSz="895350">
                <a:buClr>
                  <a:schemeClr val="tx2"/>
                </a:buClr>
              </a:pPr>
              <a:r>
                <a:rPr lang="en-US" sz="1200" dirty="0" err="1" smtClean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ПРЕДВАРИ</a:t>
              </a:r>
              <a:r>
                <a:rPr lang="en-US" sz="1200" dirty="0" smtClean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-</a:t>
              </a:r>
              <a:br>
                <a:rPr lang="en-US" sz="1200" dirty="0" smtClean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</a:br>
              <a:r>
                <a:rPr lang="en-US" sz="1200" dirty="0" err="1" smtClean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  <a:sym typeface="+mn-lt"/>
                </a:rPr>
                <a:t>ТЕЛЬНО</a:t>
              </a:r>
              <a:endParaRPr lang="en-US" sz="1200" dirty="0">
                <a:solidFill>
                  <a:srgbClr val="808080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  <p:cxnSp>
          <p:nvCxnSpPr>
            <p:cNvPr id="25" name="AutoShape 31"/>
            <p:cNvCxnSpPr>
              <a:cxnSpLocks noChangeShapeType="1"/>
              <a:stCxn id="24" idx="2"/>
              <a:endCxn id="24" idx="4"/>
            </p:cNvCxnSpPr>
            <p:nvPr/>
          </p:nvCxnSpPr>
          <p:spPr bwMode="gray">
            <a:xfrm>
              <a:off x="6718176" y="640834"/>
              <a:ext cx="0" cy="397032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7" name="AutoShape 32"/>
            <p:cNvCxnSpPr>
              <a:cxnSpLocks noChangeShapeType="1"/>
              <a:stCxn id="24" idx="4"/>
              <a:endCxn id="24" idx="6"/>
            </p:cNvCxnSpPr>
            <p:nvPr/>
          </p:nvCxnSpPr>
          <p:spPr bwMode="gray">
            <a:xfrm>
              <a:off x="6718176" y="1037866"/>
              <a:ext cx="2147549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36" name="McK 1. On-page tracker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119064" y="2693"/>
            <a:ext cx="4945328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indent="266700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МАРШРУТИЗАЦИЯ ПАЦИЕНТОВ НА ИССЛЕДОВАНИЯ</a:t>
            </a:r>
          </a:p>
        </p:txBody>
      </p:sp>
      <p:sp>
        <p:nvSpPr>
          <p:cNvPr id="35" name="Oval 15"/>
          <p:cNvSpPr txBox="1"/>
          <p:nvPr>
            <p:custDataLst>
              <p:tags r:id="rId6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42" name="TextBox 41"/>
          <p:cNvSpPr txBox="1">
            <a:spLocks/>
          </p:cNvSpPr>
          <p:nvPr/>
        </p:nvSpPr>
        <p:spPr>
          <a:xfrm>
            <a:off x="4511615" y="3355834"/>
            <a:ext cx="1774772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Разработка порядка маршрутизации, с</a:t>
            </a:r>
            <a:r>
              <a:rPr lang="en-US" sz="1200" dirty="0" smtClean="0">
                <a:solidFill>
                  <a:schemeClr val="accent1"/>
                </a:solidFill>
              </a:rPr>
              <a:t> </a:t>
            </a:r>
            <a:r>
              <a:rPr lang="ru-RU" sz="1200" dirty="0" smtClean="0">
                <a:solidFill>
                  <a:schemeClr val="accent1"/>
                </a:solidFill>
              </a:rPr>
              <a:t>указанием </a:t>
            </a:r>
            <a:r>
              <a:rPr lang="ru-RU" sz="1200" dirty="0" smtClean="0"/>
              <a:t>принципов выбора МО для </a:t>
            </a:r>
            <a:r>
              <a:rPr lang="ru-RU" sz="1200" dirty="0" err="1" smtClean="0"/>
              <a:t>перенап-равления</a:t>
            </a:r>
            <a:endParaRPr lang="ru-RU" sz="1200" dirty="0" smtClean="0"/>
          </a:p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Создание на базе </a:t>
            </a:r>
            <a:r>
              <a:rPr lang="ru-RU" sz="1200" dirty="0" err="1" smtClean="0">
                <a:solidFill>
                  <a:schemeClr val="accent1"/>
                </a:solidFill>
              </a:rPr>
              <a:t>ЕМИАС</a:t>
            </a:r>
            <a:r>
              <a:rPr lang="ru-RU" sz="1200" dirty="0" smtClean="0">
                <a:solidFill>
                  <a:schemeClr val="accent1"/>
                </a:solidFill>
              </a:rPr>
              <a:t> онлайн карты </a:t>
            </a:r>
            <a:r>
              <a:rPr lang="ru-RU" sz="1200" dirty="0" err="1" smtClean="0">
                <a:solidFill>
                  <a:schemeClr val="accent1"/>
                </a:solidFill>
              </a:rPr>
              <a:t>КТ</a:t>
            </a:r>
            <a:r>
              <a:rPr lang="ru-RU" sz="1200" dirty="0" smtClean="0">
                <a:solidFill>
                  <a:schemeClr val="accent1"/>
                </a:solidFill>
              </a:rPr>
              <a:t>/</a:t>
            </a:r>
            <a:r>
              <a:rPr lang="ru-RU" sz="1200" dirty="0" err="1" smtClean="0">
                <a:solidFill>
                  <a:schemeClr val="accent1"/>
                </a:solidFill>
              </a:rPr>
              <a:t>МРТ</a:t>
            </a:r>
            <a:r>
              <a:rPr lang="ru-RU" sz="1200" dirty="0" smtClean="0">
                <a:solidFill>
                  <a:schemeClr val="accent1"/>
                </a:solidFill>
              </a:rPr>
              <a:t> </a:t>
            </a:r>
            <a:r>
              <a:rPr lang="ru-RU" sz="1200" dirty="0" smtClean="0"/>
              <a:t>оборудования</a:t>
            </a:r>
            <a:r>
              <a:rPr lang="ru-RU" sz="1200" baseline="30000" dirty="0" smtClean="0"/>
              <a:t>3</a:t>
            </a:r>
          </a:p>
          <a:p>
            <a:pPr lvl="1"/>
            <a:r>
              <a:rPr lang="ru-RU" sz="1200" dirty="0" smtClean="0"/>
              <a:t>Внедрение </a:t>
            </a:r>
            <a:r>
              <a:rPr lang="ru-RU" sz="1200" dirty="0" err="1" smtClean="0"/>
              <a:t>разра-ботанных</a:t>
            </a:r>
            <a:r>
              <a:rPr lang="ru-RU" sz="1200" dirty="0" smtClean="0"/>
              <a:t> карт в МО </a:t>
            </a:r>
            <a:endParaRPr lang="en-US" sz="1200" dirty="0"/>
          </a:p>
        </p:txBody>
      </p:sp>
      <p:sp>
        <p:nvSpPr>
          <p:cNvPr id="44" name="TextBox 43"/>
          <p:cNvSpPr txBox="1"/>
          <p:nvPr/>
        </p:nvSpPr>
        <p:spPr>
          <a:xfrm>
            <a:off x="6443932" y="3355834"/>
            <a:ext cx="2286559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Разработка порядка маршрутизации, с указанием обязательств</a:t>
            </a:r>
          </a:p>
          <a:p>
            <a:pPr lvl="2"/>
            <a:r>
              <a:rPr lang="ru-RU" sz="1200" dirty="0" err="1" smtClean="0"/>
              <a:t>Мед.учреждений</a:t>
            </a:r>
            <a:r>
              <a:rPr lang="ru-RU" sz="1200" dirty="0" smtClean="0"/>
              <a:t> пере</a:t>
            </a:r>
            <a:r>
              <a:rPr lang="en-US" sz="1200" dirty="0" smtClean="0"/>
              <a:t>-</a:t>
            </a:r>
            <a:r>
              <a:rPr lang="ru-RU" sz="1200" dirty="0" smtClean="0"/>
              <a:t>направлять пациентов</a:t>
            </a:r>
          </a:p>
          <a:p>
            <a:pPr lvl="2"/>
            <a:r>
              <a:rPr lang="ru-RU" sz="1200" dirty="0" err="1" smtClean="0"/>
              <a:t>Мед.учреждений</a:t>
            </a:r>
            <a:r>
              <a:rPr lang="ru-RU" sz="1200" dirty="0" smtClean="0"/>
              <a:t> </a:t>
            </a:r>
            <a:r>
              <a:rPr lang="ru-RU" sz="1200" dirty="0" err="1" smtClean="0"/>
              <a:t>прини</a:t>
            </a:r>
            <a:r>
              <a:rPr lang="ru-RU" sz="1200" dirty="0" smtClean="0"/>
              <a:t>-мать пациентов в общем порядке</a:t>
            </a:r>
          </a:p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Настройка </a:t>
            </a:r>
            <a:r>
              <a:rPr lang="ru-RU" sz="1200" dirty="0" err="1" smtClean="0">
                <a:solidFill>
                  <a:schemeClr val="accent1"/>
                </a:solidFill>
              </a:rPr>
              <a:t>ЕМИАС</a:t>
            </a:r>
            <a:r>
              <a:rPr lang="ru-RU" sz="1200" dirty="0" smtClean="0">
                <a:solidFill>
                  <a:schemeClr val="accent1"/>
                </a:solidFill>
              </a:rPr>
              <a:t> </a:t>
            </a:r>
            <a:r>
              <a:rPr lang="ru-RU" sz="1200" dirty="0" smtClean="0"/>
              <a:t>для</a:t>
            </a:r>
            <a:r>
              <a:rPr lang="en-US" sz="1200" dirty="0" smtClean="0"/>
              <a:t> </a:t>
            </a:r>
            <a:r>
              <a:rPr lang="ru-RU" sz="1200" dirty="0" smtClean="0"/>
              <a:t>возможности записи через клиницистов во все </a:t>
            </a:r>
            <a:r>
              <a:rPr lang="ru-RU" sz="1200" dirty="0" err="1" smtClean="0"/>
              <a:t>мед.учреждения</a:t>
            </a:r>
            <a:r>
              <a:rPr lang="ru-RU" sz="1200" dirty="0" smtClean="0"/>
              <a:t> округа</a:t>
            </a:r>
            <a:endParaRPr lang="en-US" sz="1200" dirty="0"/>
          </a:p>
        </p:txBody>
      </p:sp>
      <p:sp>
        <p:nvSpPr>
          <p:cNvPr id="46" name="TextBox 45"/>
          <p:cNvSpPr txBox="1"/>
          <p:nvPr/>
        </p:nvSpPr>
        <p:spPr>
          <a:xfrm>
            <a:off x="6443932" y="1447601"/>
            <a:ext cx="2286559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Запись через </a:t>
            </a:r>
            <a:r>
              <a:rPr lang="ru-RU" sz="1200" dirty="0" err="1" smtClean="0"/>
              <a:t>ЕМИАС</a:t>
            </a:r>
            <a:endParaRPr lang="ru-RU" sz="1200" dirty="0" smtClean="0"/>
          </a:p>
          <a:p>
            <a:pPr lvl="1"/>
            <a:r>
              <a:rPr lang="ru-RU" sz="1200" dirty="0" smtClean="0"/>
              <a:t>Проведение процедуры</a:t>
            </a:r>
          </a:p>
          <a:p>
            <a:pPr lvl="1"/>
            <a:r>
              <a:rPr lang="ru-RU" sz="1200" dirty="0" smtClean="0"/>
              <a:t>Выдача заключения</a:t>
            </a:r>
          </a:p>
          <a:p>
            <a:pPr lvl="1"/>
            <a:r>
              <a:rPr lang="ru-RU" sz="1200" dirty="0" smtClean="0"/>
              <a:t>Проведение финансовых расчетов между МО</a:t>
            </a:r>
            <a:endParaRPr lang="en-US" sz="1200" dirty="0"/>
          </a:p>
        </p:txBody>
      </p:sp>
      <p:sp>
        <p:nvSpPr>
          <p:cNvPr id="48" name="TextBox 47"/>
          <p:cNvSpPr txBox="1"/>
          <p:nvPr/>
        </p:nvSpPr>
        <p:spPr>
          <a:xfrm>
            <a:off x="4511615" y="1447601"/>
            <a:ext cx="1774772" cy="9233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/>
              <a:t>Внутри одного Административного Округа</a:t>
            </a:r>
          </a:p>
          <a:p>
            <a:pPr lvl="1"/>
            <a:r>
              <a:rPr lang="ru-RU" sz="1200" dirty="0" smtClean="0"/>
              <a:t>В </a:t>
            </a:r>
            <a:r>
              <a:rPr lang="ru-RU" sz="1200" dirty="0" err="1" smtClean="0"/>
              <a:t>низкозагруженные</a:t>
            </a:r>
            <a:r>
              <a:rPr lang="ru-RU" sz="1200" dirty="0" smtClean="0"/>
              <a:t> МО</a:t>
            </a:r>
            <a:endParaRPr lang="en-US" sz="1200" dirty="0"/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1092199" y="1447601"/>
            <a:ext cx="3257427" cy="184665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Из амбулаторных в амбулаторные</a:t>
            </a:r>
          </a:p>
          <a:p>
            <a:pPr lvl="2"/>
            <a:r>
              <a:rPr lang="ru-RU" sz="1200" dirty="0" smtClean="0"/>
              <a:t>Предельно допустимый срок ожидания обследования выше установленного</a:t>
            </a:r>
          </a:p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Из амбулаторных в стационарные</a:t>
            </a:r>
          </a:p>
          <a:p>
            <a:pPr lvl="2"/>
            <a:r>
              <a:rPr lang="ru-RU" sz="1200" dirty="0" smtClean="0"/>
              <a:t>С тяжелым клиническим случаем</a:t>
            </a:r>
          </a:p>
          <a:p>
            <a:pPr lvl="2"/>
            <a:r>
              <a:rPr lang="ru-RU" sz="1200" dirty="0" smtClean="0"/>
              <a:t>С показаниями для </a:t>
            </a:r>
            <a:r>
              <a:rPr lang="ru-RU" sz="1200" dirty="0" err="1" smtClean="0"/>
              <a:t>МРТ</a:t>
            </a:r>
            <a:r>
              <a:rPr lang="ru-RU" sz="1200" dirty="0" smtClean="0"/>
              <a:t>/</a:t>
            </a:r>
            <a:r>
              <a:rPr lang="ru-RU" sz="1200" dirty="0" err="1" smtClean="0"/>
              <a:t>КТ</a:t>
            </a:r>
            <a:r>
              <a:rPr lang="ru-RU" sz="1200" dirty="0" smtClean="0"/>
              <a:t> с контрастным веществом</a:t>
            </a:r>
            <a:r>
              <a:rPr lang="ru-RU" sz="1200" baseline="30000" dirty="0" smtClean="0"/>
              <a:t>1</a:t>
            </a:r>
          </a:p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Из стационарных в стационарные</a:t>
            </a:r>
          </a:p>
          <a:p>
            <a:pPr lvl="2"/>
            <a:r>
              <a:rPr lang="ru-RU" sz="1200" dirty="0" smtClean="0"/>
              <a:t>Предельно допустимый срок ожидания обследования выше установленного</a:t>
            </a:r>
            <a:r>
              <a:rPr lang="ru-RU" sz="1200" baseline="30000" dirty="0" smtClean="0"/>
              <a:t>2</a:t>
            </a:r>
            <a:r>
              <a:rPr lang="ru-RU" sz="1200" dirty="0" smtClean="0"/>
              <a:t>  </a:t>
            </a:r>
            <a:endParaRPr lang="en-US" sz="1200" dirty="0"/>
          </a:p>
        </p:txBody>
      </p:sp>
      <p:sp>
        <p:nvSpPr>
          <p:cNvPr id="17" name="AutoShape 250"/>
          <p:cNvSpPr>
            <a:spLocks noChangeArrowheads="1"/>
          </p:cNvSpPr>
          <p:nvPr/>
        </p:nvSpPr>
        <p:spPr bwMode="gray">
          <a:xfrm>
            <a:off x="119063" y="1447601"/>
            <a:ext cx="856297" cy="1846659"/>
          </a:xfrm>
          <a:prstGeom prst="leftRightArrow">
            <a:avLst>
              <a:gd name="adj1" fmla="val 100000"/>
              <a:gd name="adj2" fmla="val 0"/>
            </a:avLst>
          </a:prstGeom>
          <a:solidFill>
            <a:schemeClr val="bg1"/>
          </a:solidFill>
          <a:ln w="19050" cmpd="sng">
            <a:solidFill>
              <a:schemeClr val="accent1"/>
            </a:solidFill>
            <a:round/>
            <a:headEnd/>
            <a:tailEnd/>
          </a:ln>
          <a:effectLst/>
          <a:extLst/>
        </p:spPr>
        <p:txBody>
          <a:bodyPr wrap="square" lIns="72009" tIns="72009" rIns="72009" bIns="72009" anchor="ctr" anchorCtr="0">
            <a:noAutofit/>
          </a:bodyPr>
          <a:lstStyle/>
          <a:p>
            <a:r>
              <a:rPr lang="ru-RU" sz="1200" dirty="0" smtClean="0">
                <a:solidFill>
                  <a:schemeClr val="accent1"/>
                </a:solidFill>
                <a:latin typeface="+mn-lt"/>
                <a:sym typeface="+mn-lt"/>
              </a:rPr>
              <a:t>Потен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sym typeface="+mn-lt"/>
              </a:rPr>
              <a:t>-</a:t>
            </a:r>
            <a:r>
              <a:rPr lang="ru-RU" sz="1200" dirty="0" err="1" smtClean="0">
                <a:solidFill>
                  <a:schemeClr val="accent1"/>
                </a:solidFill>
                <a:latin typeface="+mn-lt"/>
                <a:sym typeface="+mn-lt"/>
              </a:rPr>
              <a:t>циальные</a:t>
            </a:r>
            <a:r>
              <a:rPr lang="ru-RU" sz="1200" dirty="0" smtClean="0">
                <a:solidFill>
                  <a:schemeClr val="accent1"/>
                </a:solidFill>
                <a:latin typeface="+mn-lt"/>
                <a:sym typeface="+mn-lt"/>
              </a:rPr>
              <a:t> </a:t>
            </a:r>
            <a:r>
              <a:rPr lang="ru-RU" sz="1200" dirty="0">
                <a:solidFill>
                  <a:schemeClr val="accent1"/>
                </a:solidFill>
                <a:latin typeface="+mn-lt"/>
                <a:sym typeface="+mn-lt"/>
              </a:rPr>
              <a:t>принципы </a:t>
            </a:r>
            <a:r>
              <a:rPr lang="ru-RU" sz="1200" dirty="0" err="1" smtClean="0">
                <a:solidFill>
                  <a:schemeClr val="accent1"/>
                </a:solidFill>
                <a:latin typeface="+mn-lt"/>
                <a:sym typeface="+mn-lt"/>
              </a:rPr>
              <a:t>маршру</a:t>
            </a:r>
            <a:r>
              <a:rPr lang="en-US" sz="1200" dirty="0" smtClean="0">
                <a:solidFill>
                  <a:schemeClr val="accent1"/>
                </a:solidFill>
                <a:latin typeface="+mn-lt"/>
                <a:sym typeface="+mn-lt"/>
              </a:rPr>
              <a:t>-</a:t>
            </a:r>
            <a:r>
              <a:rPr lang="ru-RU" sz="1200" dirty="0" err="1" smtClean="0">
                <a:solidFill>
                  <a:schemeClr val="accent1"/>
                </a:solidFill>
                <a:latin typeface="+mn-lt"/>
                <a:sym typeface="+mn-lt"/>
              </a:rPr>
              <a:t>тизации</a:t>
            </a:r>
            <a:endParaRPr lang="de-DE" sz="1200" dirty="0">
              <a:solidFill>
                <a:schemeClr val="accent1"/>
              </a:solidFill>
              <a:latin typeface="+mn-lt"/>
              <a:sym typeface="+mn-lt"/>
            </a:endParaRPr>
          </a:p>
        </p:txBody>
      </p:sp>
      <p:sp>
        <p:nvSpPr>
          <p:cNvPr id="40" name="TextBox 39"/>
          <p:cNvSpPr txBox="1">
            <a:spLocks/>
          </p:cNvSpPr>
          <p:nvPr/>
        </p:nvSpPr>
        <p:spPr>
          <a:xfrm>
            <a:off x="1092199" y="3355834"/>
            <a:ext cx="3257427" cy="22159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Разработка порядка маршрутизации, с</a:t>
            </a:r>
            <a:r>
              <a:rPr lang="en-US" sz="1200" dirty="0" smtClean="0">
                <a:solidFill>
                  <a:schemeClr val="accent1"/>
                </a:solidFill>
              </a:rPr>
              <a:t> </a:t>
            </a:r>
            <a:r>
              <a:rPr lang="ru-RU" sz="1200" dirty="0" smtClean="0">
                <a:solidFill>
                  <a:schemeClr val="accent1"/>
                </a:solidFill>
              </a:rPr>
              <a:t>указанием</a:t>
            </a:r>
          </a:p>
          <a:p>
            <a:pPr lvl="2"/>
            <a:r>
              <a:rPr lang="ru-RU" sz="1200" dirty="0" smtClean="0"/>
              <a:t>Предельно допустимых сроков ожидания обследования</a:t>
            </a:r>
          </a:p>
          <a:p>
            <a:pPr lvl="2"/>
            <a:r>
              <a:rPr lang="ru-RU" sz="1200" dirty="0" smtClean="0"/>
              <a:t>Тяжелых клинических случаев для</a:t>
            </a:r>
            <a:r>
              <a:rPr lang="en-US" sz="1200" dirty="0" smtClean="0"/>
              <a:t> </a:t>
            </a:r>
            <a:r>
              <a:rPr lang="ru-RU" sz="1200" dirty="0" smtClean="0"/>
              <a:t>перенаправления в стационары</a:t>
            </a:r>
          </a:p>
          <a:p>
            <a:pPr lvl="2"/>
            <a:r>
              <a:rPr lang="ru-RU" sz="1200" dirty="0" err="1" smtClean="0"/>
              <a:t>МРТ</a:t>
            </a:r>
            <a:r>
              <a:rPr lang="ru-RU" sz="1200" dirty="0" smtClean="0"/>
              <a:t>/</a:t>
            </a:r>
            <a:r>
              <a:rPr lang="ru-RU" sz="1200" dirty="0" err="1" smtClean="0"/>
              <a:t>КТ</a:t>
            </a:r>
            <a:r>
              <a:rPr lang="ru-RU" sz="1200" dirty="0" smtClean="0"/>
              <a:t> с контрастом, которые обязаны проводить амбулаторные учреждения</a:t>
            </a:r>
          </a:p>
          <a:p>
            <a:pPr lvl="2"/>
            <a:r>
              <a:rPr lang="ru-RU" sz="1200" dirty="0" smtClean="0"/>
              <a:t>Клинического состояния пациентов, при котором не допускается перенаправление</a:t>
            </a:r>
            <a:endParaRPr lang="en-US" sz="1200" dirty="0"/>
          </a:p>
        </p:txBody>
      </p:sp>
      <p:grpSp>
        <p:nvGrpSpPr>
          <p:cNvPr id="108" name="Group 107"/>
          <p:cNvGrpSpPr/>
          <p:nvPr>
            <p:custDataLst>
              <p:tags r:id="rId7"/>
            </p:custDataLst>
          </p:nvPr>
        </p:nvGrpSpPr>
        <p:grpSpPr>
          <a:xfrm>
            <a:off x="6286500" y="835724"/>
            <a:ext cx="2555875" cy="597322"/>
            <a:chOff x="6286500" y="832224"/>
            <a:chExt cx="2555875" cy="621575"/>
          </a:xfrm>
        </p:grpSpPr>
        <p:sp>
          <p:nvSpPr>
            <p:cNvPr id="13" name="Freeform 12"/>
            <p:cNvSpPr/>
            <p:nvPr>
              <p:custDataLst>
                <p:tags r:id="rId8"/>
              </p:custDataLst>
            </p:nvPr>
          </p:nvSpPr>
          <p:spPr bwMode="gray">
            <a:xfrm>
              <a:off x="6286500" y="832224"/>
              <a:ext cx="2555875" cy="621575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64592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01783 w 1828800"/>
                <a:gd name="connsiteY5" fmla="*/ 457200 h 914400"/>
                <a:gd name="connsiteX0" fmla="*/ 0 w 1828800"/>
                <a:gd name="connsiteY0" fmla="*/ 0 h 914400"/>
                <a:gd name="connsiteX1" fmla="*/ 1727017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101783 w 1828800"/>
                <a:gd name="connsiteY5" fmla="*/ 457200 h 914400"/>
                <a:gd name="connsiteX0" fmla="*/ 0 w 1828800"/>
                <a:gd name="connsiteY0" fmla="*/ 0 h 914400"/>
                <a:gd name="connsiteX1" fmla="*/ 1727017 w 1828800"/>
                <a:gd name="connsiteY1" fmla="*/ 0 h 914400"/>
                <a:gd name="connsiteX2" fmla="*/ 1828800 w 1828800"/>
                <a:gd name="connsiteY2" fmla="*/ 457200 h 914400"/>
                <a:gd name="connsiteX3" fmla="*/ 1727017 w 1828800"/>
                <a:gd name="connsiteY3" fmla="*/ 914400 h 914400"/>
                <a:gd name="connsiteX4" fmla="*/ 0 w 1828800"/>
                <a:gd name="connsiteY4" fmla="*/ 914400 h 914400"/>
                <a:gd name="connsiteX5" fmla="*/ 101783 w 1828800"/>
                <a:gd name="connsiteY5" fmla="*/ 457200 h 914400"/>
                <a:gd name="connsiteX0" fmla="*/ 0 w 1828800"/>
                <a:gd name="connsiteY0" fmla="*/ 0 h 914400"/>
                <a:gd name="connsiteX1" fmla="*/ 1727017 w 1828800"/>
                <a:gd name="connsiteY1" fmla="*/ 0 h 914400"/>
                <a:gd name="connsiteX2" fmla="*/ 1828800 w 1828800"/>
                <a:gd name="connsiteY2" fmla="*/ 457200 h 914400"/>
                <a:gd name="connsiteX3" fmla="*/ 1727017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27017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127229 w 1828800"/>
                <a:gd name="connsiteY5" fmla="*/ 457200 h 914400"/>
                <a:gd name="connsiteX0" fmla="*/ 0 w 1828800"/>
                <a:gd name="connsiteY0" fmla="*/ 0 h 914400"/>
                <a:gd name="connsiteX1" fmla="*/ 1701571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89812 w 1828800"/>
                <a:gd name="connsiteY5" fmla="*/ 457200 h 914400"/>
                <a:gd name="connsiteX0" fmla="*/ 0 w 1828800"/>
                <a:gd name="connsiteY0" fmla="*/ 0 h 914400"/>
                <a:gd name="connsiteX1" fmla="*/ 1738988 w 1828800"/>
                <a:gd name="connsiteY1" fmla="*/ 0 h 914400"/>
                <a:gd name="connsiteX2" fmla="*/ 1828800 w 1828800"/>
                <a:gd name="connsiteY2" fmla="*/ 457200 h 914400"/>
                <a:gd name="connsiteX3" fmla="*/ 1701571 w 1828800"/>
                <a:gd name="connsiteY3" fmla="*/ 914400 h 914400"/>
                <a:gd name="connsiteX4" fmla="*/ 0 w 1828800"/>
                <a:gd name="connsiteY4" fmla="*/ 914400 h 914400"/>
                <a:gd name="connsiteX5" fmla="*/ 89812 w 1828800"/>
                <a:gd name="connsiteY5" fmla="*/ 457200 h 914400"/>
                <a:gd name="connsiteX0" fmla="*/ 0 w 1828800"/>
                <a:gd name="connsiteY0" fmla="*/ 0 h 914400"/>
                <a:gd name="connsiteX1" fmla="*/ 1738988 w 1828800"/>
                <a:gd name="connsiteY1" fmla="*/ 0 h 914400"/>
                <a:gd name="connsiteX2" fmla="*/ 1828800 w 1828800"/>
                <a:gd name="connsiteY2" fmla="*/ 457200 h 914400"/>
                <a:gd name="connsiteX3" fmla="*/ 1738988 w 1828800"/>
                <a:gd name="connsiteY3" fmla="*/ 914400 h 914400"/>
                <a:gd name="connsiteX4" fmla="*/ 0 w 1828800"/>
                <a:gd name="connsiteY4" fmla="*/ 914400 h 914400"/>
                <a:gd name="connsiteX5" fmla="*/ 89812 w 1828800"/>
                <a:gd name="connsiteY5" fmla="*/ 457200 h 914400"/>
                <a:gd name="connsiteX0" fmla="*/ 0 w 1828800"/>
                <a:gd name="connsiteY0" fmla="*/ 0 h 914400"/>
                <a:gd name="connsiteX1" fmla="*/ 1738988 w 1828800"/>
                <a:gd name="connsiteY1" fmla="*/ 0 h 914400"/>
                <a:gd name="connsiteX2" fmla="*/ 1828800 w 1828800"/>
                <a:gd name="connsiteY2" fmla="*/ 457200 h 914400"/>
                <a:gd name="connsiteX3" fmla="*/ 17389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3898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85450 w 1828800"/>
                <a:gd name="connsiteY5" fmla="*/ 457200 h 914400"/>
                <a:gd name="connsiteX0" fmla="*/ 0 w 1828800"/>
                <a:gd name="connsiteY0" fmla="*/ 0 h 914400"/>
                <a:gd name="connsiteX1" fmla="*/ 1743351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43351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67226 w 1828800"/>
                <a:gd name="connsiteY5" fmla="*/ 457201 h 914400"/>
                <a:gd name="connsiteX0" fmla="*/ 0 w 1828800"/>
                <a:gd name="connsiteY0" fmla="*/ 0 h 914400"/>
                <a:gd name="connsiteX1" fmla="*/ 1761573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157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65244 w 1828800"/>
                <a:gd name="connsiteY5" fmla="*/ 457201 h 914400"/>
                <a:gd name="connsiteX0" fmla="*/ 0 w 1828800"/>
                <a:gd name="connsiteY0" fmla="*/ 0 h 914400"/>
                <a:gd name="connsiteX1" fmla="*/ 1763556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3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67606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67606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67606 w 1828800"/>
                <a:gd name="connsiteY5" fmla="*/ 457201 h 914400"/>
                <a:gd name="connsiteX0" fmla="*/ 0 w 1828800"/>
                <a:gd name="connsiteY0" fmla="*/ 0 h 914400"/>
                <a:gd name="connsiteX1" fmla="*/ 1761193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6119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69922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69922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69922 w 1828800"/>
                <a:gd name="connsiteY5" fmla="*/ 457201 h 914400"/>
                <a:gd name="connsiteX0" fmla="*/ 0 w 1828800"/>
                <a:gd name="connsiteY0" fmla="*/ 0 h 914400"/>
                <a:gd name="connsiteX1" fmla="*/ 1758877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58877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67244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67244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67244 w 1828800"/>
                <a:gd name="connsiteY5" fmla="*/ 457201 h 914400"/>
                <a:gd name="connsiteX0" fmla="*/ 0 w 1828800"/>
                <a:gd name="connsiteY0" fmla="*/ 0 h 914400"/>
                <a:gd name="connsiteX1" fmla="*/ 1761556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1556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5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5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68596 w 1828800"/>
                <a:gd name="connsiteY5" fmla="*/ 457201 h 914400"/>
                <a:gd name="connsiteX0" fmla="*/ 0 w 1828800"/>
                <a:gd name="connsiteY0" fmla="*/ 0 h 914400"/>
                <a:gd name="connsiteX1" fmla="*/ 1760204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60204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99461 w 1828800"/>
                <a:gd name="connsiteY5" fmla="*/ 457201 h 914400"/>
                <a:gd name="connsiteX0" fmla="*/ 0 w 1828800"/>
                <a:gd name="connsiteY0" fmla="*/ 0 h 914400"/>
                <a:gd name="connsiteX1" fmla="*/ 1729339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29339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94837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94837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94837 w 1828800"/>
                <a:gd name="connsiteY5" fmla="*/ 457201 h 914400"/>
                <a:gd name="connsiteX0" fmla="*/ 0 w 1828800"/>
                <a:gd name="connsiteY0" fmla="*/ 0 h 914400"/>
                <a:gd name="connsiteX1" fmla="*/ 1733963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33963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  <a:gd name="connsiteX0" fmla="*/ 0 w 1828800"/>
                <a:gd name="connsiteY0" fmla="*/ 0 h 914400"/>
                <a:gd name="connsiteX1" fmla="*/ 1748744 w 1828800"/>
                <a:gd name="connsiteY1" fmla="*/ 0 h 914400"/>
                <a:gd name="connsiteX2" fmla="*/ 1828800 w 1828800"/>
                <a:gd name="connsiteY2" fmla="*/ 457200 h 914400"/>
                <a:gd name="connsiteX3" fmla="*/ 1748744 w 1828800"/>
                <a:gd name="connsiteY3" fmla="*/ 914400 h 914400"/>
                <a:gd name="connsiteX4" fmla="*/ 0 w 1828800"/>
                <a:gd name="connsiteY4" fmla="*/ 914400 h 914400"/>
                <a:gd name="connsiteX5" fmla="*/ 80055 w 1828800"/>
                <a:gd name="connsiteY5" fmla="*/ 457201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748744" y="0"/>
                  </a:lnTo>
                  <a:lnTo>
                    <a:pt x="1828800" y="457200"/>
                  </a:lnTo>
                  <a:lnTo>
                    <a:pt x="1748744" y="914400"/>
                  </a:lnTo>
                  <a:lnTo>
                    <a:pt x="0" y="914400"/>
                  </a:lnTo>
                  <a:lnTo>
                    <a:pt x="80055" y="457201"/>
                  </a:lnTo>
                  <a:close/>
                </a:path>
              </a:pathLst>
            </a:custGeom>
            <a:solidFill>
              <a:schemeClr val="bg1"/>
            </a:solidFill>
            <a:ln w="190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 err="1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  <p:sp>
          <p:nvSpPr>
            <p:cNvPr id="14" name="TextBox 13"/>
            <p:cNvSpPr txBox="1"/>
            <p:nvPr>
              <p:custDataLst>
                <p:tags r:id="rId9"/>
              </p:custDataLst>
            </p:nvPr>
          </p:nvSpPr>
          <p:spPr bwMode="gray">
            <a:xfrm>
              <a:off x="6449183" y="875389"/>
              <a:ext cx="2281308" cy="53524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ctr" anchorCtr="0" compatLnSpc="1">
              <a:prstTxWarp prst="textNoShape">
                <a:avLst/>
              </a:prstTxWarp>
              <a:no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baseline="0">
                  <a:latin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25000"/>
                <a:buFont typeface="Arial" pitchFamily="34" charset="0"/>
                <a:buChar char="•"/>
                <a:defRPr baseline="0">
                  <a:latin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baseline="0">
                  <a:latin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◦"/>
                <a:defRPr baseline="0">
                  <a:latin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Процесс организации и</a:t>
              </a:r>
              <a:r>
                <a:rPr lang="en-US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 </a:t>
              </a:r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проведения обследования в</a:t>
              </a:r>
              <a:r>
                <a:rPr lang="en-US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 </a:t>
              </a:r>
              <a:r>
                <a:rPr lang="ru-RU" sz="1200" dirty="0" smtClean="0">
                  <a:solidFill>
                    <a:schemeClr val="accent1"/>
                  </a:solidFill>
                  <a:cs typeface="Arial" panose="020B0604020202020204" pitchFamily="34" charset="0"/>
                  <a:sym typeface="+mn-lt"/>
                </a:rPr>
                <a:t>месте перенаправления</a:t>
              </a:r>
              <a:endParaRPr lang="en-US" sz="1200" dirty="0">
                <a:solidFill>
                  <a:schemeClr val="accent1"/>
                </a:solidFill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10" name="4. Footnote"/>
          <p:cNvSpPr txBox="1">
            <a:spLocks noChangeArrowheads="1"/>
          </p:cNvSpPr>
          <p:nvPr/>
        </p:nvSpPr>
        <p:spPr bwMode="gray">
          <a:xfrm>
            <a:off x="119063" y="5975361"/>
            <a:ext cx="840581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solidFill>
                  <a:schemeClr val="accent6"/>
                </a:solidFill>
                <a:latin typeface="+mn-lt"/>
                <a:cs typeface="Arial" panose="020B0604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>
                <a:sym typeface="+mn-lt"/>
              </a:rPr>
              <a:t>1 Которое невозможно провести в амбулаторных условиях</a:t>
            </a:r>
          </a:p>
          <a:p>
            <a:r>
              <a:rPr lang="ru-RU" dirty="0">
                <a:sym typeface="+mn-lt"/>
              </a:rPr>
              <a:t>2 При клиническом состоянии пациентов, допустимом для перенаправления</a:t>
            </a:r>
          </a:p>
          <a:p>
            <a:r>
              <a:rPr lang="ru-RU" dirty="0">
                <a:sym typeface="+mn-lt"/>
              </a:rPr>
              <a:t>3 С указанием поломок, среднего времени ожидания и пр. в режиме реального времени, для выбора МО для маршрутизации</a:t>
            </a:r>
            <a:endParaRPr lang="de-DE" dirty="0">
              <a:sym typeface="+mn-lt"/>
            </a:endParaRPr>
          </a:p>
        </p:txBody>
      </p:sp>
      <p:sp>
        <p:nvSpPr>
          <p:cNvPr id="115" name="TextBox 114"/>
          <p:cNvSpPr txBox="1">
            <a:spLocks/>
          </p:cNvSpPr>
          <p:nvPr/>
        </p:nvSpPr>
        <p:spPr>
          <a:xfrm>
            <a:off x="1092199" y="5597057"/>
            <a:ext cx="7638292" cy="369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solidFill>
                  <a:schemeClr val="accent1"/>
                </a:solidFill>
              </a:rPr>
              <a:t>Определение ответственного </a:t>
            </a:r>
            <a:r>
              <a:rPr lang="ru-RU" sz="1200" dirty="0" smtClean="0"/>
              <a:t>(предположительно, окружного специалиста) за выполнение порядка маршрутизации</a:t>
            </a:r>
            <a:endParaRPr lang="en-US" sz="1200" dirty="0"/>
          </a:p>
        </p:txBody>
      </p:sp>
      <p:cxnSp>
        <p:nvCxnSpPr>
          <p:cNvPr id="118" name="Straight Connector 117"/>
          <p:cNvCxnSpPr>
            <a:cxnSpLocks/>
          </p:cNvCxnSpPr>
          <p:nvPr/>
        </p:nvCxnSpPr>
        <p:spPr>
          <a:xfrm>
            <a:off x="1092199" y="5575354"/>
            <a:ext cx="7750176" cy="0"/>
          </a:xfrm>
          <a:prstGeom prst="line">
            <a:avLst/>
          </a:prstGeom>
          <a:ln>
            <a:solidFill>
              <a:schemeClr val="accent1"/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136906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52993" y="230188"/>
            <a:ext cx="7059157" cy="492443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algn="ctr"/>
            <a:r>
              <a:rPr lang="ru-RU" sz="1600" dirty="0"/>
              <a:t>Перечень целевых </a:t>
            </a:r>
            <a:r>
              <a:rPr lang="ru-RU" sz="1600" dirty="0" err="1"/>
              <a:t>КПЭ</a:t>
            </a:r>
            <a:r>
              <a:rPr lang="ru-RU" sz="1600" dirty="0"/>
              <a:t> должен расширяться при каскадировании </a:t>
            </a:r>
            <a:r>
              <a:rPr lang="ru-RU" sz="1600" dirty="0" smtClean="0"/>
              <a:t>от</a:t>
            </a:r>
            <a:r>
              <a:rPr lang="en-US" sz="1600" dirty="0" smtClean="0"/>
              <a:t> </a:t>
            </a:r>
            <a:r>
              <a:rPr lang="ru-RU" sz="1600" dirty="0" smtClean="0"/>
              <a:t>главврача</a:t>
            </a:r>
            <a:r>
              <a:rPr lang="en-US" sz="1600" dirty="0"/>
              <a:t>/</a:t>
            </a:r>
            <a:r>
              <a:rPr lang="ru-RU" sz="1600" dirty="0"/>
              <a:t>окружного специалиста до заведующего отделением</a:t>
            </a:r>
          </a:p>
        </p:txBody>
      </p:sp>
      <p:grpSp>
        <p:nvGrpSpPr>
          <p:cNvPr id="50" name="Group 49"/>
          <p:cNvGrpSpPr/>
          <p:nvPr/>
        </p:nvGrpSpPr>
        <p:grpSpPr>
          <a:xfrm>
            <a:off x="6402027" y="832724"/>
            <a:ext cx="2424959" cy="212366"/>
            <a:chOff x="-139812974" y="285750"/>
            <a:chExt cx="148550574" cy="212366"/>
          </a:xfrm>
        </p:grpSpPr>
        <p:sp>
          <p:nvSpPr>
            <p:cNvPr id="51" name="StickerRectangle"/>
            <p:cNvSpPr>
              <a:spLocks noChangeArrowheads="1"/>
            </p:cNvSpPr>
            <p:nvPr/>
          </p:nvSpPr>
          <p:spPr bwMode="auto">
            <a:xfrm>
              <a:off x="-139812974" y="285750"/>
              <a:ext cx="148550574" cy="2123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95350">
                <a:buClr>
                  <a:schemeClr val="tx2"/>
                </a:buClr>
              </a:pPr>
              <a:r>
                <a:rPr lang="en-US" sz="1200" dirty="0" err="1">
                  <a:solidFill>
                    <a:srgbClr val="808080"/>
                  </a:solidFill>
                  <a:latin typeface="+mn-lt"/>
                  <a:cs typeface="Arial" panose="020B0604020202020204" pitchFamily="34" charset="0"/>
                </a:rPr>
                <a:t>НЕИСЧЕРПЫВАЮЩИЙ</a:t>
              </a:r>
              <a:r>
                <a:rPr lang="en-US" sz="1200" dirty="0">
                  <a:solidFill>
                    <a:srgbClr val="808080"/>
                  </a:solidFill>
                  <a:latin typeface="+mn-lt"/>
                  <a:cs typeface="Arial" panose="020B0604020202020204" pitchFamily="34" charset="0"/>
                </a:rPr>
                <a:t> </a:t>
              </a:r>
              <a:r>
                <a:rPr lang="en-US" sz="1200" dirty="0" err="1">
                  <a:solidFill>
                    <a:srgbClr val="808080"/>
                  </a:solidFill>
                  <a:latin typeface="+mn-lt"/>
                  <a:cs typeface="Arial" panose="020B0604020202020204" pitchFamily="34" charset="0"/>
                </a:rPr>
                <a:t>СПИСОК</a:t>
              </a:r>
              <a:endParaRPr lang="en-US" sz="1200" dirty="0">
                <a:solidFill>
                  <a:srgbClr val="808080"/>
                </a:solidFill>
                <a:latin typeface="+mn-lt"/>
                <a:cs typeface="Arial" panose="020B0604020202020204" pitchFamily="34" charset="0"/>
              </a:endParaRPr>
            </a:p>
          </p:txBody>
        </p:sp>
        <p:cxnSp>
          <p:nvCxnSpPr>
            <p:cNvPr id="52" name="AutoShape 31"/>
            <p:cNvCxnSpPr>
              <a:cxnSpLocks noChangeShapeType="1"/>
              <a:stCxn id="51" idx="2"/>
              <a:endCxn id="51" idx="4"/>
            </p:cNvCxnSpPr>
            <p:nvPr/>
          </p:nvCxnSpPr>
          <p:spPr bwMode="auto">
            <a:xfrm>
              <a:off x="-139812974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53" name="AutoShape 32"/>
            <p:cNvCxnSpPr>
              <a:cxnSpLocks noChangeShapeType="1"/>
              <a:stCxn id="51" idx="4"/>
              <a:endCxn id="51" idx="6"/>
            </p:cNvCxnSpPr>
            <p:nvPr/>
          </p:nvCxnSpPr>
          <p:spPr bwMode="auto">
            <a:xfrm>
              <a:off x="-139812974" y="498116"/>
              <a:ext cx="148550574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119063" y="4299845"/>
            <a:ext cx="870792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McK 5. Source"/>
          <p:cNvSpPr>
            <a:spLocks noChangeArrowheads="1"/>
          </p:cNvSpPr>
          <p:nvPr/>
        </p:nvSpPr>
        <p:spPr bwMode="auto">
          <a:xfrm>
            <a:off x="119063" y="6470364"/>
            <a:ext cx="8405812" cy="1539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/>
          <a:p>
            <a:pPr marL="617538" indent="-617538" defTabSz="895350"/>
            <a:r>
              <a:rPr lang="ru-RU" sz="1000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ИСТОЧНИК: анализ рабочей группы</a:t>
            </a:r>
          </a:p>
        </p:txBody>
      </p:sp>
      <p:sp>
        <p:nvSpPr>
          <p:cNvPr id="55" name="AutoShape 250"/>
          <p:cNvSpPr>
            <a:spLocks noChangeArrowheads="1"/>
          </p:cNvSpPr>
          <p:nvPr/>
        </p:nvSpPr>
        <p:spPr bwMode="gray">
          <a:xfrm>
            <a:off x="1625148" y="1349439"/>
            <a:ext cx="1369993" cy="203738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az-Cyrl-AZ" sz="1200" dirty="0" smtClean="0">
                <a:solidFill>
                  <a:schemeClr val="accent1"/>
                </a:solidFill>
                <a:latin typeface="+mn-lt"/>
                <a:sym typeface="+mn-lt"/>
              </a:rPr>
              <a:t>Показатель</a:t>
            </a:r>
            <a:endParaRPr lang="de-DE" sz="1200" dirty="0">
              <a:solidFill>
                <a:schemeClr val="accent1"/>
              </a:solidFill>
              <a:latin typeface="+mn-lt"/>
              <a:sym typeface="+mn-lt"/>
            </a:endParaRPr>
          </a:p>
        </p:txBody>
      </p:sp>
      <p:sp>
        <p:nvSpPr>
          <p:cNvPr id="74" name="AutoShape 250"/>
          <p:cNvSpPr>
            <a:spLocks noChangeArrowheads="1"/>
          </p:cNvSpPr>
          <p:nvPr/>
        </p:nvSpPr>
        <p:spPr bwMode="gray">
          <a:xfrm>
            <a:off x="3111534" y="1349696"/>
            <a:ext cx="2379244" cy="203481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az-Cyrl-AZ" sz="1200" dirty="0" smtClean="0">
                <a:solidFill>
                  <a:schemeClr val="accent1"/>
                </a:solidFill>
                <a:latin typeface="+mn-lt"/>
                <a:sym typeface="+mn-lt"/>
              </a:rPr>
              <a:t>Показатель</a:t>
            </a:r>
            <a:endParaRPr lang="de-DE" sz="1200" dirty="0">
              <a:solidFill>
                <a:schemeClr val="accent1"/>
              </a:solidFill>
              <a:latin typeface="+mn-lt"/>
              <a:sym typeface="+mn-lt"/>
            </a:endParaRPr>
          </a:p>
        </p:txBody>
      </p:sp>
      <p:sp>
        <p:nvSpPr>
          <p:cNvPr id="79" name="AutoShape 250"/>
          <p:cNvSpPr>
            <a:spLocks noChangeArrowheads="1"/>
          </p:cNvSpPr>
          <p:nvPr/>
        </p:nvSpPr>
        <p:spPr bwMode="gray">
          <a:xfrm>
            <a:off x="5607170" y="1350848"/>
            <a:ext cx="3219816" cy="202329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18288" anchor="b">
            <a:spAutoFit/>
          </a:bodyPr>
          <a:lstStyle/>
          <a:p>
            <a:r>
              <a:rPr lang="az-Cyrl-AZ" sz="1200" dirty="0" smtClean="0">
                <a:solidFill>
                  <a:schemeClr val="accent1"/>
                </a:solidFill>
                <a:latin typeface="+mn-lt"/>
                <a:sym typeface="+mn-lt"/>
              </a:rPr>
              <a:t>Показатель</a:t>
            </a:r>
            <a:endParaRPr lang="de-DE" sz="1200" dirty="0">
              <a:solidFill>
                <a:schemeClr val="accent1"/>
              </a:solidFill>
              <a:latin typeface="+mn-lt"/>
              <a:sym typeface="+mn-lt"/>
            </a:endParaRPr>
          </a:p>
        </p:txBody>
      </p:sp>
      <p:cxnSp>
        <p:nvCxnSpPr>
          <p:cNvPr id="58" name="AutoShape 249"/>
          <p:cNvCxnSpPr>
            <a:cxnSpLocks noChangeShapeType="1"/>
          </p:cNvCxnSpPr>
          <p:nvPr/>
        </p:nvCxnSpPr>
        <p:spPr bwMode="auto">
          <a:xfrm>
            <a:off x="1625148" y="1294470"/>
            <a:ext cx="7201836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46" name="AutoShape 250"/>
          <p:cNvSpPr>
            <a:spLocks noChangeArrowheads="1"/>
          </p:cNvSpPr>
          <p:nvPr/>
        </p:nvSpPr>
        <p:spPr bwMode="auto">
          <a:xfrm>
            <a:off x="3111534" y="1091474"/>
            <a:ext cx="2379244" cy="2029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latin typeface="+mn-lt"/>
              </a:rPr>
              <a:t>Окружной специалист</a:t>
            </a:r>
          </a:p>
        </p:txBody>
      </p:sp>
      <p:sp>
        <p:nvSpPr>
          <p:cNvPr id="59" name="AutoShape 250"/>
          <p:cNvSpPr>
            <a:spLocks noChangeArrowheads="1"/>
          </p:cNvSpPr>
          <p:nvPr/>
        </p:nvSpPr>
        <p:spPr bwMode="auto">
          <a:xfrm>
            <a:off x="1625148" y="1091474"/>
            <a:ext cx="1369993" cy="2029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200" dirty="0">
                <a:solidFill>
                  <a:schemeClr val="accent1"/>
                </a:solidFill>
                <a:latin typeface="+mn-lt"/>
              </a:rPr>
              <a:t>Главврач</a:t>
            </a:r>
          </a:p>
        </p:txBody>
      </p:sp>
      <p:sp>
        <p:nvSpPr>
          <p:cNvPr id="89" name="AutoShape 250"/>
          <p:cNvSpPr>
            <a:spLocks noChangeArrowheads="1"/>
          </p:cNvSpPr>
          <p:nvPr/>
        </p:nvSpPr>
        <p:spPr bwMode="auto">
          <a:xfrm>
            <a:off x="5607170" y="1091474"/>
            <a:ext cx="3219816" cy="202996"/>
          </a:xfrm>
          <a:prstGeom prst="leftRightArrow">
            <a:avLst>
              <a:gd name="adj1" fmla="val 100000"/>
              <a:gd name="adj2" fmla="val 0"/>
            </a:avLst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18288" anchor="b">
            <a:spAutoFit/>
          </a:bodyPr>
          <a:lstStyle/>
          <a:p>
            <a:r>
              <a:rPr lang="ru-RU" sz="1200" dirty="0" smtClean="0">
                <a:solidFill>
                  <a:schemeClr val="accent1"/>
                </a:solidFill>
                <a:latin typeface="+mn-lt"/>
              </a:rPr>
              <a:t>Заведующий отделением радиологии</a:t>
            </a:r>
            <a:endParaRPr lang="en-US" sz="1200" baseline="0" noProof="0" dirty="0">
              <a:solidFill>
                <a:schemeClr val="accent1"/>
              </a:solidFill>
              <a:latin typeface="+mn-lt"/>
            </a:endParaRPr>
          </a:p>
        </p:txBody>
      </p:sp>
      <p:sp>
        <p:nvSpPr>
          <p:cNvPr id="40" name="McK 1. On-page tracker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119064" y="2693"/>
            <a:ext cx="1564980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indent="266700"/>
            <a:r>
              <a:rPr lang="ru-RU" sz="1400" cap="all" dirty="0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СИСТЕМА </a:t>
            </a:r>
            <a:r>
              <a:rPr lang="ru-RU" sz="1400" cap="all" dirty="0" err="1">
                <a:solidFill>
                  <a:schemeClr val="accent6"/>
                </a:solidFill>
                <a:latin typeface="+mn-lt"/>
                <a:cs typeface="Arial" panose="020B0604020202020204" pitchFamily="34" charset="0"/>
              </a:rPr>
              <a:t>КПЭ</a:t>
            </a:r>
            <a:endParaRPr lang="ru-RU" sz="1400" cap="all" dirty="0">
              <a:solidFill>
                <a:schemeClr val="accent6"/>
              </a:solidFill>
              <a:latin typeface="+mn-lt"/>
              <a:cs typeface="Arial" panose="020B0604020202020204" pitchFamily="34" charset="0"/>
            </a:endParaRPr>
          </a:p>
        </p:txBody>
      </p:sp>
      <p:sp>
        <p:nvSpPr>
          <p:cNvPr id="54" name="Oval 15"/>
          <p:cNvSpPr txBox="1"/>
          <p:nvPr>
            <p:custDataLst>
              <p:tags r:id="rId2"/>
            </p:custDataLst>
          </p:nvPr>
        </p:nvSpPr>
        <p:spPr bwMode="gray">
          <a:xfrm>
            <a:off x="119064" y="12962"/>
            <a:ext cx="194906" cy="194906"/>
          </a:xfrm>
          <a:prstGeom prst="ellipse">
            <a:avLst/>
          </a:prstGeom>
          <a:solidFill>
            <a:schemeClr val="bg1"/>
          </a:solidFill>
          <a:ln w="28575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>
                <a:cs typeface="Arial" panose="020B0604020202020204" pitchFamily="34" charset="0"/>
                <a:sym typeface="+mn-lt"/>
              </a:rPr>
              <a:t>3</a:t>
            </a:r>
            <a:endParaRPr lang="en-US" sz="1400" dirty="0"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6" name="4. Footnote"/>
          <p:cNvSpPr txBox="1">
            <a:spLocks noChangeArrowheads="1"/>
          </p:cNvSpPr>
          <p:nvPr/>
        </p:nvSpPr>
        <p:spPr bwMode="gray">
          <a:xfrm>
            <a:off x="119063" y="5667585"/>
            <a:ext cx="8405812" cy="76944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defPPr>
              <a:defRPr lang="en-US"/>
            </a:defPPr>
            <a:lvl1pPr marL="104775" indent="-104775" defTabSz="895350">
              <a:defRPr sz="1000" baseline="0">
                <a:solidFill>
                  <a:schemeClr val="accent6"/>
                </a:solidFill>
                <a:latin typeface="+mn-lt"/>
                <a:cs typeface="Arial" panose="020B0604020202020204" pitchFamily="34" charset="0"/>
              </a:defRPr>
            </a:lvl1pPr>
            <a:lvl2pPr marL="1031875" defTabSz="895350">
              <a:defRPr sz="2400"/>
            </a:lvl2pPr>
            <a:lvl3pPr marL="1217613" defTabSz="895350">
              <a:defRPr sz="2400"/>
            </a:lvl3pPr>
            <a:lvl4pPr marL="1404938" defTabSz="895350">
              <a:defRPr sz="2400"/>
            </a:lvl4pPr>
            <a:lvl5pPr marL="1792288" defTabSz="895350">
              <a:defRPr sz="2400"/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/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/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/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/>
            </a:lvl9pPr>
          </a:lstStyle>
          <a:p>
            <a:r>
              <a:rPr lang="ru-RU" dirty="0">
                <a:sym typeface="+mn-lt"/>
              </a:rPr>
              <a:t>1 Отношение фактического времени использования оборудования к максимально доступному времени, с учетом дней простоя, а также </a:t>
            </a:r>
            <a:r>
              <a:rPr lang="ru-RU" dirty="0" smtClean="0">
                <a:sym typeface="+mn-lt"/>
              </a:rPr>
              <a:t>установки </a:t>
            </a:r>
            <a:r>
              <a:rPr lang="ru-RU" dirty="0">
                <a:sym typeface="+mn-lt"/>
              </a:rPr>
              <a:t>различных нормативов времен для разных типов оборудования (</a:t>
            </a:r>
            <a:r>
              <a:rPr lang="ru-RU" dirty="0" err="1">
                <a:sym typeface="+mn-lt"/>
              </a:rPr>
              <a:t>КТ</a:t>
            </a:r>
            <a:r>
              <a:rPr lang="ru-RU" dirty="0">
                <a:sym typeface="+mn-lt"/>
              </a:rPr>
              <a:t>/</a:t>
            </a:r>
            <a:r>
              <a:rPr lang="ru-RU" dirty="0" err="1">
                <a:sym typeface="+mn-lt"/>
              </a:rPr>
              <a:t>МРТ</a:t>
            </a:r>
            <a:r>
              <a:rPr lang="ru-RU" dirty="0">
                <a:sym typeface="+mn-lt"/>
              </a:rPr>
              <a:t>) и </a:t>
            </a:r>
            <a:r>
              <a:rPr lang="ru-RU" dirty="0" err="1" smtClean="0">
                <a:sym typeface="+mn-lt"/>
              </a:rPr>
              <a:t>мед.учреждений</a:t>
            </a:r>
            <a:r>
              <a:rPr lang="en-US" dirty="0" smtClean="0">
                <a:sym typeface="+mn-lt"/>
              </a:rPr>
              <a:t> </a:t>
            </a:r>
            <a:r>
              <a:rPr lang="ru-RU" dirty="0" smtClean="0">
                <a:sym typeface="+mn-lt"/>
              </a:rPr>
              <a:t>(амбулаторных/стационарных/</a:t>
            </a:r>
            <a:r>
              <a:rPr lang="en-US" dirty="0" smtClean="0">
                <a:sym typeface="+mn-lt"/>
              </a:rPr>
              <a:t> </a:t>
            </a:r>
            <a:r>
              <a:rPr lang="ru-RU" dirty="0" smtClean="0">
                <a:sym typeface="+mn-lt"/>
              </a:rPr>
              <a:t>стационарных </a:t>
            </a:r>
            <a:r>
              <a:rPr lang="ru-RU" dirty="0">
                <a:sym typeface="+mn-lt"/>
              </a:rPr>
              <a:t>в операционной)</a:t>
            </a:r>
          </a:p>
          <a:p>
            <a:r>
              <a:rPr lang="ru-RU" dirty="0">
                <a:sym typeface="+mn-lt"/>
              </a:rPr>
              <a:t>2 Отношение количества разных уровней расхождений в отчетах к общему количеству перепроверенных заключений</a:t>
            </a:r>
          </a:p>
          <a:p>
            <a:r>
              <a:rPr lang="ru-RU" dirty="0">
                <a:sym typeface="+mn-lt"/>
              </a:rPr>
              <a:t>3 Отношение числа пациентов со сроком ожидания обследования более 14 дней к общему числу пациентов за период</a:t>
            </a:r>
            <a:endParaRPr lang="de-DE" dirty="0">
              <a:sym typeface="+mn-lt"/>
            </a:endParaRP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19062" y="1599294"/>
            <a:ext cx="1389697" cy="1477328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  <a:cs typeface="+mn-cs"/>
              </a:rPr>
              <a:t>Эффективность</a:t>
            </a:r>
            <a:endParaRPr lang="en-US" sz="1200" dirty="0">
              <a:solidFill>
                <a:schemeClr val="accent1"/>
              </a:solidFill>
              <a:cs typeface="+mn-cs"/>
            </a:endParaRPr>
          </a:p>
        </p:txBody>
      </p:sp>
      <p:sp>
        <p:nvSpPr>
          <p:cNvPr id="9" name="TextBox 8"/>
          <p:cNvSpPr txBox="1">
            <a:spLocks/>
          </p:cNvSpPr>
          <p:nvPr/>
        </p:nvSpPr>
        <p:spPr>
          <a:xfrm>
            <a:off x="119062" y="3153440"/>
            <a:ext cx="1389697" cy="1107996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  <a:cs typeface="+mn-cs"/>
              </a:rPr>
              <a:t>Качество</a:t>
            </a:r>
            <a:endParaRPr lang="en-US" sz="1200" dirty="0">
              <a:solidFill>
                <a:schemeClr val="accent1"/>
              </a:solidFill>
              <a:cs typeface="+mn-cs"/>
            </a:endParaRPr>
          </a:p>
        </p:txBody>
      </p:sp>
      <p:sp>
        <p:nvSpPr>
          <p:cNvPr id="11" name="TextBox 10"/>
          <p:cNvSpPr txBox="1">
            <a:spLocks/>
          </p:cNvSpPr>
          <p:nvPr/>
        </p:nvSpPr>
        <p:spPr>
          <a:xfrm>
            <a:off x="119062" y="4338255"/>
            <a:ext cx="1389697" cy="1292662"/>
          </a:xfrm>
          <a:prstGeom prst="rect">
            <a:avLst/>
          </a:prstGeom>
          <a:solidFill>
            <a:schemeClr val="bg1"/>
          </a:solidFill>
          <a:ln w="1905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200" dirty="0" smtClean="0">
                <a:solidFill>
                  <a:schemeClr val="accent1"/>
                </a:solidFill>
                <a:cs typeface="+mn-cs"/>
              </a:rPr>
              <a:t>Доступность</a:t>
            </a:r>
            <a:endParaRPr lang="en-US" sz="1200" dirty="0">
              <a:solidFill>
                <a:schemeClr val="accent1"/>
              </a:solidFill>
              <a:cs typeface="+mn-cs"/>
            </a:endParaRPr>
          </a:p>
        </p:txBody>
      </p:sp>
      <p:cxnSp>
        <p:nvCxnSpPr>
          <p:cNvPr id="64" name="AutoShape 249"/>
          <p:cNvCxnSpPr>
            <a:cxnSpLocks noChangeShapeType="1"/>
          </p:cNvCxnSpPr>
          <p:nvPr/>
        </p:nvCxnSpPr>
        <p:spPr bwMode="auto">
          <a:xfrm>
            <a:off x="1625148" y="1553177"/>
            <a:ext cx="7201836" cy="0"/>
          </a:xfrm>
          <a:prstGeom prst="straightConnector1">
            <a:avLst/>
          </a:prstGeom>
          <a:noFill/>
          <a:ln w="9525">
            <a:solidFill>
              <a:schemeClr val="accent1"/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noFill/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cxnSp>
      <p:sp>
        <p:nvSpPr>
          <p:cNvPr id="17" name="TextBox 16"/>
          <p:cNvSpPr txBox="1"/>
          <p:nvPr/>
        </p:nvSpPr>
        <p:spPr>
          <a:xfrm>
            <a:off x="1625150" y="1599294"/>
            <a:ext cx="136999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Эффективность использования оборудования</a:t>
            </a:r>
            <a:r>
              <a:rPr lang="ru-RU" sz="1200" baseline="30000" dirty="0" smtClean="0">
                <a:cs typeface="+mn-cs"/>
              </a:rPr>
              <a:t>1</a:t>
            </a:r>
            <a:r>
              <a:rPr lang="ru-RU" sz="1200" dirty="0" smtClean="0"/>
              <a:t> </a:t>
            </a:r>
            <a:endParaRPr lang="en-US" sz="1200" dirty="0"/>
          </a:p>
        </p:txBody>
      </p:sp>
      <p:sp>
        <p:nvSpPr>
          <p:cNvPr id="21" name="TextBox 20"/>
          <p:cNvSpPr txBox="1"/>
          <p:nvPr/>
        </p:nvSpPr>
        <p:spPr>
          <a:xfrm>
            <a:off x="3111534" y="1599294"/>
            <a:ext cx="2379244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обследований внутри округа, проводимых не </a:t>
            </a:r>
            <a:r>
              <a:rPr lang="ru-RU" sz="1200" dirty="0" smtClean="0"/>
              <a:t>в</a:t>
            </a:r>
            <a:r>
              <a:rPr lang="ru-RU" sz="1200" dirty="0" smtClean="0">
                <a:cs typeface="+mn-cs"/>
              </a:rPr>
              <a:t> соответствии с клиническими показаниями</a:t>
            </a:r>
            <a:endParaRPr lang="en-US" sz="1200" dirty="0"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1625148" y="3153440"/>
            <a:ext cx="1369993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ошибочных заключений</a:t>
            </a:r>
            <a:r>
              <a:rPr lang="ru-RU" sz="1200" baseline="30000" dirty="0" smtClean="0">
                <a:cs typeface="+mn-cs"/>
              </a:rPr>
              <a:t>2</a:t>
            </a:r>
            <a:r>
              <a:rPr lang="ru-RU" sz="1200" dirty="0" smtClean="0"/>
              <a:t> </a:t>
            </a:r>
            <a:endParaRPr lang="en-US" sz="1200" dirty="0"/>
          </a:p>
        </p:txBody>
      </p:sp>
      <p:sp>
        <p:nvSpPr>
          <p:cNvPr id="27" name="TextBox 26"/>
          <p:cNvSpPr txBox="1"/>
          <p:nvPr/>
        </p:nvSpPr>
        <p:spPr>
          <a:xfrm>
            <a:off x="3111534" y="3153440"/>
            <a:ext cx="2379244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Внедренные алгоритмы про-ведения выборочных </a:t>
            </a:r>
            <a:r>
              <a:rPr lang="ru-RU" sz="1200" dirty="0" err="1" smtClean="0">
                <a:cs typeface="+mn-cs"/>
              </a:rPr>
              <a:t>прове</a:t>
            </a:r>
            <a:r>
              <a:rPr lang="ru-RU" sz="1200" dirty="0" smtClean="0">
                <a:cs typeface="+mn-cs"/>
              </a:rPr>
              <a:t>-рок заключений внутри округа между </a:t>
            </a:r>
            <a:r>
              <a:rPr lang="ru-RU" sz="1200" dirty="0" err="1" smtClean="0">
                <a:cs typeface="+mn-cs"/>
              </a:rPr>
              <a:t>мед.учреждениями</a:t>
            </a:r>
            <a:endParaRPr lang="ru-RU" sz="1200" dirty="0" smtClean="0">
              <a:cs typeface="+mn-cs"/>
            </a:endParaRPr>
          </a:p>
          <a:p>
            <a:pPr lvl="1"/>
            <a:r>
              <a:rPr lang="ru-RU" sz="1200" dirty="0" smtClean="0">
                <a:cs typeface="+mn-cs"/>
              </a:rPr>
              <a:t>Периодичность клинического разбора ошибок</a:t>
            </a:r>
            <a:endParaRPr lang="en-US" sz="1200" dirty="0">
              <a:cs typeface="+mn-cs"/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5607170" y="3153440"/>
            <a:ext cx="3219816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расхождений в заключениях, и степень расхождений</a:t>
            </a:r>
          </a:p>
          <a:p>
            <a:pPr lvl="1"/>
            <a:r>
              <a:rPr lang="ru-RU" sz="1200" dirty="0" smtClean="0">
                <a:cs typeface="+mn-cs"/>
              </a:rPr>
              <a:t>Доля неправильно сделанных снимков</a:t>
            </a:r>
          </a:p>
          <a:p>
            <a:pPr lvl="1"/>
            <a:r>
              <a:rPr lang="ru-RU" sz="1200" dirty="0" smtClean="0">
                <a:cs typeface="+mn-cs"/>
              </a:rPr>
              <a:t>Доля пациентов, удовлетворенных качеством процедуры</a:t>
            </a:r>
          </a:p>
          <a:p>
            <a:pPr lvl="1"/>
            <a:r>
              <a:rPr lang="ru-RU" sz="1200" dirty="0" smtClean="0">
                <a:cs typeface="+mn-cs"/>
              </a:rPr>
              <a:t>Время подготовки заключения</a:t>
            </a:r>
            <a:endParaRPr lang="en-US" sz="1200" dirty="0">
              <a:cs typeface="+mn-cs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625148" y="4338255"/>
            <a:ext cx="1369993" cy="110799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пациентов со сроком ожидания за </a:t>
            </a:r>
            <a:r>
              <a:rPr lang="ru-RU" sz="1200" dirty="0" smtClean="0"/>
              <a:t>пределом "комфортного уровня"</a:t>
            </a:r>
            <a:r>
              <a:rPr lang="ru-RU" sz="1200" baseline="30000" dirty="0" smtClean="0">
                <a:cs typeface="+mn-cs"/>
              </a:rPr>
              <a:t>3</a:t>
            </a:r>
            <a:r>
              <a:rPr lang="ru-RU" sz="1200" dirty="0" smtClean="0">
                <a:cs typeface="+mn-cs"/>
              </a:rPr>
              <a:t> </a:t>
            </a:r>
            <a:endParaRPr lang="en-US" sz="1200" dirty="0">
              <a:cs typeface="+mn-cs"/>
            </a:endParaRPr>
          </a:p>
        </p:txBody>
      </p:sp>
      <p:sp>
        <p:nvSpPr>
          <p:cNvPr id="33" name="TextBox 32"/>
          <p:cNvSpPr txBox="1"/>
          <p:nvPr/>
        </p:nvSpPr>
        <p:spPr>
          <a:xfrm>
            <a:off x="3111534" y="4338255"/>
            <a:ext cx="2379244" cy="1292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пациентов в округе, для которых время ожидания обследования превысило максимальное значение</a:t>
            </a:r>
          </a:p>
          <a:p>
            <a:pPr lvl="1"/>
            <a:r>
              <a:rPr lang="ru-RU" sz="1200" dirty="0" smtClean="0">
                <a:cs typeface="+mn-cs"/>
              </a:rPr>
              <a:t>Процент высоко- и низкоэффективных </a:t>
            </a:r>
            <a:r>
              <a:rPr lang="ru-RU" sz="1200" dirty="0" err="1" smtClean="0">
                <a:cs typeface="+mn-cs"/>
              </a:rPr>
              <a:t>мед.учреждений</a:t>
            </a:r>
            <a:r>
              <a:rPr lang="ru-RU" sz="1200" dirty="0" smtClean="0">
                <a:cs typeface="+mn-cs"/>
              </a:rPr>
              <a:t> внутри округа</a:t>
            </a:r>
            <a:endParaRPr lang="en-US" sz="1200" dirty="0">
              <a:cs typeface="+mn-cs"/>
            </a:endParaRPr>
          </a:p>
        </p:txBody>
      </p:sp>
      <p:sp>
        <p:nvSpPr>
          <p:cNvPr id="35" name="TextBox 34"/>
          <p:cNvSpPr txBox="1"/>
          <p:nvPr/>
        </p:nvSpPr>
        <p:spPr>
          <a:xfrm>
            <a:off x="5607170" y="4338255"/>
            <a:ext cx="3219816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Доля пациентов со сроком ожидания за пределом "комфортного уровня"</a:t>
            </a:r>
          </a:p>
          <a:p>
            <a:pPr lvl="1"/>
            <a:r>
              <a:rPr lang="ru-RU" sz="1200" dirty="0" smtClean="0">
                <a:cs typeface="+mn-cs"/>
              </a:rPr>
              <a:t>Время ожидания "в коридоре"</a:t>
            </a:r>
            <a:endParaRPr lang="en-US" sz="1200" dirty="0">
              <a:cs typeface="+mn-cs"/>
            </a:endParaRPr>
          </a:p>
        </p:txBody>
      </p:sp>
      <p:sp>
        <p:nvSpPr>
          <p:cNvPr id="37" name="TextBox 36"/>
          <p:cNvSpPr txBox="1"/>
          <p:nvPr/>
        </p:nvSpPr>
        <p:spPr>
          <a:xfrm>
            <a:off x="5607170" y="1599294"/>
            <a:ext cx="3219816" cy="14773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lvl="1"/>
            <a:r>
              <a:rPr lang="ru-RU" sz="1200" dirty="0" smtClean="0">
                <a:cs typeface="+mn-cs"/>
              </a:rPr>
              <a:t>Уровень утилизации оборудования</a:t>
            </a:r>
          </a:p>
          <a:p>
            <a:pPr lvl="1"/>
            <a:r>
              <a:rPr lang="ru-RU" sz="1200" dirty="0" smtClean="0">
                <a:cs typeface="+mn-cs"/>
              </a:rPr>
              <a:t>Количество рабочих дней в неделю, смен в день</a:t>
            </a:r>
          </a:p>
          <a:p>
            <a:pPr lvl="1"/>
            <a:r>
              <a:rPr lang="ru-RU" sz="1200" dirty="0" smtClean="0">
                <a:cs typeface="+mn-cs"/>
              </a:rPr>
              <a:t>Среднее время проведения сканирования</a:t>
            </a:r>
          </a:p>
          <a:p>
            <a:pPr lvl="1"/>
            <a:r>
              <a:rPr lang="ru-RU" sz="1200" dirty="0" smtClean="0">
                <a:cs typeface="+mn-cs"/>
              </a:rPr>
              <a:t>Доля проводимых вне соответствия с </a:t>
            </a:r>
            <a:r>
              <a:rPr lang="ru-RU" sz="1200" dirty="0" err="1" smtClean="0">
                <a:cs typeface="+mn-cs"/>
              </a:rPr>
              <a:t>кли-ническими</a:t>
            </a:r>
            <a:r>
              <a:rPr lang="ru-RU" sz="1200" dirty="0" smtClean="0">
                <a:cs typeface="+mn-cs"/>
              </a:rPr>
              <a:t> показаниями обследований</a:t>
            </a:r>
          </a:p>
          <a:p>
            <a:pPr lvl="1"/>
            <a:r>
              <a:rPr lang="ru-RU" sz="1200" dirty="0" smtClean="0">
                <a:cs typeface="+mn-cs"/>
              </a:rPr>
              <a:t>Среднее время между сканированиями</a:t>
            </a:r>
          </a:p>
          <a:p>
            <a:pPr lvl="1"/>
            <a:r>
              <a:rPr lang="ru-RU" sz="1200" dirty="0" smtClean="0">
                <a:cs typeface="+mn-cs"/>
              </a:rPr>
              <a:t>Доля отмененных исследований</a:t>
            </a:r>
            <a:endParaRPr lang="en-US" sz="1200" dirty="0">
              <a:cs typeface="+mn-cs"/>
            </a:endParaRPr>
          </a:p>
        </p:txBody>
      </p: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119063" y="3115031"/>
            <a:ext cx="870792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916341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0" name="Object 59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54868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7281" name="think-cell Slide" r:id="rId51" imgW="493" imgH="493" progId="TCLayout.ActiveDocument.1">
                  <p:embed/>
                </p:oleObj>
              </mc:Choice>
              <mc:Fallback>
                <p:oleObj name="think-cell Slide" r:id="rId51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ru-RU" dirty="0" err="1" smtClean="0">
              <a:solidFill>
                <a:schemeClr val="tx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grpSp>
        <p:nvGrpSpPr>
          <p:cNvPr id="42" name="Group 41"/>
          <p:cNvGrpSpPr/>
          <p:nvPr/>
        </p:nvGrpSpPr>
        <p:grpSpPr>
          <a:xfrm>
            <a:off x="119064" y="882769"/>
            <a:ext cx="8723312" cy="5374603"/>
            <a:chOff x="3138714" y="1170481"/>
            <a:chExt cx="4935977" cy="5087444"/>
          </a:xfrm>
        </p:grpSpPr>
        <p:pic>
          <p:nvPicPr>
            <p:cNvPr id="47" name="Picture 2"/>
            <p:cNvPicPr>
              <a:picLocks noChangeArrowheads="1"/>
            </p:cNvPicPr>
            <p:nvPr/>
          </p:nvPicPr>
          <p:blipFill>
            <a:blip r:embed="rId53" cstate="print">
              <a:lum bright="-6000" contrast="1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8714" y="1271745"/>
              <a:ext cx="4935977" cy="4986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48" name="Rectangle 47"/>
            <p:cNvSpPr>
              <a:spLocks/>
            </p:cNvSpPr>
            <p:nvPr/>
          </p:nvSpPr>
          <p:spPr>
            <a:xfrm>
              <a:off x="3138714" y="1170481"/>
              <a:ext cx="4935977" cy="5087444"/>
            </a:xfrm>
            <a:prstGeom prst="rect">
              <a:avLst/>
            </a:prstGeom>
            <a:solidFill>
              <a:schemeClr val="bg1">
                <a:alpha val="42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tx2"/>
                </a:buClr>
              </a:pPr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Следующие шаги для совершенствования деятельности радиологических отделений</a:t>
            </a:r>
          </a:p>
        </p:txBody>
      </p:sp>
      <p:sp>
        <p:nvSpPr>
          <p:cNvPr id="76" name="Text Placeholder 4"/>
          <p:cNvSpPr>
            <a:spLocks noGrp="1"/>
          </p:cNvSpPr>
          <p:nvPr>
            <p:custDataLst>
              <p:tags r:id="rId4"/>
            </p:custDataLst>
          </p:nvPr>
        </p:nvSpPr>
        <p:spPr bwMode="auto">
          <a:xfrm>
            <a:off x="3684587" y="944563"/>
            <a:ext cx="11176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Май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4" name="Text Placeholder 4"/>
          <p:cNvSpPr>
            <a:spLocks noGrp="1"/>
          </p:cNvSpPr>
          <p:nvPr>
            <p:custDataLst>
              <p:tags r:id="rId5"/>
            </p:custDataLst>
          </p:nvPr>
        </p:nvSpPr>
        <p:spPr bwMode="auto">
          <a:xfrm>
            <a:off x="4802188" y="944563"/>
            <a:ext cx="257810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Июнь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61" name="Text Placeholder 4"/>
          <p:cNvSpPr>
            <a:spLocks noGrp="1"/>
          </p:cNvSpPr>
          <p:nvPr>
            <p:custDataLst>
              <p:tags r:id="rId6"/>
            </p:custDataLst>
          </p:nvPr>
        </p:nvSpPr>
        <p:spPr bwMode="auto">
          <a:xfrm>
            <a:off x="7380288" y="944563"/>
            <a:ext cx="14620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Июль</a:t>
            </a:r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3" name="Text Placeholder 4"/>
          <p:cNvSpPr>
            <a:spLocks noGrp="1"/>
          </p:cNvSpPr>
          <p:nvPr>
            <p:custDataLst>
              <p:tags r:id="rId7"/>
            </p:custDataLst>
          </p:nvPr>
        </p:nvSpPr>
        <p:spPr bwMode="auto">
          <a:xfrm>
            <a:off x="3684588" y="1252538"/>
            <a:ext cx="344488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19CB987-2FB0-4AD4-ADB3-FD21D43D85EF}" type="datetime'''''''''''''''1''''''9''''''.'''''''''''''''''''''''''">
              <a:rPr lang="en-US">
                <a:solidFill>
                  <a:schemeClr val="accent1"/>
                </a:solidFill>
              </a:rPr>
              <a:pPr/>
              <a:t>19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4" name="Text Placeholder 4"/>
          <p:cNvSpPr>
            <a:spLocks noGrp="1"/>
          </p:cNvSpPr>
          <p:nvPr>
            <p:custDataLst>
              <p:tags r:id="rId8"/>
            </p:custDataLst>
          </p:nvPr>
        </p:nvSpPr>
        <p:spPr bwMode="auto">
          <a:xfrm>
            <a:off x="4029075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3F98035-F3D0-4EF8-B09D-E74979FB5719}" type="datetime'''''23''''''''''''''''''''.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23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75" name="Text Placeholder 4"/>
          <p:cNvSpPr>
            <a:spLocks noGrp="1"/>
          </p:cNvSpPr>
          <p:nvPr>
            <p:custDataLst>
              <p:tags r:id="rId9"/>
            </p:custDataLst>
          </p:nvPr>
        </p:nvSpPr>
        <p:spPr bwMode="auto">
          <a:xfrm>
            <a:off x="4630738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14C981EA-8916-4C0F-BC94-3F013ACBE0A7}" type="datetime'''''3''''''''0''''''.''''''''''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30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1" name="Text Placeholder 4"/>
          <p:cNvSpPr>
            <a:spLocks noGrp="1"/>
          </p:cNvSpPr>
          <p:nvPr>
            <p:custDataLst>
              <p:tags r:id="rId10"/>
            </p:custDataLst>
          </p:nvPr>
        </p:nvSpPr>
        <p:spPr bwMode="auto">
          <a:xfrm>
            <a:off x="5232400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EBD95CFB-6407-43C6-8034-832A2F0DB5A3}" type="datetime'''''''0''''''''''6''''''''.''''''''''''''''''''''''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06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2" name="Text Placeholder 4"/>
          <p:cNvSpPr>
            <a:spLocks noGrp="1"/>
          </p:cNvSpPr>
          <p:nvPr>
            <p:custDataLst>
              <p:tags r:id="rId11"/>
            </p:custDataLst>
          </p:nvPr>
        </p:nvSpPr>
        <p:spPr bwMode="auto">
          <a:xfrm>
            <a:off x="5834063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F6E33143-7125-4F90-AEFA-00218B2D5A3A}" type="datetime'''''1''''''''3''''''''''''''''.''''''''''''''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13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3" name="Text Placeholder 4"/>
          <p:cNvSpPr>
            <a:spLocks noGrp="1"/>
          </p:cNvSpPr>
          <p:nvPr>
            <p:custDataLst>
              <p:tags r:id="rId12"/>
            </p:custDataLst>
          </p:nvPr>
        </p:nvSpPr>
        <p:spPr bwMode="auto">
          <a:xfrm>
            <a:off x="6435725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242E47B-83E5-4B42-9379-BBB6D6F81F83}" type="datetime'''''''2''''''''''''''''''''''''''''0.''''''''''''''''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20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49" name="Text Placeholder 4"/>
          <p:cNvSpPr>
            <a:spLocks noGrp="1"/>
          </p:cNvSpPr>
          <p:nvPr>
            <p:custDataLst>
              <p:tags r:id="rId13"/>
            </p:custDataLst>
          </p:nvPr>
        </p:nvSpPr>
        <p:spPr bwMode="auto">
          <a:xfrm>
            <a:off x="7037388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41EB8EB-4012-4972-AF2F-32736DEB433A}" type="datetime'2''''''''7.''''''''''''''''''''''''''''''''''''''''''''''''''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27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0" name="Text Placeholder 4"/>
          <p:cNvSpPr>
            <a:spLocks noGrp="1"/>
          </p:cNvSpPr>
          <p:nvPr>
            <p:custDataLst>
              <p:tags r:id="rId14"/>
            </p:custDataLst>
          </p:nvPr>
        </p:nvSpPr>
        <p:spPr bwMode="auto">
          <a:xfrm>
            <a:off x="7639050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C3B950F0-01C1-4284-9658-2E8AF0BEA4BC}" type="datetime'''''''''''''''''''''''''''''''04''''''''''''''''''.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04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55" name="Text Placeholder 4"/>
          <p:cNvSpPr>
            <a:spLocks noGrp="1"/>
          </p:cNvSpPr>
          <p:nvPr>
            <p:custDataLst>
              <p:tags r:id="rId15"/>
            </p:custDataLst>
          </p:nvPr>
        </p:nvSpPr>
        <p:spPr bwMode="auto">
          <a:xfrm>
            <a:off x="8240713" y="1252538"/>
            <a:ext cx="601663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31750" rIns="0" bIns="31750" numCol="1" spcCol="0" anchor="ctr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9B7CFFE2-8CB2-46BB-9F0C-A66126E866F4}" type="datetime'''''''''''''''''1''''''''''''''''''''''''''''''''''''1''.'">
              <a:rPr lang="en-US">
                <a:solidFill>
                  <a:schemeClr val="accent1"/>
                </a:solidFill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pPr/>
              <a:t>11.</a:t>
            </a:fld>
            <a:endParaRPr lang="ru-RU" dirty="0">
              <a:solidFill>
                <a:schemeClr val="accent1"/>
              </a:solidFill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cxnSp>
        <p:nvCxnSpPr>
          <p:cNvPr id="13" name="Straight Connector 12"/>
          <p:cNvCxnSpPr/>
          <p:nvPr>
            <p:custDataLst>
              <p:tags r:id="rId16"/>
            </p:custDataLst>
          </p:nvPr>
        </p:nvCxnSpPr>
        <p:spPr bwMode="gray">
          <a:xfrm>
            <a:off x="4802188" y="1252538"/>
            <a:ext cx="25225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2"/>
          <p:cNvCxnSpPr/>
          <p:nvPr>
            <p:custDataLst>
              <p:tags r:id="rId17"/>
            </p:custDataLst>
          </p:nvPr>
        </p:nvCxnSpPr>
        <p:spPr bwMode="gray">
          <a:xfrm>
            <a:off x="7380288" y="1252538"/>
            <a:ext cx="146208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Straight Connector 76"/>
          <p:cNvCxnSpPr/>
          <p:nvPr>
            <p:custDataLst>
              <p:tags r:id="rId18"/>
            </p:custDataLst>
          </p:nvPr>
        </p:nvCxnSpPr>
        <p:spPr bwMode="gray">
          <a:xfrm>
            <a:off x="3684587" y="1252538"/>
            <a:ext cx="1062038" cy="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Straight Connector 42"/>
          <p:cNvCxnSpPr/>
          <p:nvPr>
            <p:custDataLst>
              <p:tags r:id="rId19"/>
            </p:custDataLst>
          </p:nvPr>
        </p:nvCxnSpPr>
        <p:spPr bwMode="gray">
          <a:xfrm>
            <a:off x="4029075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/>
          <p:cNvCxnSpPr/>
          <p:nvPr>
            <p:custDataLst>
              <p:tags r:id="rId20"/>
            </p:custDataLst>
          </p:nvPr>
        </p:nvCxnSpPr>
        <p:spPr bwMode="gray">
          <a:xfrm>
            <a:off x="8240713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Straight Connector 43"/>
          <p:cNvCxnSpPr/>
          <p:nvPr>
            <p:custDataLst>
              <p:tags r:id="rId21"/>
            </p:custDataLst>
          </p:nvPr>
        </p:nvCxnSpPr>
        <p:spPr bwMode="gray">
          <a:xfrm>
            <a:off x="4630738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Straight Connector 44"/>
          <p:cNvCxnSpPr/>
          <p:nvPr>
            <p:custDataLst>
              <p:tags r:id="rId22"/>
            </p:custDataLst>
          </p:nvPr>
        </p:nvCxnSpPr>
        <p:spPr bwMode="gray">
          <a:xfrm>
            <a:off x="5232400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>
            <p:custDataLst>
              <p:tags r:id="rId23"/>
            </p:custDataLst>
          </p:nvPr>
        </p:nvCxnSpPr>
        <p:spPr bwMode="gray">
          <a:xfrm>
            <a:off x="7380288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>
            <p:custDataLst>
              <p:tags r:id="rId24"/>
            </p:custDataLst>
          </p:nvPr>
        </p:nvCxnSpPr>
        <p:spPr bwMode="gray">
          <a:xfrm>
            <a:off x="4802188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Straight Connector 55"/>
          <p:cNvCxnSpPr/>
          <p:nvPr>
            <p:custDataLst>
              <p:tags r:id="rId25"/>
            </p:custDataLst>
          </p:nvPr>
        </p:nvCxnSpPr>
        <p:spPr bwMode="gray">
          <a:xfrm>
            <a:off x="3684588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>
            <p:custDataLst>
              <p:tags r:id="rId26"/>
            </p:custDataLst>
          </p:nvPr>
        </p:nvCxnSpPr>
        <p:spPr bwMode="gray">
          <a:xfrm>
            <a:off x="6435725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7" name="Straight Connector 56"/>
          <p:cNvCxnSpPr/>
          <p:nvPr>
            <p:custDataLst>
              <p:tags r:id="rId27"/>
            </p:custDataLst>
          </p:nvPr>
        </p:nvCxnSpPr>
        <p:spPr bwMode="gray">
          <a:xfrm>
            <a:off x="8842375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Connector 45"/>
          <p:cNvCxnSpPr/>
          <p:nvPr>
            <p:custDataLst>
              <p:tags r:id="rId28"/>
            </p:custDataLst>
          </p:nvPr>
        </p:nvCxnSpPr>
        <p:spPr bwMode="gray">
          <a:xfrm>
            <a:off x="5834063" y="1560512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Straight Connector 15"/>
          <p:cNvCxnSpPr/>
          <p:nvPr>
            <p:custDataLst>
              <p:tags r:id="rId29"/>
            </p:custDataLst>
          </p:nvPr>
        </p:nvCxnSpPr>
        <p:spPr bwMode="gray">
          <a:xfrm>
            <a:off x="7037388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>
            <p:custDataLst>
              <p:tags r:id="rId30"/>
            </p:custDataLst>
          </p:nvPr>
        </p:nvCxnSpPr>
        <p:spPr bwMode="gray">
          <a:xfrm>
            <a:off x="7639050" y="1560513"/>
            <a:ext cx="0" cy="4432300"/>
          </a:xfrm>
          <a:prstGeom prst="line">
            <a:avLst/>
          </a:prstGeom>
          <a:ln w="9525">
            <a:solidFill>
              <a:srgbClr val="808080"/>
            </a:solidFill>
            <a:prstDash val="dash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/>
          <p:cNvCxnSpPr/>
          <p:nvPr>
            <p:custDataLst>
              <p:tags r:id="rId31"/>
            </p:custDataLst>
          </p:nvPr>
        </p:nvCxnSpPr>
        <p:spPr bwMode="gray">
          <a:xfrm>
            <a:off x="119063" y="5203825"/>
            <a:ext cx="8723313" cy="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Connector 24"/>
          <p:cNvCxnSpPr/>
          <p:nvPr>
            <p:custDataLst>
              <p:tags r:id="rId32"/>
            </p:custDataLst>
          </p:nvPr>
        </p:nvCxnSpPr>
        <p:spPr bwMode="gray">
          <a:xfrm>
            <a:off x="119063" y="4170363"/>
            <a:ext cx="8723313" cy="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/>
          <p:cNvCxnSpPr/>
          <p:nvPr>
            <p:custDataLst>
              <p:tags r:id="rId33"/>
            </p:custDataLst>
          </p:nvPr>
        </p:nvCxnSpPr>
        <p:spPr bwMode="gray">
          <a:xfrm>
            <a:off x="119063" y="2347913"/>
            <a:ext cx="8723313" cy="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>
            <p:custDataLst>
              <p:tags r:id="rId34"/>
            </p:custDataLst>
          </p:nvPr>
        </p:nvCxnSpPr>
        <p:spPr bwMode="gray">
          <a:xfrm>
            <a:off x="119063" y="3136900"/>
            <a:ext cx="8723313" cy="0"/>
          </a:xfrm>
          <a:prstGeom prst="line">
            <a:avLst/>
          </a:prstGeom>
          <a:ln w="9525">
            <a:solidFill>
              <a:schemeClr val="accent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Straight Connector 58"/>
          <p:cNvCxnSpPr/>
          <p:nvPr>
            <p:custDataLst>
              <p:tags r:id="rId35"/>
            </p:custDataLst>
          </p:nvPr>
        </p:nvCxnSpPr>
        <p:spPr bwMode="gray">
          <a:xfrm>
            <a:off x="119062" y="5992813"/>
            <a:ext cx="87233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Straight Connector 57"/>
          <p:cNvCxnSpPr/>
          <p:nvPr>
            <p:custDataLst>
              <p:tags r:id="rId36"/>
            </p:custDataLst>
          </p:nvPr>
        </p:nvCxnSpPr>
        <p:spPr bwMode="gray">
          <a:xfrm>
            <a:off x="119062" y="1560513"/>
            <a:ext cx="8723313" cy="0"/>
          </a:xfrm>
          <a:prstGeom prst="line">
            <a:avLst/>
          </a:prstGeom>
          <a:ln w="19050">
            <a:solidFill>
              <a:srgbClr val="808080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/>
          <p:cNvCxnSpPr/>
          <p:nvPr>
            <p:custDataLst>
              <p:tags r:id="rId37"/>
            </p:custDataLst>
          </p:nvPr>
        </p:nvCxnSpPr>
        <p:spPr bwMode="gray">
          <a:xfrm>
            <a:off x="3684588" y="1822450"/>
            <a:ext cx="2149475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/>
          <p:cNvCxnSpPr/>
          <p:nvPr>
            <p:custDataLst>
              <p:tags r:id="rId38"/>
            </p:custDataLst>
          </p:nvPr>
        </p:nvCxnSpPr>
        <p:spPr bwMode="gray">
          <a:xfrm>
            <a:off x="3684587" y="3400425"/>
            <a:ext cx="2751138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9" name="Straight Connector 68"/>
          <p:cNvCxnSpPr/>
          <p:nvPr>
            <p:custDataLst>
              <p:tags r:id="rId39"/>
            </p:custDataLst>
          </p:nvPr>
        </p:nvCxnSpPr>
        <p:spPr bwMode="gray">
          <a:xfrm>
            <a:off x="4029075" y="4433888"/>
            <a:ext cx="3351213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>
            <p:custDataLst>
              <p:tags r:id="rId40"/>
            </p:custDataLst>
          </p:nvPr>
        </p:nvCxnSpPr>
        <p:spPr bwMode="gray">
          <a:xfrm>
            <a:off x="4029075" y="5467350"/>
            <a:ext cx="2406650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>
            <p:custDataLst>
              <p:tags r:id="rId41"/>
            </p:custDataLst>
          </p:nvPr>
        </p:nvCxnSpPr>
        <p:spPr bwMode="gray">
          <a:xfrm>
            <a:off x="4802188" y="2611438"/>
            <a:ext cx="2578100" cy="0"/>
          </a:xfrm>
          <a:prstGeom prst="line">
            <a:avLst/>
          </a:prstGeom>
          <a:ln w="38100">
            <a:solidFill>
              <a:schemeClr val="folHlink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/>
          <p:cNvCxnSpPr/>
          <p:nvPr>
            <p:custDataLst>
              <p:tags r:id="rId42"/>
            </p:custDataLst>
          </p:nvPr>
        </p:nvCxnSpPr>
        <p:spPr bwMode="gray">
          <a:xfrm>
            <a:off x="3538538" y="1822450"/>
            <a:ext cx="146050" cy="0"/>
          </a:xfrm>
          <a:prstGeom prst="line">
            <a:avLst/>
          </a:prstGeom>
          <a:ln w="38100">
            <a:solidFill>
              <a:schemeClr val="folHlink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Straight Connector 65"/>
          <p:cNvCxnSpPr/>
          <p:nvPr>
            <p:custDataLst>
              <p:tags r:id="rId43"/>
            </p:custDataLst>
          </p:nvPr>
        </p:nvCxnSpPr>
        <p:spPr bwMode="gray">
          <a:xfrm>
            <a:off x="3538538" y="3400425"/>
            <a:ext cx="146050" cy="0"/>
          </a:xfrm>
          <a:prstGeom prst="line">
            <a:avLst/>
          </a:prstGeom>
          <a:ln w="38100">
            <a:solidFill>
              <a:schemeClr val="folHlink"/>
            </a:solidFill>
            <a:prstDash val="sysDot"/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2" name="Text Placeholder 1"/>
          <p:cNvSpPr>
            <a:spLocks noGrp="1"/>
          </p:cNvSpPr>
          <p:nvPr>
            <p:custDataLst>
              <p:tags r:id="rId44"/>
            </p:custDataLst>
          </p:nvPr>
        </p:nvSpPr>
        <p:spPr bwMode="auto">
          <a:xfrm>
            <a:off x="119062" y="5354638"/>
            <a:ext cx="318770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rgbClr r="0" g="0" b="0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Разработка и согласование </a:t>
            </a:r>
            <a:r>
              <a:rPr lang="ru-RU" dirty="0" err="1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ТЗ</a:t>
            </a:r>
            <a:r>
              <a:rPr lang="ru-RU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 на</a:t>
            </a:r>
          </a:p>
          <a:p>
            <a:r>
              <a:rPr lang="ru-RU" dirty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о</a:t>
            </a:r>
            <a:r>
              <a:rPr lang="ru-RU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бъединение </a:t>
            </a:r>
            <a:r>
              <a:rPr lang="ru-RU" dirty="0" err="1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ЕРИС</a:t>
            </a:r>
            <a:r>
              <a:rPr lang="ru-RU" dirty="0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 и </a:t>
            </a:r>
            <a:r>
              <a:rPr lang="ru-RU" dirty="0" err="1" smtClean="0">
                <a:latin typeface="Arial" panose="020B0604020202020204" pitchFamily="34" charset="0"/>
                <a:ea typeface="ＭＳ Ｐゴシック" panose="020B0600070205080204" pitchFamily="34" charset="-128"/>
                <a:sym typeface="Arial" panose="020B0604020202020204" pitchFamily="34" charset="0"/>
              </a:rPr>
              <a:t>ЕМИАС</a:t>
            </a:r>
            <a:endParaRPr lang="ru-RU" dirty="0">
              <a:latin typeface="Arial" panose="020B0604020202020204" pitchFamily="34" charset="0"/>
              <a:ea typeface="ＭＳ Ｐゴシック" panose="020B0600070205080204" pitchFamily="34" charset="-128"/>
              <a:sym typeface="Arial" panose="020B0604020202020204" pitchFamily="34" charset="0"/>
            </a:endParaRPr>
          </a:p>
        </p:txBody>
      </p:sp>
      <p:sp>
        <p:nvSpPr>
          <p:cNvPr id="12" name="Text Placeholder 3"/>
          <p:cNvSpPr>
            <a:spLocks noGrp="1"/>
          </p:cNvSpPr>
          <p:nvPr>
            <p:custDataLst>
              <p:tags r:id="rId45"/>
            </p:custDataLst>
          </p:nvPr>
        </p:nvSpPr>
        <p:spPr bwMode="auto">
          <a:xfrm>
            <a:off x="119063" y="1284288"/>
            <a:ext cx="1276350" cy="2444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b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fld id="{2EC3DAC5-94E9-45B7-8AF5-48A74DB98EF8}" type="datetime'М''''е''р''''''''''''''о''''пр''''ия''т''''''''и''''е'''''''">
              <a:rPr lang="en-US">
                <a:solidFill>
                  <a:schemeClr val="accent1"/>
                </a:solidFill>
              </a:rPr>
              <a:pPr/>
              <a:t>Мероприятие</a:t>
            </a:fld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11" name="Text Placeholder 1"/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119062" y="4321175"/>
            <a:ext cx="3275013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/>
              <a:t>Разработка мероприятий </a:t>
            </a:r>
            <a:br>
              <a:rPr lang="ru-RU" dirty="0" smtClean="0"/>
            </a:br>
            <a:r>
              <a:rPr lang="ru-RU" dirty="0" smtClean="0"/>
              <a:t>эффективности тех-обслуживания</a:t>
            </a:r>
            <a:br>
              <a:rPr lang="ru-RU" dirty="0" smtClean="0"/>
            </a:br>
            <a:r>
              <a:rPr lang="ru-RU" dirty="0" smtClean="0"/>
              <a:t>(в </a:t>
            </a:r>
            <a:r>
              <a:rPr lang="ru-RU" dirty="0" err="1" smtClean="0"/>
              <a:t>т.ч</a:t>
            </a:r>
            <a:r>
              <a:rPr lang="ru-RU" dirty="0" smtClean="0"/>
              <a:t>. </a:t>
            </a:r>
            <a:r>
              <a:rPr lang="ru-RU" dirty="0" err="1" smtClean="0"/>
              <a:t>КПЭ</a:t>
            </a:r>
            <a:r>
              <a:rPr lang="ru-RU" dirty="0" smtClean="0"/>
              <a:t> для </a:t>
            </a:r>
            <a:r>
              <a:rPr lang="ru-RU" dirty="0" err="1" smtClean="0"/>
              <a:t>Гормедтехники</a:t>
            </a:r>
            <a:r>
              <a:rPr lang="ru-RU" dirty="0" smtClean="0"/>
              <a:t>)</a:t>
            </a:r>
            <a:endParaRPr lang="ru-RU" dirty="0"/>
          </a:p>
        </p:txBody>
      </p:sp>
      <p:sp>
        <p:nvSpPr>
          <p:cNvPr id="5" name="Text Placeholder 1"/>
          <p:cNvSpPr>
            <a:spLocks noGrp="1"/>
          </p:cNvSpPr>
          <p:nvPr>
            <p:custDataLst>
              <p:tags r:id="rId47"/>
            </p:custDataLst>
          </p:nvPr>
        </p:nvSpPr>
        <p:spPr bwMode="auto">
          <a:xfrm>
            <a:off x="119062" y="1709738"/>
            <a:ext cx="2484438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/>
              <a:t>Утверждение нормативов</a:t>
            </a:r>
          </a:p>
          <a:p>
            <a:r>
              <a:rPr lang="ru-RU" dirty="0" smtClean="0"/>
              <a:t>времени на исследования</a:t>
            </a:r>
            <a:endParaRPr lang="ru-RU" dirty="0"/>
          </a:p>
        </p:txBody>
      </p:sp>
      <p:sp>
        <p:nvSpPr>
          <p:cNvPr id="7" name="Text Placeholder 1"/>
          <p:cNvSpPr>
            <a:spLocks noGrp="1"/>
          </p:cNvSpPr>
          <p:nvPr>
            <p:custDataLst>
              <p:tags r:id="rId48"/>
            </p:custDataLst>
          </p:nvPr>
        </p:nvSpPr>
        <p:spPr bwMode="auto">
          <a:xfrm>
            <a:off x="119062" y="2498725"/>
            <a:ext cx="3346450" cy="488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/>
              <a:t>Доработка и утверждение </a:t>
            </a:r>
            <a:br>
              <a:rPr lang="ru-RU" dirty="0" smtClean="0"/>
            </a:br>
            <a:r>
              <a:rPr lang="ru-RU" dirty="0" smtClean="0"/>
              <a:t>проекта</a:t>
            </a:r>
            <a:r>
              <a:rPr lang="ru-RU" dirty="0"/>
              <a:t> </a:t>
            </a:r>
            <a:r>
              <a:rPr lang="ru-RU" dirty="0" smtClean="0"/>
              <a:t>маршрутизации пациентов</a:t>
            </a:r>
            <a:endParaRPr lang="ru-RU" dirty="0"/>
          </a:p>
        </p:txBody>
      </p:sp>
      <p:sp>
        <p:nvSpPr>
          <p:cNvPr id="9" name="Text Placeholder 1"/>
          <p:cNvSpPr>
            <a:spLocks noGrp="1"/>
          </p:cNvSpPr>
          <p:nvPr>
            <p:custDataLst>
              <p:tags r:id="rId49"/>
            </p:custDataLst>
          </p:nvPr>
        </p:nvSpPr>
        <p:spPr bwMode="auto">
          <a:xfrm>
            <a:off x="119064" y="3287713"/>
            <a:ext cx="3228975" cy="7334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0" indent="0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1pPr>
            <a:lvl2pPr marL="193675" indent="-19208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2pPr>
            <a:lvl3pPr marL="457200" indent="-261938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charset="0"/>
              <a:buChar char="–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3pPr>
            <a:lvl4pPr marL="614363" indent="-1555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120000"/>
              <a:buFont typeface="Arial" pitchFamily="34" charset="0"/>
              <a:buChar char="▫"/>
              <a:defRPr lang="en-US" sz="1600" baseline="0" noProof="0" dirty="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4pPr>
            <a:lvl5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lang="de-DE" sz="1600" baseline="0" noProof="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defRPr>
            </a:lvl5pPr>
            <a:lvl6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6pPr>
            <a:lvl7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7pPr>
            <a:lvl8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8pPr>
            <a:lvl9pPr marL="749808" indent="-130175" algn="l" defTabSz="895350" rtl="0" eaLnBrk="1" fontAlgn="base" hangingPunct="1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sz="1600" baseline="0">
                <a:solidFill>
                  <a:schemeClr val="tx1"/>
                </a:solidFill>
                <a:latin typeface="+mn-lt"/>
              </a:defRPr>
            </a:lvl9pPr>
          </a:lstStyle>
          <a:p>
            <a:r>
              <a:rPr lang="ru-RU" dirty="0" smtClean="0"/>
              <a:t>Доработка и утверждение </a:t>
            </a:r>
          </a:p>
          <a:p>
            <a:r>
              <a:rPr lang="ru-RU" dirty="0"/>
              <a:t>к</a:t>
            </a:r>
            <a:r>
              <a:rPr lang="ru-RU" dirty="0" smtClean="0"/>
              <a:t>ритериев оценки эффективности</a:t>
            </a:r>
            <a:br>
              <a:rPr lang="ru-RU" dirty="0" smtClean="0"/>
            </a:br>
            <a:r>
              <a:rPr lang="ru-RU" dirty="0" smtClean="0"/>
              <a:t>отделений и сотрудников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74095928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5" name="Object 9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92293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Название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 smtClean="0"/>
              <a:t>Статистика радиологии </a:t>
            </a:r>
            <a:r>
              <a:rPr lang="ru-RU" dirty="0"/>
              <a:t>Москвы</a:t>
            </a:r>
          </a:p>
        </p:txBody>
      </p:sp>
      <p:pic>
        <p:nvPicPr>
          <p:cNvPr id="5" name="Изображение 20" descr="13055093_582276138598853_6054188484992233538_o.jpg"/>
          <p:cNvPicPr>
            <a:picLocks noChangeAspect="1"/>
          </p:cNvPicPr>
          <p:nvPr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2000" r="13300"/>
          <a:stretch/>
        </p:blipFill>
        <p:spPr>
          <a:xfrm>
            <a:off x="87630" y="81915"/>
            <a:ext cx="790575" cy="687240"/>
          </a:xfrm>
          <a:prstGeom prst="rect">
            <a:avLst/>
          </a:prstGeom>
        </p:spPr>
      </p:pic>
      <p:sp>
        <p:nvSpPr>
          <p:cNvPr id="93" name="Rectangle 92"/>
          <p:cNvSpPr>
            <a:spLocks/>
          </p:cNvSpPr>
          <p:nvPr/>
        </p:nvSpPr>
        <p:spPr>
          <a:xfrm>
            <a:off x="2661418" y="1602150"/>
            <a:ext cx="1344265" cy="46060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94" name="Rectangle 93"/>
          <p:cNvSpPr>
            <a:spLocks/>
          </p:cNvSpPr>
          <p:nvPr/>
        </p:nvSpPr>
        <p:spPr>
          <a:xfrm>
            <a:off x="5771490" y="1602150"/>
            <a:ext cx="1344265" cy="4606083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179652" y="965670"/>
            <a:ext cx="8602134" cy="5367867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grpSp>
        <p:nvGrpSpPr>
          <p:cNvPr id="7" name="Group 2"/>
          <p:cNvGrpSpPr>
            <a:grpSpLocks/>
          </p:cNvGrpSpPr>
          <p:nvPr/>
        </p:nvGrpSpPr>
        <p:grpSpPr bwMode="gray">
          <a:xfrm>
            <a:off x="2661418" y="1090974"/>
            <a:ext cx="1344265" cy="511176"/>
            <a:chOff x="915" y="708"/>
            <a:chExt cx="2686" cy="322"/>
          </a:xfrm>
        </p:grpSpPr>
        <p:cxnSp>
          <p:nvCxnSpPr>
            <p:cNvPr id="8" name="AutoShape 249"/>
            <p:cNvCxnSpPr>
              <a:cxnSpLocks noChangeShapeType="1"/>
              <a:stCxn id="9" idx="4"/>
              <a:endCxn id="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Аппаратов (2016)</a:t>
              </a:r>
            </a:p>
          </p:txBody>
        </p:sp>
      </p:grpSp>
      <p:grpSp>
        <p:nvGrpSpPr>
          <p:cNvPr id="10" name="Group 2"/>
          <p:cNvGrpSpPr>
            <a:grpSpLocks/>
          </p:cNvGrpSpPr>
          <p:nvPr/>
        </p:nvGrpSpPr>
        <p:grpSpPr bwMode="gray">
          <a:xfrm>
            <a:off x="4216454" y="1090974"/>
            <a:ext cx="1344265" cy="511176"/>
            <a:chOff x="915" y="708"/>
            <a:chExt cx="2686" cy="322"/>
          </a:xfrm>
        </p:grpSpPr>
        <p:cxnSp>
          <p:nvCxnSpPr>
            <p:cNvPr id="11" name="AutoShape 249"/>
            <p:cNvCxnSpPr>
              <a:cxnSpLocks noChangeShapeType="1"/>
              <a:stCxn id="12" idx="4"/>
              <a:endCxn id="1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Иссл-ний (2014)</a:t>
              </a:r>
            </a:p>
          </p:txBody>
        </p:sp>
      </p:grpSp>
      <p:grpSp>
        <p:nvGrpSpPr>
          <p:cNvPr id="13" name="Group 2"/>
          <p:cNvGrpSpPr>
            <a:grpSpLocks/>
          </p:cNvGrpSpPr>
          <p:nvPr/>
        </p:nvGrpSpPr>
        <p:grpSpPr bwMode="gray">
          <a:xfrm>
            <a:off x="5771490" y="1090974"/>
            <a:ext cx="1344265" cy="511176"/>
            <a:chOff x="915" y="708"/>
            <a:chExt cx="2686" cy="322"/>
          </a:xfrm>
        </p:grpSpPr>
        <p:cxnSp>
          <p:nvCxnSpPr>
            <p:cNvPr id="14" name="AutoShape 249"/>
            <p:cNvCxnSpPr>
              <a:cxnSpLocks noChangeShapeType="1"/>
              <a:stCxn id="15" idx="4"/>
              <a:endCxn id="1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5" name="AutoShape 250"/>
            <p:cNvSpPr>
              <a:spLocks noChangeArrowheads="1"/>
            </p:cNvSpPr>
            <p:nvPr/>
          </p:nvSpPr>
          <p:spPr bwMode="gray">
            <a:xfrm>
              <a:off x="915" y="708"/>
              <a:ext cx="2686" cy="322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Иссл-ний (2015)</a:t>
              </a:r>
            </a:p>
          </p:txBody>
        </p:sp>
      </p:grpSp>
      <p:grpSp>
        <p:nvGrpSpPr>
          <p:cNvPr id="16" name="Group 2"/>
          <p:cNvGrpSpPr>
            <a:grpSpLocks/>
          </p:cNvGrpSpPr>
          <p:nvPr/>
        </p:nvGrpSpPr>
        <p:grpSpPr bwMode="gray">
          <a:xfrm>
            <a:off x="7326527" y="1337037"/>
            <a:ext cx="1344265" cy="265113"/>
            <a:chOff x="915" y="863"/>
            <a:chExt cx="2686" cy="167"/>
          </a:xfrm>
        </p:grpSpPr>
        <p:cxnSp>
          <p:nvCxnSpPr>
            <p:cNvPr id="17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Врачи</a:t>
              </a:r>
            </a:p>
          </p:txBody>
        </p:sp>
      </p:grpSp>
      <p:sp>
        <p:nvSpPr>
          <p:cNvPr id="20" name="Rectangle 20"/>
          <p:cNvSpPr txBox="1">
            <a:spLocks/>
          </p:cNvSpPr>
          <p:nvPr/>
        </p:nvSpPr>
        <p:spPr>
          <a:xfrm>
            <a:off x="290647" y="16826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Рентгенодиагностика</a:t>
            </a:r>
            <a:endParaRPr lang="en-US" dirty="0"/>
          </a:p>
        </p:txBody>
      </p:sp>
      <p:sp>
        <p:nvSpPr>
          <p:cNvPr id="22" name="Rectangle 20"/>
          <p:cNvSpPr txBox="1">
            <a:spLocks/>
          </p:cNvSpPr>
          <p:nvPr/>
        </p:nvSpPr>
        <p:spPr>
          <a:xfrm>
            <a:off x="290647" y="21988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Флюорография</a:t>
            </a:r>
            <a:endParaRPr lang="en-US" dirty="0"/>
          </a:p>
        </p:txBody>
      </p:sp>
      <p:sp>
        <p:nvSpPr>
          <p:cNvPr id="23" name="Rectangle 20"/>
          <p:cNvSpPr txBox="1">
            <a:spLocks/>
          </p:cNvSpPr>
          <p:nvPr/>
        </p:nvSpPr>
        <p:spPr>
          <a:xfrm>
            <a:off x="290647" y="27150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Маммография</a:t>
            </a:r>
            <a:endParaRPr lang="en-US" dirty="0"/>
          </a:p>
        </p:txBody>
      </p:sp>
      <p:sp>
        <p:nvSpPr>
          <p:cNvPr id="24" name="Rectangle 20"/>
          <p:cNvSpPr txBox="1">
            <a:spLocks/>
          </p:cNvSpPr>
          <p:nvPr/>
        </p:nvSpPr>
        <p:spPr>
          <a:xfrm>
            <a:off x="290647" y="32312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КТ</a:t>
            </a:r>
            <a:endParaRPr lang="en-US" dirty="0"/>
          </a:p>
        </p:txBody>
      </p:sp>
      <p:sp>
        <p:nvSpPr>
          <p:cNvPr id="25" name="Rectangle 20"/>
          <p:cNvSpPr txBox="1">
            <a:spLocks/>
          </p:cNvSpPr>
          <p:nvPr/>
        </p:nvSpPr>
        <p:spPr>
          <a:xfrm>
            <a:off x="290647" y="37474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МРТ</a:t>
            </a:r>
            <a:endParaRPr lang="en-US" dirty="0"/>
          </a:p>
        </p:txBody>
      </p:sp>
      <p:sp>
        <p:nvSpPr>
          <p:cNvPr id="26" name="Rectangle 20"/>
          <p:cNvSpPr txBox="1">
            <a:spLocks/>
          </p:cNvSpPr>
          <p:nvPr/>
        </p:nvSpPr>
        <p:spPr>
          <a:xfrm>
            <a:off x="290647" y="42636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ОФЭКТ</a:t>
            </a:r>
            <a:endParaRPr lang="en-US" dirty="0"/>
          </a:p>
        </p:txBody>
      </p:sp>
      <p:sp>
        <p:nvSpPr>
          <p:cNvPr id="27" name="Rectangle 20"/>
          <p:cNvSpPr txBox="1">
            <a:spLocks/>
          </p:cNvSpPr>
          <p:nvPr/>
        </p:nvSpPr>
        <p:spPr>
          <a:xfrm>
            <a:off x="290647" y="47798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ПЭТ КТ</a:t>
            </a:r>
            <a:endParaRPr lang="en-US" dirty="0"/>
          </a:p>
        </p:txBody>
      </p:sp>
      <p:sp>
        <p:nvSpPr>
          <p:cNvPr id="28" name="Rectangle 20"/>
          <p:cNvSpPr txBox="1">
            <a:spLocks/>
          </p:cNvSpPr>
          <p:nvPr/>
        </p:nvSpPr>
        <p:spPr>
          <a:xfrm>
            <a:off x="290647" y="5296028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Всего:</a:t>
            </a:r>
            <a:endParaRPr lang="en-US" dirty="0"/>
          </a:p>
        </p:txBody>
      </p:sp>
      <p:sp>
        <p:nvSpPr>
          <p:cNvPr id="29" name="Rectangle 20"/>
          <p:cNvSpPr txBox="1">
            <a:spLocks/>
          </p:cNvSpPr>
          <p:nvPr/>
        </p:nvSpPr>
        <p:spPr>
          <a:xfrm>
            <a:off x="290647" y="5812233"/>
            <a:ext cx="2160000" cy="396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/>
              <a:t>УЗИ</a:t>
            </a:r>
            <a:endParaRPr lang="en-US" dirty="0"/>
          </a:p>
        </p:txBody>
      </p:sp>
      <p:sp>
        <p:nvSpPr>
          <p:cNvPr id="32" name="Rectangle 20"/>
          <p:cNvSpPr txBox="1"/>
          <p:nvPr/>
        </p:nvSpPr>
        <p:spPr>
          <a:xfrm>
            <a:off x="3063550" y="17575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 849</a:t>
            </a:r>
            <a:endParaRPr lang="en-US" dirty="0"/>
          </a:p>
        </p:txBody>
      </p:sp>
      <p:sp>
        <p:nvSpPr>
          <p:cNvPr id="33" name="Rectangle 20"/>
          <p:cNvSpPr txBox="1"/>
          <p:nvPr/>
        </p:nvSpPr>
        <p:spPr>
          <a:xfrm>
            <a:off x="3063550" y="22737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298</a:t>
            </a:r>
            <a:endParaRPr lang="en-US" dirty="0"/>
          </a:p>
        </p:txBody>
      </p:sp>
      <p:sp>
        <p:nvSpPr>
          <p:cNvPr id="34" name="Rectangle 20"/>
          <p:cNvSpPr txBox="1"/>
          <p:nvPr/>
        </p:nvSpPr>
        <p:spPr>
          <a:xfrm>
            <a:off x="3063550" y="27899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93</a:t>
            </a:r>
            <a:endParaRPr lang="en-US" dirty="0"/>
          </a:p>
        </p:txBody>
      </p:sp>
      <p:sp>
        <p:nvSpPr>
          <p:cNvPr id="35" name="Rectangle 20"/>
          <p:cNvSpPr txBox="1"/>
          <p:nvPr/>
        </p:nvSpPr>
        <p:spPr>
          <a:xfrm>
            <a:off x="3063550" y="33061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68</a:t>
            </a:r>
            <a:endParaRPr lang="en-US" dirty="0"/>
          </a:p>
        </p:txBody>
      </p:sp>
      <p:sp>
        <p:nvSpPr>
          <p:cNvPr id="36" name="Rectangle 20"/>
          <p:cNvSpPr txBox="1"/>
          <p:nvPr/>
        </p:nvSpPr>
        <p:spPr>
          <a:xfrm>
            <a:off x="3063550" y="38223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02</a:t>
            </a:r>
            <a:endParaRPr lang="en-US" dirty="0"/>
          </a:p>
        </p:txBody>
      </p:sp>
      <p:sp>
        <p:nvSpPr>
          <p:cNvPr id="37" name="Rectangle 20"/>
          <p:cNvSpPr txBox="1"/>
          <p:nvPr/>
        </p:nvSpPr>
        <p:spPr>
          <a:xfrm>
            <a:off x="3063550" y="43385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22</a:t>
            </a:r>
            <a:endParaRPr lang="en-US" dirty="0"/>
          </a:p>
        </p:txBody>
      </p:sp>
      <p:sp>
        <p:nvSpPr>
          <p:cNvPr id="38" name="Rectangle 20"/>
          <p:cNvSpPr txBox="1"/>
          <p:nvPr/>
        </p:nvSpPr>
        <p:spPr>
          <a:xfrm>
            <a:off x="3063550" y="48547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2</a:t>
            </a:r>
            <a:endParaRPr lang="en-US" dirty="0"/>
          </a:p>
        </p:txBody>
      </p:sp>
      <p:sp>
        <p:nvSpPr>
          <p:cNvPr id="40" name="Rectangle 20"/>
          <p:cNvSpPr txBox="1"/>
          <p:nvPr/>
        </p:nvSpPr>
        <p:spPr>
          <a:xfrm>
            <a:off x="3063550" y="5887123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3 115</a:t>
            </a:r>
            <a:endParaRPr lang="en-US" dirty="0"/>
          </a:p>
        </p:txBody>
      </p:sp>
      <p:sp>
        <p:nvSpPr>
          <p:cNvPr id="42" name="Rectangle 20"/>
          <p:cNvSpPr txBox="1"/>
          <p:nvPr/>
        </p:nvSpPr>
        <p:spPr>
          <a:xfrm>
            <a:off x="4366586" y="17575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6 348 629</a:t>
            </a:r>
            <a:endParaRPr lang="en-US" dirty="0"/>
          </a:p>
        </p:txBody>
      </p:sp>
      <p:sp>
        <p:nvSpPr>
          <p:cNvPr id="43" name="Rectangle 20"/>
          <p:cNvSpPr txBox="1"/>
          <p:nvPr/>
        </p:nvSpPr>
        <p:spPr>
          <a:xfrm>
            <a:off x="4366586" y="22737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7 060 401</a:t>
            </a:r>
            <a:endParaRPr lang="en-US" dirty="0"/>
          </a:p>
        </p:txBody>
      </p:sp>
      <p:sp>
        <p:nvSpPr>
          <p:cNvPr id="44" name="Rectangle 20"/>
          <p:cNvSpPr txBox="1"/>
          <p:nvPr/>
        </p:nvSpPr>
        <p:spPr>
          <a:xfrm>
            <a:off x="4366586" y="27899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855 650</a:t>
            </a:r>
            <a:endParaRPr lang="en-US" dirty="0"/>
          </a:p>
        </p:txBody>
      </p:sp>
      <p:sp>
        <p:nvSpPr>
          <p:cNvPr id="45" name="Rectangle 20"/>
          <p:cNvSpPr txBox="1"/>
          <p:nvPr/>
        </p:nvSpPr>
        <p:spPr>
          <a:xfrm>
            <a:off x="4366586" y="33061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574 530</a:t>
            </a:r>
            <a:endParaRPr lang="en-US" dirty="0"/>
          </a:p>
        </p:txBody>
      </p:sp>
      <p:sp>
        <p:nvSpPr>
          <p:cNvPr id="46" name="Rectangle 20"/>
          <p:cNvSpPr txBox="1"/>
          <p:nvPr/>
        </p:nvSpPr>
        <p:spPr>
          <a:xfrm>
            <a:off x="4366586" y="38223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207 630</a:t>
            </a:r>
            <a:endParaRPr lang="en-US" dirty="0"/>
          </a:p>
        </p:txBody>
      </p:sp>
      <p:sp>
        <p:nvSpPr>
          <p:cNvPr id="47" name="Rectangle 20"/>
          <p:cNvSpPr txBox="1"/>
          <p:nvPr/>
        </p:nvSpPr>
        <p:spPr>
          <a:xfrm>
            <a:off x="4366586" y="4338518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239 019</a:t>
            </a:r>
            <a:endParaRPr lang="en-US" dirty="0"/>
          </a:p>
        </p:txBody>
      </p:sp>
      <p:sp>
        <p:nvSpPr>
          <p:cNvPr id="50" name="Rectangle 20"/>
          <p:cNvSpPr txBox="1"/>
          <p:nvPr/>
        </p:nvSpPr>
        <p:spPr>
          <a:xfrm>
            <a:off x="4366586" y="5887123"/>
            <a:ext cx="1044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6 661 047</a:t>
            </a:r>
            <a:endParaRPr lang="en-US" dirty="0"/>
          </a:p>
        </p:txBody>
      </p:sp>
      <p:grpSp>
        <p:nvGrpSpPr>
          <p:cNvPr id="92" name="Group 91"/>
          <p:cNvGrpSpPr/>
          <p:nvPr/>
        </p:nvGrpSpPr>
        <p:grpSpPr>
          <a:xfrm>
            <a:off x="5921622" y="1757518"/>
            <a:ext cx="1044000" cy="4375826"/>
            <a:chOff x="5921622" y="1757518"/>
            <a:chExt cx="1044000" cy="4375826"/>
          </a:xfrm>
        </p:grpSpPr>
        <p:sp>
          <p:nvSpPr>
            <p:cNvPr id="52" name="Rectangle 20"/>
            <p:cNvSpPr txBox="1"/>
            <p:nvPr/>
          </p:nvSpPr>
          <p:spPr>
            <a:xfrm>
              <a:off x="5921622" y="17575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5 958 867</a:t>
              </a:r>
              <a:endParaRPr lang="en-US" dirty="0"/>
            </a:p>
          </p:txBody>
        </p:sp>
        <p:sp>
          <p:nvSpPr>
            <p:cNvPr id="53" name="Rectangle 20"/>
            <p:cNvSpPr txBox="1"/>
            <p:nvPr/>
          </p:nvSpPr>
          <p:spPr>
            <a:xfrm>
              <a:off x="5921622" y="22737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6 579 279</a:t>
              </a:r>
              <a:endParaRPr lang="en-US" dirty="0"/>
            </a:p>
          </p:txBody>
        </p:sp>
        <p:sp>
          <p:nvSpPr>
            <p:cNvPr id="54" name="Rectangle 20"/>
            <p:cNvSpPr txBox="1"/>
            <p:nvPr/>
          </p:nvSpPr>
          <p:spPr>
            <a:xfrm>
              <a:off x="5921622" y="27899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707 800</a:t>
              </a:r>
              <a:endParaRPr lang="en-US" dirty="0"/>
            </a:p>
          </p:txBody>
        </p:sp>
        <p:sp>
          <p:nvSpPr>
            <p:cNvPr id="55" name="Rectangle 20"/>
            <p:cNvSpPr txBox="1"/>
            <p:nvPr/>
          </p:nvSpPr>
          <p:spPr>
            <a:xfrm>
              <a:off x="5921622" y="33061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641 168</a:t>
              </a:r>
              <a:endParaRPr lang="en-US" dirty="0"/>
            </a:p>
          </p:txBody>
        </p:sp>
        <p:sp>
          <p:nvSpPr>
            <p:cNvPr id="56" name="Rectangle 20"/>
            <p:cNvSpPr txBox="1"/>
            <p:nvPr/>
          </p:nvSpPr>
          <p:spPr>
            <a:xfrm>
              <a:off x="5921622" y="38223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222 357</a:t>
              </a:r>
              <a:endParaRPr lang="en-US" dirty="0"/>
            </a:p>
          </p:txBody>
        </p:sp>
        <p:sp>
          <p:nvSpPr>
            <p:cNvPr id="57" name="Rectangle 20"/>
            <p:cNvSpPr txBox="1"/>
            <p:nvPr/>
          </p:nvSpPr>
          <p:spPr>
            <a:xfrm>
              <a:off x="5921622" y="4338518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215 746</a:t>
              </a:r>
              <a:endParaRPr lang="en-US" dirty="0"/>
            </a:p>
          </p:txBody>
        </p:sp>
        <p:sp>
          <p:nvSpPr>
            <p:cNvPr id="60" name="Rectangle 20"/>
            <p:cNvSpPr txBox="1"/>
            <p:nvPr/>
          </p:nvSpPr>
          <p:spPr>
            <a:xfrm>
              <a:off x="5921622" y="5887123"/>
              <a:ext cx="1044000" cy="24622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en-US" smtClean="0"/>
                <a:t>14 647 333</a:t>
              </a:r>
              <a:endParaRPr lang="en-US" dirty="0"/>
            </a:p>
          </p:txBody>
        </p:sp>
      </p:grpSp>
      <p:sp>
        <p:nvSpPr>
          <p:cNvPr id="69" name="Rectangle 20"/>
          <p:cNvSpPr txBox="1"/>
          <p:nvPr/>
        </p:nvSpPr>
        <p:spPr>
          <a:xfrm>
            <a:off x="7728659" y="5370918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smtClean="0"/>
              <a:t>1 400</a:t>
            </a:r>
            <a:endParaRPr lang="en-US" dirty="0"/>
          </a:p>
        </p:txBody>
      </p:sp>
      <p:sp>
        <p:nvSpPr>
          <p:cNvPr id="70" name="Rectangle 20"/>
          <p:cNvSpPr txBox="1"/>
          <p:nvPr/>
        </p:nvSpPr>
        <p:spPr>
          <a:xfrm>
            <a:off x="7728659" y="5887123"/>
            <a:ext cx="54000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en-US" dirty="0" smtClean="0"/>
              <a:t>1</a:t>
            </a:r>
            <a:r>
              <a:rPr lang="ru-RU" dirty="0" smtClean="0"/>
              <a:t> </a:t>
            </a:r>
            <a:r>
              <a:rPr lang="en-US" dirty="0" smtClean="0"/>
              <a:t>697</a:t>
            </a:r>
            <a:endParaRPr lang="en-US" dirty="0"/>
          </a:p>
        </p:txBody>
      </p:sp>
      <p:cxnSp>
        <p:nvCxnSpPr>
          <p:cNvPr id="81" name="Straight Connector 80"/>
          <p:cNvCxnSpPr>
            <a:cxnSpLocks/>
          </p:cNvCxnSpPr>
          <p:nvPr/>
        </p:nvCxnSpPr>
        <p:spPr>
          <a:xfrm>
            <a:off x="290647" y="57521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2" name="Straight Connector 81"/>
          <p:cNvCxnSpPr>
            <a:cxnSpLocks/>
          </p:cNvCxnSpPr>
          <p:nvPr/>
        </p:nvCxnSpPr>
        <p:spPr>
          <a:xfrm>
            <a:off x="290647" y="52359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3" name="Straight Connector 82"/>
          <p:cNvCxnSpPr>
            <a:cxnSpLocks/>
          </p:cNvCxnSpPr>
          <p:nvPr/>
        </p:nvCxnSpPr>
        <p:spPr>
          <a:xfrm>
            <a:off x="290647" y="47197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>
            <a:cxnSpLocks/>
          </p:cNvCxnSpPr>
          <p:nvPr/>
        </p:nvCxnSpPr>
        <p:spPr>
          <a:xfrm>
            <a:off x="290647" y="42035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5" name="Straight Connector 84"/>
          <p:cNvCxnSpPr>
            <a:cxnSpLocks/>
          </p:cNvCxnSpPr>
          <p:nvPr/>
        </p:nvCxnSpPr>
        <p:spPr>
          <a:xfrm>
            <a:off x="290647" y="36873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6" name="Straight Connector 85"/>
          <p:cNvCxnSpPr>
            <a:cxnSpLocks/>
          </p:cNvCxnSpPr>
          <p:nvPr/>
        </p:nvCxnSpPr>
        <p:spPr>
          <a:xfrm>
            <a:off x="290647" y="31711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7" name="Straight Connector 86"/>
          <p:cNvCxnSpPr>
            <a:cxnSpLocks/>
          </p:cNvCxnSpPr>
          <p:nvPr/>
        </p:nvCxnSpPr>
        <p:spPr>
          <a:xfrm>
            <a:off x="290647" y="26549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8" name="Straight Connector 87"/>
          <p:cNvCxnSpPr>
            <a:cxnSpLocks/>
          </p:cNvCxnSpPr>
          <p:nvPr/>
        </p:nvCxnSpPr>
        <p:spPr>
          <a:xfrm>
            <a:off x="290647" y="2138728"/>
            <a:ext cx="8380145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59409524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Целевая модель рентгенологии </a:t>
            </a:r>
            <a:r>
              <a:rPr lang="ru-RU" dirty="0" err="1"/>
              <a:t>ДЗМ</a:t>
            </a:r>
            <a:endParaRPr lang="ru-RU" dirty="0"/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1321" y="673099"/>
            <a:ext cx="8078796" cy="59414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78460129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Применения контрастов в амбулаторных МО</a:t>
            </a:r>
          </a:p>
        </p:txBody>
      </p:sp>
      <p:sp>
        <p:nvSpPr>
          <p:cNvPr id="3" name="Rectangle 2"/>
          <p:cNvSpPr>
            <a:spLocks/>
          </p:cNvSpPr>
          <p:nvPr/>
        </p:nvSpPr>
        <p:spPr>
          <a:xfrm>
            <a:off x="156370" y="1784750"/>
            <a:ext cx="4164664" cy="34246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4521994" y="1784750"/>
            <a:ext cx="4164664" cy="34246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5" name="TextBox 4"/>
          <p:cNvSpPr txBox="1">
            <a:spLocks/>
          </p:cNvSpPr>
          <p:nvPr/>
        </p:nvSpPr>
        <p:spPr>
          <a:xfrm>
            <a:off x="156370" y="1512041"/>
            <a:ext cx="416466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 err="1">
                <a:solidFill>
                  <a:schemeClr val="accent1"/>
                </a:solidFill>
              </a:rPr>
              <a:t>IV</a:t>
            </a:r>
            <a:r>
              <a:rPr lang="ru-RU" sz="1500" dirty="0">
                <a:solidFill>
                  <a:schemeClr val="accent1"/>
                </a:solidFill>
              </a:rPr>
              <a:t> кв. 2015 г</a:t>
            </a:r>
            <a:r>
              <a:rPr lang="ru-RU" sz="1500" dirty="0" smtClean="0">
                <a:solidFill>
                  <a:schemeClr val="accent1"/>
                </a:solidFill>
              </a:rPr>
              <a:t>. </a:t>
            </a:r>
            <a:r>
              <a:rPr lang="en-US" sz="1500" dirty="0" smtClean="0">
                <a:solidFill>
                  <a:schemeClr val="accent1"/>
                </a:solidFill>
              </a:rPr>
              <a:t>– </a:t>
            </a:r>
            <a:r>
              <a:rPr lang="ru-RU" sz="1500" dirty="0" smtClean="0">
                <a:solidFill>
                  <a:schemeClr val="accent1"/>
                </a:solidFill>
              </a:rPr>
              <a:t>65 </a:t>
            </a:r>
            <a:r>
              <a:rPr lang="ru-RU" sz="1500" dirty="0">
                <a:solidFill>
                  <a:schemeClr val="accent1"/>
                </a:solidFill>
              </a:rPr>
              <a:t>дней работы</a:t>
            </a:r>
          </a:p>
        </p:txBody>
      </p:sp>
      <p:sp>
        <p:nvSpPr>
          <p:cNvPr id="67" name="TextBox 66"/>
          <p:cNvSpPr txBox="1">
            <a:spLocks/>
          </p:cNvSpPr>
          <p:nvPr/>
        </p:nvSpPr>
        <p:spPr>
          <a:xfrm>
            <a:off x="4521994" y="1512041"/>
            <a:ext cx="4164664" cy="2308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>
                <a:solidFill>
                  <a:schemeClr val="accent1"/>
                </a:solidFill>
              </a:rPr>
              <a:t>I кв. 2016 г</a:t>
            </a:r>
            <a:r>
              <a:rPr lang="ru-RU" sz="1500" dirty="0" smtClean="0">
                <a:solidFill>
                  <a:schemeClr val="accent1"/>
                </a:solidFill>
              </a:rPr>
              <a:t>.</a:t>
            </a:r>
            <a:r>
              <a:rPr lang="en-US" sz="1500" dirty="0" smtClean="0">
                <a:solidFill>
                  <a:schemeClr val="accent1"/>
                </a:solidFill>
              </a:rPr>
              <a:t> – </a:t>
            </a:r>
            <a:r>
              <a:rPr lang="ru-RU" sz="1500" dirty="0" smtClean="0">
                <a:solidFill>
                  <a:schemeClr val="accent1"/>
                </a:solidFill>
              </a:rPr>
              <a:t>56 </a:t>
            </a:r>
            <a:r>
              <a:rPr lang="ru-RU" sz="1500" dirty="0">
                <a:solidFill>
                  <a:schemeClr val="accent1"/>
                </a:solidFill>
              </a:rPr>
              <a:t>дней работы</a:t>
            </a:r>
          </a:p>
        </p:txBody>
      </p:sp>
      <p:pic>
        <p:nvPicPr>
          <p:cNvPr id="69" name="Рисунок 5"/>
          <p:cNvPicPr>
            <a:picLocks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9473" b="2122"/>
          <a:stretch/>
        </p:blipFill>
        <p:spPr>
          <a:xfrm>
            <a:off x="244013" y="1863896"/>
            <a:ext cx="2054847" cy="3266392"/>
          </a:xfrm>
          <a:prstGeom prst="rect">
            <a:avLst/>
          </a:prstGeom>
          <a:ln>
            <a:noFill/>
          </a:ln>
        </p:spPr>
      </p:pic>
      <p:pic>
        <p:nvPicPr>
          <p:cNvPr id="72" name="Рисунок 3"/>
          <p:cNvPicPr>
            <a:picLocks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609637" y="1863896"/>
            <a:ext cx="2054847" cy="3266392"/>
          </a:xfrm>
          <a:prstGeom prst="rect">
            <a:avLst/>
          </a:prstGeom>
          <a:ln>
            <a:noFill/>
          </a:ln>
        </p:spPr>
      </p:pic>
      <p:grpSp>
        <p:nvGrpSpPr>
          <p:cNvPr id="15" name="Group 14"/>
          <p:cNvGrpSpPr/>
          <p:nvPr/>
        </p:nvGrpSpPr>
        <p:grpSpPr>
          <a:xfrm>
            <a:off x="2381249" y="1874520"/>
            <a:ext cx="1803402" cy="3255768"/>
            <a:chOff x="2381249" y="1874520"/>
            <a:chExt cx="1803402" cy="3255768"/>
          </a:xfrm>
        </p:grpSpPr>
        <p:pic>
          <p:nvPicPr>
            <p:cNvPr id="12" name="Picture 11"/>
            <p:cNvPicPr>
              <a:picLocks noChangeAspect="1"/>
            </p:cNvPicPr>
            <p:nvPr/>
          </p:nvPicPr>
          <p:blipFill rotWithShape="1">
            <a:blip r:embed="rId4"/>
            <a:srcRect t="1495" r="6335"/>
            <a:stretch/>
          </p:blipFill>
          <p:spPr>
            <a:xfrm>
              <a:off x="2391411" y="1874520"/>
              <a:ext cx="1793240" cy="3255768"/>
            </a:xfrm>
            <a:prstGeom prst="rect">
              <a:avLst/>
            </a:prstGeom>
          </p:spPr>
        </p:pic>
        <p:sp>
          <p:nvSpPr>
            <p:cNvPr id="13" name="TextBox 12"/>
            <p:cNvSpPr txBox="1"/>
            <p:nvPr/>
          </p:nvSpPr>
          <p:spPr>
            <a:xfrm>
              <a:off x="3001769" y="2937193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600" dirty="0" smtClean="0"/>
                <a:t>0,93 </a:t>
              </a:r>
              <a:r>
                <a:rPr lang="ru-RU" sz="600" dirty="0" smtClean="0"/>
                <a:t>тыс.</a:t>
              </a:r>
              <a:endParaRPr lang="en-US" sz="600" dirty="0"/>
            </a:p>
          </p:txBody>
        </p:sp>
        <p:sp>
          <p:nvSpPr>
            <p:cNvPr id="76" name="TextBox 75"/>
            <p:cNvSpPr txBox="1"/>
            <p:nvPr/>
          </p:nvSpPr>
          <p:spPr>
            <a:xfrm>
              <a:off x="3479628" y="2975293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600" dirty="0" smtClean="0"/>
                <a:t>0,</a:t>
              </a:r>
              <a:r>
                <a:rPr lang="ru-RU" sz="600" dirty="0" smtClean="0"/>
                <a:t>15</a:t>
              </a:r>
              <a:r>
                <a:rPr lang="en-US" sz="600" dirty="0" smtClean="0"/>
                <a:t> </a:t>
              </a:r>
              <a:r>
                <a:rPr lang="ru-RU" sz="600" dirty="0" smtClean="0"/>
                <a:t>тыс.</a:t>
              </a:r>
              <a:endParaRPr lang="en-US" sz="600" dirty="0"/>
            </a:p>
          </p:txBody>
        </p:sp>
        <p:sp>
          <p:nvSpPr>
            <p:cNvPr id="77" name="TextBox 76"/>
            <p:cNvSpPr txBox="1"/>
            <p:nvPr/>
          </p:nvSpPr>
          <p:spPr>
            <a:xfrm>
              <a:off x="3001769" y="3111676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600" dirty="0" err="1" smtClean="0"/>
                <a:t>КТ</a:t>
              </a:r>
              <a:endParaRPr lang="en-US" sz="600" dirty="0"/>
            </a:p>
          </p:txBody>
        </p:sp>
        <p:sp>
          <p:nvSpPr>
            <p:cNvPr id="78" name="TextBox 77"/>
            <p:cNvSpPr txBox="1"/>
            <p:nvPr/>
          </p:nvSpPr>
          <p:spPr>
            <a:xfrm>
              <a:off x="3479628" y="3111676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600" dirty="0" err="1" smtClean="0"/>
                <a:t>МРТ</a:t>
              </a:r>
              <a:endParaRPr lang="en-US" sz="600" dirty="0"/>
            </a:p>
          </p:txBody>
        </p:sp>
        <p:sp>
          <p:nvSpPr>
            <p:cNvPr id="79" name="TextBox 78"/>
            <p:cNvSpPr txBox="1"/>
            <p:nvPr/>
          </p:nvSpPr>
          <p:spPr>
            <a:xfrm>
              <a:off x="2381249" y="3743606"/>
              <a:ext cx="80073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ru-RU" sz="600" dirty="0" smtClean="0"/>
                <a:t>С контрастированием</a:t>
              </a:r>
              <a:br>
                <a:rPr lang="ru-RU" sz="600" dirty="0" smtClean="0"/>
              </a:br>
              <a:r>
                <a:rPr lang="ru-RU" sz="600" dirty="0" smtClean="0"/>
                <a:t>1,07 тыс.</a:t>
              </a:r>
              <a:endParaRPr lang="en-US" sz="600" dirty="0"/>
            </a:p>
          </p:txBody>
        </p:sp>
        <p:sp>
          <p:nvSpPr>
            <p:cNvPr id="80" name="TextBox 79"/>
            <p:cNvSpPr txBox="1"/>
            <p:nvPr/>
          </p:nvSpPr>
          <p:spPr>
            <a:xfrm>
              <a:off x="3327024" y="4891597"/>
              <a:ext cx="85762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600" dirty="0" smtClean="0"/>
                <a:t>Без контрастирования</a:t>
              </a:r>
              <a:br>
                <a:rPr lang="ru-RU" sz="600" dirty="0" smtClean="0"/>
              </a:br>
              <a:r>
                <a:rPr lang="ru-RU" sz="600" dirty="0" smtClean="0"/>
                <a:t>38,35 тыс.</a:t>
              </a:r>
              <a:endParaRPr lang="en-US" sz="600" dirty="0"/>
            </a:p>
          </p:txBody>
        </p:sp>
        <p:sp>
          <p:nvSpPr>
            <p:cNvPr id="14" name="Freeform 13"/>
            <p:cNvSpPr/>
            <p:nvPr/>
          </p:nvSpPr>
          <p:spPr>
            <a:xfrm>
              <a:off x="3204844" y="3843338"/>
              <a:ext cx="70962" cy="81505"/>
            </a:xfrm>
            <a:custGeom>
              <a:avLst/>
              <a:gdLst>
                <a:gd name="connsiteX0" fmla="*/ 0 w 138112"/>
                <a:gd name="connsiteY0" fmla="*/ 0 h 71437"/>
                <a:gd name="connsiteX1" fmla="*/ 128587 w 138112"/>
                <a:gd name="connsiteY1" fmla="*/ 0 h 71437"/>
                <a:gd name="connsiteX2" fmla="*/ 138112 w 138112"/>
                <a:gd name="connsiteY2" fmla="*/ 71437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112" h="71437">
                  <a:moveTo>
                    <a:pt x="0" y="0"/>
                  </a:moveTo>
                  <a:lnTo>
                    <a:pt x="128587" y="0"/>
                  </a:lnTo>
                  <a:lnTo>
                    <a:pt x="138112" y="71437"/>
                  </a:lnTo>
                </a:path>
              </a:pathLst>
            </a:cu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81" name="Freeform 80"/>
            <p:cNvSpPr/>
            <p:nvPr/>
          </p:nvSpPr>
          <p:spPr>
            <a:xfrm flipH="1" flipV="1">
              <a:off x="3204844" y="4891597"/>
              <a:ext cx="70962" cy="81505"/>
            </a:xfrm>
            <a:custGeom>
              <a:avLst/>
              <a:gdLst>
                <a:gd name="connsiteX0" fmla="*/ 0 w 138112"/>
                <a:gd name="connsiteY0" fmla="*/ 0 h 71437"/>
                <a:gd name="connsiteX1" fmla="*/ 128587 w 138112"/>
                <a:gd name="connsiteY1" fmla="*/ 0 h 71437"/>
                <a:gd name="connsiteX2" fmla="*/ 138112 w 138112"/>
                <a:gd name="connsiteY2" fmla="*/ 71437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112" h="71437">
                  <a:moveTo>
                    <a:pt x="0" y="0"/>
                  </a:moveTo>
                  <a:lnTo>
                    <a:pt x="128587" y="0"/>
                  </a:lnTo>
                  <a:lnTo>
                    <a:pt x="138112" y="71437"/>
                  </a:lnTo>
                </a:path>
              </a:pathLst>
            </a:cu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  <p:grpSp>
        <p:nvGrpSpPr>
          <p:cNvPr id="82" name="Group 81"/>
          <p:cNvGrpSpPr/>
          <p:nvPr/>
        </p:nvGrpSpPr>
        <p:grpSpPr>
          <a:xfrm>
            <a:off x="6766250" y="1874520"/>
            <a:ext cx="1803402" cy="3255768"/>
            <a:chOff x="2381249" y="1874520"/>
            <a:chExt cx="1803402" cy="3255768"/>
          </a:xfrm>
        </p:grpSpPr>
        <p:pic>
          <p:nvPicPr>
            <p:cNvPr id="83" name="Picture 82"/>
            <p:cNvPicPr>
              <a:picLocks noChangeAspect="1"/>
            </p:cNvPicPr>
            <p:nvPr/>
          </p:nvPicPr>
          <p:blipFill rotWithShape="1">
            <a:blip r:embed="rId4"/>
            <a:srcRect t="1495" r="6335"/>
            <a:stretch/>
          </p:blipFill>
          <p:spPr>
            <a:xfrm>
              <a:off x="2391411" y="1874520"/>
              <a:ext cx="1793240" cy="3255768"/>
            </a:xfrm>
            <a:prstGeom prst="rect">
              <a:avLst/>
            </a:prstGeom>
          </p:spPr>
        </p:pic>
        <p:sp>
          <p:nvSpPr>
            <p:cNvPr id="84" name="TextBox 83"/>
            <p:cNvSpPr txBox="1"/>
            <p:nvPr/>
          </p:nvSpPr>
          <p:spPr>
            <a:xfrm>
              <a:off x="3001769" y="2937193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600" dirty="0"/>
                <a:t>1</a:t>
              </a:r>
              <a:r>
                <a:rPr lang="en-US" sz="600" dirty="0" smtClean="0"/>
                <a:t>,</a:t>
              </a:r>
              <a:r>
                <a:rPr lang="ru-RU" sz="600" dirty="0" smtClean="0"/>
                <a:t>51</a:t>
              </a:r>
              <a:r>
                <a:rPr lang="en-US" sz="600" dirty="0" smtClean="0"/>
                <a:t> </a:t>
              </a:r>
              <a:r>
                <a:rPr lang="ru-RU" sz="600" dirty="0" smtClean="0"/>
                <a:t>тыс.</a:t>
              </a:r>
              <a:endParaRPr lang="en-US" sz="600" dirty="0"/>
            </a:p>
          </p:txBody>
        </p:sp>
        <p:sp>
          <p:nvSpPr>
            <p:cNvPr id="85" name="TextBox 84"/>
            <p:cNvSpPr txBox="1"/>
            <p:nvPr/>
          </p:nvSpPr>
          <p:spPr>
            <a:xfrm>
              <a:off x="3479628" y="2975293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en-US" sz="600" dirty="0" smtClean="0"/>
                <a:t>0,</a:t>
              </a:r>
              <a:r>
                <a:rPr lang="ru-RU" sz="600" dirty="0" smtClean="0"/>
                <a:t>15</a:t>
              </a:r>
              <a:r>
                <a:rPr lang="en-US" sz="600" dirty="0" smtClean="0"/>
                <a:t> </a:t>
              </a:r>
              <a:r>
                <a:rPr lang="ru-RU" sz="600" dirty="0" smtClean="0"/>
                <a:t>тыс.</a:t>
              </a:r>
              <a:endParaRPr lang="en-US" sz="600" dirty="0"/>
            </a:p>
          </p:txBody>
        </p:sp>
        <p:sp>
          <p:nvSpPr>
            <p:cNvPr id="86" name="TextBox 85"/>
            <p:cNvSpPr txBox="1"/>
            <p:nvPr/>
          </p:nvSpPr>
          <p:spPr>
            <a:xfrm>
              <a:off x="3001769" y="3111676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600" dirty="0" err="1" smtClean="0"/>
                <a:t>КТ</a:t>
              </a:r>
              <a:endParaRPr lang="en-US" sz="600" dirty="0"/>
            </a:p>
          </p:txBody>
        </p:sp>
        <p:sp>
          <p:nvSpPr>
            <p:cNvPr id="87" name="TextBox 86"/>
            <p:cNvSpPr txBox="1"/>
            <p:nvPr/>
          </p:nvSpPr>
          <p:spPr>
            <a:xfrm>
              <a:off x="3479628" y="3111676"/>
              <a:ext cx="325255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ctr"/>
              <a:r>
                <a:rPr lang="ru-RU" sz="600" dirty="0" err="1" smtClean="0"/>
                <a:t>МРТ</a:t>
              </a:r>
              <a:endParaRPr lang="en-US" sz="600" dirty="0"/>
            </a:p>
          </p:txBody>
        </p:sp>
        <p:sp>
          <p:nvSpPr>
            <p:cNvPr id="88" name="TextBox 87"/>
            <p:cNvSpPr txBox="1"/>
            <p:nvPr/>
          </p:nvSpPr>
          <p:spPr>
            <a:xfrm>
              <a:off x="2381249" y="3743606"/>
              <a:ext cx="800735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algn="r"/>
              <a:r>
                <a:rPr lang="ru-RU" sz="600" dirty="0" smtClean="0"/>
                <a:t>С контрастированием</a:t>
              </a:r>
              <a:br>
                <a:rPr lang="ru-RU" sz="600" dirty="0" smtClean="0"/>
              </a:br>
              <a:r>
                <a:rPr lang="ru-RU" sz="600" dirty="0" smtClean="0"/>
                <a:t>1,65 тыс.</a:t>
              </a:r>
              <a:endParaRPr lang="en-US" sz="600" dirty="0"/>
            </a:p>
          </p:txBody>
        </p:sp>
        <p:sp>
          <p:nvSpPr>
            <p:cNvPr id="89" name="TextBox 88"/>
            <p:cNvSpPr txBox="1"/>
            <p:nvPr/>
          </p:nvSpPr>
          <p:spPr>
            <a:xfrm>
              <a:off x="3327024" y="4891597"/>
              <a:ext cx="857627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  <a:spAutoFit/>
            </a:bodyPr>
            <a:lstStyle>
              <a:lvl1pPr marL="0" lvl="0" indent="0" defTabSz="895350" eaLnBrk="1" hangingPunct="1">
                <a:buClr>
                  <a:schemeClr val="tx2"/>
                </a:buClr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1pPr>
              <a:lvl2pPr marL="193675" lvl="1" indent="-192088" defTabSz="895350" eaLnBrk="1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2pPr>
              <a:lvl3pPr marL="457200" lvl="2" indent="-261938" defTabSz="895350" eaLnBrk="1" hangingPunct="1">
                <a:buClr>
                  <a:schemeClr val="tx2"/>
                </a:buClr>
                <a:buSzPct val="120000"/>
                <a:buFont typeface="Arial" charset="0"/>
                <a:buChar char="–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3pPr>
              <a:lvl4pPr marL="614363" lvl="3" indent="-155575" defTabSz="895350" eaLnBrk="1" hangingPunct="1">
                <a:buClr>
                  <a:schemeClr val="tx2"/>
                </a:buClr>
                <a:buSzPct val="120000"/>
                <a:buFont typeface="Arial" pitchFamily="34" charset="0"/>
                <a:buChar char="▫"/>
                <a:defRPr lang="en-US" baseline="0" noProof="0" dirty="0" smtClean="0">
                  <a:latin typeface="+mn-lt"/>
                  <a:cs typeface="Arial" panose="020B0604020202020204" pitchFamily="34" charset="0"/>
                  <a:sym typeface="+mn-lt"/>
                </a:defRPr>
              </a:lvl4pPr>
              <a:lvl5pPr marL="749808" lvl="4" indent="-130175" defTabSz="895350" eaLnBrk="1" hangingPunct="1">
                <a:buClr>
                  <a:schemeClr val="tx2"/>
                </a:buClr>
                <a:buSzPct val="89000"/>
                <a:buFont typeface="Arial" charset="0"/>
                <a:buChar char="-"/>
                <a:defRPr lang="de-DE" baseline="0" noProof="0" dirty="0">
                  <a:latin typeface="+mn-lt"/>
                  <a:cs typeface="Arial" panose="020B0604020202020204" pitchFamily="34" charset="0"/>
                  <a:sym typeface="+mn-lt"/>
                </a:defRPr>
              </a:lvl5pPr>
              <a:lvl6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49808" indent="-130175" defTabSz="895350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r>
                <a:rPr lang="ru-RU" sz="600" dirty="0" smtClean="0"/>
                <a:t>Без контрастирования</a:t>
              </a:r>
              <a:br>
                <a:rPr lang="ru-RU" sz="600" dirty="0" smtClean="0"/>
              </a:br>
              <a:r>
                <a:rPr lang="ru-RU" sz="600" dirty="0" smtClean="0"/>
                <a:t>44,07 тыс.</a:t>
              </a:r>
              <a:endParaRPr lang="en-US" sz="600" dirty="0"/>
            </a:p>
          </p:txBody>
        </p:sp>
        <p:sp>
          <p:nvSpPr>
            <p:cNvPr id="90" name="Freeform 89"/>
            <p:cNvSpPr/>
            <p:nvPr/>
          </p:nvSpPr>
          <p:spPr>
            <a:xfrm>
              <a:off x="3204844" y="3843338"/>
              <a:ext cx="70962" cy="81505"/>
            </a:xfrm>
            <a:custGeom>
              <a:avLst/>
              <a:gdLst>
                <a:gd name="connsiteX0" fmla="*/ 0 w 138112"/>
                <a:gd name="connsiteY0" fmla="*/ 0 h 71437"/>
                <a:gd name="connsiteX1" fmla="*/ 128587 w 138112"/>
                <a:gd name="connsiteY1" fmla="*/ 0 h 71437"/>
                <a:gd name="connsiteX2" fmla="*/ 138112 w 138112"/>
                <a:gd name="connsiteY2" fmla="*/ 71437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112" h="71437">
                  <a:moveTo>
                    <a:pt x="0" y="0"/>
                  </a:moveTo>
                  <a:lnTo>
                    <a:pt x="128587" y="0"/>
                  </a:lnTo>
                  <a:lnTo>
                    <a:pt x="138112" y="71437"/>
                  </a:lnTo>
                </a:path>
              </a:pathLst>
            </a:cu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sp>
          <p:nvSpPr>
            <p:cNvPr id="91" name="Freeform 90"/>
            <p:cNvSpPr/>
            <p:nvPr/>
          </p:nvSpPr>
          <p:spPr>
            <a:xfrm flipH="1" flipV="1">
              <a:off x="3204844" y="4891597"/>
              <a:ext cx="70962" cy="81505"/>
            </a:xfrm>
            <a:custGeom>
              <a:avLst/>
              <a:gdLst>
                <a:gd name="connsiteX0" fmla="*/ 0 w 138112"/>
                <a:gd name="connsiteY0" fmla="*/ 0 h 71437"/>
                <a:gd name="connsiteX1" fmla="*/ 128587 w 138112"/>
                <a:gd name="connsiteY1" fmla="*/ 0 h 71437"/>
                <a:gd name="connsiteX2" fmla="*/ 138112 w 138112"/>
                <a:gd name="connsiteY2" fmla="*/ 71437 h 714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</a:cxnLst>
              <a:rect l="l" t="t" r="r" b="b"/>
              <a:pathLst>
                <a:path w="138112" h="71437">
                  <a:moveTo>
                    <a:pt x="0" y="0"/>
                  </a:moveTo>
                  <a:lnTo>
                    <a:pt x="128587" y="0"/>
                  </a:lnTo>
                  <a:lnTo>
                    <a:pt x="138112" y="71437"/>
                  </a:lnTo>
                </a:path>
              </a:pathLst>
            </a:custGeom>
            <a:noFill/>
            <a:ln w="9525">
              <a:solidFill>
                <a:schemeClr val="bg1">
                  <a:lumMod val="6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</p:grpSp>
    </p:spTree>
    <p:extLst>
      <p:ext uri="{BB962C8B-B14F-4D97-AF65-F5344CB8AC3E}">
        <p14:creationId xmlns:p14="http://schemas.microsoft.com/office/powerpoint/2010/main" val="710995638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Object 3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765684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994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Статистика использования ЕРИС</a:t>
            </a:r>
          </a:p>
        </p:txBody>
      </p:sp>
      <p:sp>
        <p:nvSpPr>
          <p:cNvPr id="8" name="Rectangle 8"/>
          <p:cNvSpPr txBox="1">
            <a:spLocks/>
          </p:cNvSpPr>
          <p:nvPr/>
        </p:nvSpPr>
        <p:spPr>
          <a:xfrm>
            <a:off x="411917" y="1275182"/>
            <a:ext cx="8136000" cy="360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bg1"/>
                </a:solidFill>
              </a:rPr>
              <a:t>Размещено и хранится</a:t>
            </a:r>
          </a:p>
        </p:txBody>
      </p:sp>
      <p:sp>
        <p:nvSpPr>
          <p:cNvPr id="15" name="Rectangle 8"/>
          <p:cNvSpPr txBox="1">
            <a:spLocks/>
          </p:cNvSpPr>
          <p:nvPr/>
        </p:nvSpPr>
        <p:spPr>
          <a:xfrm>
            <a:off x="411917" y="3955986"/>
            <a:ext cx="8136000" cy="360000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baseline="0">
                <a:solidFill>
                  <a:schemeClr val="accent1"/>
                </a:solidFill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bg1"/>
                </a:solidFill>
              </a:rPr>
              <a:t>Консультативно-аудиторская работа (</a:t>
            </a:r>
            <a:r>
              <a:rPr lang="ru-RU" b="1" dirty="0" err="1">
                <a:solidFill>
                  <a:schemeClr val="bg1"/>
                </a:solidFill>
              </a:rPr>
              <a:t>УКО</a:t>
            </a:r>
            <a:r>
              <a:rPr lang="ru-RU" b="1" dirty="0">
                <a:solidFill>
                  <a:schemeClr val="bg1"/>
                </a:solidFill>
              </a:rPr>
              <a:t> </a:t>
            </a:r>
            <a:r>
              <a:rPr lang="ru-RU" b="1" dirty="0" err="1">
                <a:solidFill>
                  <a:schemeClr val="bg1"/>
                </a:solidFill>
              </a:rPr>
              <a:t>НПЦ</a:t>
            </a:r>
            <a:r>
              <a:rPr lang="ru-RU" b="1" dirty="0">
                <a:solidFill>
                  <a:schemeClr val="bg1"/>
                </a:solidFill>
              </a:rPr>
              <a:t> Радиологии на 31.03.2016</a:t>
            </a:r>
            <a:r>
              <a:rPr lang="ru-RU" b="1" dirty="0" smtClean="0">
                <a:solidFill>
                  <a:schemeClr val="bg1"/>
                </a:solidFill>
              </a:rPr>
              <a:t>)</a:t>
            </a:r>
            <a:endParaRPr lang="ru-RU" b="1" dirty="0">
              <a:solidFill>
                <a:schemeClr val="bg1"/>
              </a:solidFill>
            </a:endParaRPr>
          </a:p>
        </p:txBody>
      </p:sp>
      <p:sp>
        <p:nvSpPr>
          <p:cNvPr id="10" name="Rectangle 8"/>
          <p:cNvSpPr txBox="1"/>
          <p:nvPr/>
        </p:nvSpPr>
        <p:spPr>
          <a:xfrm>
            <a:off x="504432" y="1723902"/>
            <a:ext cx="3525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Компьютерных томографий</a:t>
            </a:r>
            <a:endParaRPr lang="en-US" dirty="0"/>
          </a:p>
        </p:txBody>
      </p:sp>
      <p:sp>
        <p:nvSpPr>
          <p:cNvPr id="11" name="Rectangle 8"/>
          <p:cNvSpPr txBox="1"/>
          <p:nvPr/>
        </p:nvSpPr>
        <p:spPr>
          <a:xfrm>
            <a:off x="504432" y="2147563"/>
            <a:ext cx="3525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err="1" smtClean="0"/>
              <a:t>Магнитно</a:t>
            </a:r>
            <a:r>
              <a:rPr lang="ru-RU" dirty="0" smtClean="0"/>
              <a:t> резонансных томографий</a:t>
            </a:r>
            <a:endParaRPr lang="en-US" dirty="0"/>
          </a:p>
        </p:txBody>
      </p:sp>
      <p:sp>
        <p:nvSpPr>
          <p:cNvPr id="12" name="Rectangle 8"/>
          <p:cNvSpPr txBox="1"/>
          <p:nvPr/>
        </p:nvSpPr>
        <p:spPr>
          <a:xfrm>
            <a:off x="504432" y="2571224"/>
            <a:ext cx="3525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err="1" smtClean="0"/>
              <a:t>Флюорограмм</a:t>
            </a:r>
            <a:endParaRPr lang="en-US" dirty="0"/>
          </a:p>
        </p:txBody>
      </p:sp>
      <p:sp>
        <p:nvSpPr>
          <p:cNvPr id="13" name="Rectangle 8"/>
          <p:cNvSpPr txBox="1"/>
          <p:nvPr/>
        </p:nvSpPr>
        <p:spPr>
          <a:xfrm>
            <a:off x="504432" y="2994885"/>
            <a:ext cx="3525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Цифровых рентгенов </a:t>
            </a:r>
            <a:endParaRPr lang="en-US" dirty="0"/>
          </a:p>
        </p:txBody>
      </p:sp>
      <p:sp>
        <p:nvSpPr>
          <p:cNvPr id="36" name="Rectangle 35"/>
          <p:cNvSpPr>
            <a:spLocks/>
          </p:cNvSpPr>
          <p:nvPr/>
        </p:nvSpPr>
        <p:spPr>
          <a:xfrm>
            <a:off x="418317" y="3418546"/>
            <a:ext cx="8006116" cy="360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4" name="Rectangle 8"/>
          <p:cNvSpPr txBox="1"/>
          <p:nvPr/>
        </p:nvSpPr>
        <p:spPr>
          <a:xfrm>
            <a:off x="504433" y="3475436"/>
            <a:ext cx="352598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/>
              <a:t>Итого исследований</a:t>
            </a:r>
            <a:endParaRPr lang="en-US" b="1" dirty="0"/>
          </a:p>
        </p:txBody>
      </p:sp>
      <p:sp>
        <p:nvSpPr>
          <p:cNvPr id="22" name="Rectangle 8"/>
          <p:cNvSpPr txBox="1"/>
          <p:nvPr/>
        </p:nvSpPr>
        <p:spPr>
          <a:xfrm>
            <a:off x="4981929" y="1723902"/>
            <a:ext cx="6296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mtClean="0"/>
              <a:t>84 212</a:t>
            </a:r>
            <a:endParaRPr lang="en-US" dirty="0"/>
          </a:p>
        </p:txBody>
      </p:sp>
      <p:sp>
        <p:nvSpPr>
          <p:cNvPr id="23" name="Rectangle 8"/>
          <p:cNvSpPr txBox="1"/>
          <p:nvPr/>
        </p:nvSpPr>
        <p:spPr>
          <a:xfrm>
            <a:off x="4981929" y="2147563"/>
            <a:ext cx="6296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mtClean="0"/>
              <a:t>42 966</a:t>
            </a:r>
            <a:endParaRPr lang="en-US" dirty="0"/>
          </a:p>
        </p:txBody>
      </p:sp>
      <p:sp>
        <p:nvSpPr>
          <p:cNvPr id="24" name="Rectangle 8"/>
          <p:cNvSpPr txBox="1"/>
          <p:nvPr/>
        </p:nvSpPr>
        <p:spPr>
          <a:xfrm>
            <a:off x="4981929" y="2571224"/>
            <a:ext cx="6296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mtClean="0"/>
              <a:t>21 126</a:t>
            </a:r>
            <a:endParaRPr lang="en-US" dirty="0"/>
          </a:p>
        </p:txBody>
      </p:sp>
      <p:sp>
        <p:nvSpPr>
          <p:cNvPr id="25" name="Rectangle 8"/>
          <p:cNvSpPr txBox="1"/>
          <p:nvPr/>
        </p:nvSpPr>
        <p:spPr>
          <a:xfrm>
            <a:off x="4981929" y="2994885"/>
            <a:ext cx="6296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mtClean="0"/>
              <a:t>20 383</a:t>
            </a:r>
            <a:endParaRPr lang="en-US" dirty="0"/>
          </a:p>
        </p:txBody>
      </p:sp>
      <p:sp>
        <p:nvSpPr>
          <p:cNvPr id="26" name="Rectangle 8"/>
          <p:cNvSpPr txBox="1"/>
          <p:nvPr/>
        </p:nvSpPr>
        <p:spPr>
          <a:xfrm>
            <a:off x="4981929" y="3475436"/>
            <a:ext cx="743968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b="1" dirty="0" smtClean="0"/>
              <a:t>168 687</a:t>
            </a:r>
            <a:endParaRPr lang="en-US" b="1" dirty="0"/>
          </a:p>
        </p:txBody>
      </p:sp>
      <p:sp>
        <p:nvSpPr>
          <p:cNvPr id="16" name="Rectangle 8"/>
          <p:cNvSpPr txBox="1"/>
          <p:nvPr/>
        </p:nvSpPr>
        <p:spPr>
          <a:xfrm>
            <a:off x="504432" y="4404706"/>
            <a:ext cx="33728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Консультаций по запросам </a:t>
            </a:r>
            <a:endParaRPr lang="en-US" dirty="0"/>
          </a:p>
        </p:txBody>
      </p:sp>
      <p:sp>
        <p:nvSpPr>
          <p:cNvPr id="29" name="Rectangle 8"/>
          <p:cNvSpPr txBox="1"/>
          <p:nvPr/>
        </p:nvSpPr>
        <p:spPr>
          <a:xfrm>
            <a:off x="4981929" y="4404706"/>
            <a:ext cx="51530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2 552</a:t>
            </a:r>
            <a:endParaRPr lang="en-US" dirty="0"/>
          </a:p>
        </p:txBody>
      </p:sp>
      <p:sp>
        <p:nvSpPr>
          <p:cNvPr id="17" name="Rectangle 8"/>
          <p:cNvSpPr txBox="1"/>
          <p:nvPr/>
        </p:nvSpPr>
        <p:spPr>
          <a:xfrm>
            <a:off x="504432" y="4828367"/>
            <a:ext cx="3372894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Выборочных аудитов исследований из </a:t>
            </a:r>
            <a:r>
              <a:rPr lang="ru-RU" dirty="0" err="1" smtClean="0"/>
              <a:t>ЛПУ</a:t>
            </a:r>
            <a:r>
              <a:rPr lang="ru-RU" dirty="0" smtClean="0"/>
              <a:t> </a:t>
            </a:r>
            <a:endParaRPr lang="en-US" dirty="0"/>
          </a:p>
        </p:txBody>
      </p:sp>
      <p:sp>
        <p:nvSpPr>
          <p:cNvPr id="30" name="Rectangle 8"/>
          <p:cNvSpPr txBox="1"/>
          <p:nvPr/>
        </p:nvSpPr>
        <p:spPr>
          <a:xfrm>
            <a:off x="4981929" y="4951478"/>
            <a:ext cx="629637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smtClean="0"/>
              <a:t>19 915</a:t>
            </a:r>
            <a:endParaRPr lang="en-US" dirty="0"/>
          </a:p>
        </p:txBody>
      </p:sp>
      <p:sp>
        <p:nvSpPr>
          <p:cNvPr id="18" name="Rectangle 8"/>
          <p:cNvSpPr txBox="1"/>
          <p:nvPr/>
        </p:nvSpPr>
        <p:spPr>
          <a:xfrm>
            <a:off x="504432" y="5498250"/>
            <a:ext cx="33728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Выявлено протоколов с ошибками</a:t>
            </a:r>
            <a:endParaRPr lang="en-US" dirty="0"/>
          </a:p>
        </p:txBody>
      </p:sp>
      <p:sp>
        <p:nvSpPr>
          <p:cNvPr id="31" name="Rectangle 8"/>
          <p:cNvSpPr txBox="1"/>
          <p:nvPr/>
        </p:nvSpPr>
        <p:spPr>
          <a:xfrm>
            <a:off x="4981929" y="5498250"/>
            <a:ext cx="515303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en-US" dirty="0" smtClean="0"/>
              <a:t>3 336</a:t>
            </a:r>
            <a:endParaRPr lang="en-US" dirty="0"/>
          </a:p>
        </p:txBody>
      </p:sp>
      <p:sp>
        <p:nvSpPr>
          <p:cNvPr id="39" name="Rectangle 38"/>
          <p:cNvSpPr>
            <a:spLocks/>
          </p:cNvSpPr>
          <p:nvPr/>
        </p:nvSpPr>
        <p:spPr>
          <a:xfrm>
            <a:off x="418317" y="5921911"/>
            <a:ext cx="8006116" cy="360000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19" name="Rectangle 8"/>
          <p:cNvSpPr txBox="1"/>
          <p:nvPr/>
        </p:nvSpPr>
        <p:spPr>
          <a:xfrm>
            <a:off x="504433" y="5978801"/>
            <a:ext cx="3372894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/>
              <a:t>Обучено по результатам </a:t>
            </a:r>
            <a:endParaRPr lang="en-US" b="1" dirty="0"/>
          </a:p>
        </p:txBody>
      </p:sp>
      <p:sp>
        <p:nvSpPr>
          <p:cNvPr id="32" name="Rectangle 8"/>
          <p:cNvSpPr txBox="1"/>
          <p:nvPr/>
        </p:nvSpPr>
        <p:spPr>
          <a:xfrm>
            <a:off x="4981929" y="5978801"/>
            <a:ext cx="290309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 smtClean="0"/>
              <a:t>198 врачей и 183 лаборанта </a:t>
            </a:r>
            <a:endParaRPr lang="en-US" b="1" dirty="0"/>
          </a:p>
        </p:txBody>
      </p:sp>
      <p:grpSp>
        <p:nvGrpSpPr>
          <p:cNvPr id="3" name="Group 2"/>
          <p:cNvGrpSpPr/>
          <p:nvPr/>
        </p:nvGrpSpPr>
        <p:grpSpPr>
          <a:xfrm>
            <a:off x="504432" y="2058843"/>
            <a:ext cx="7920001" cy="3774348"/>
            <a:chOff x="504432" y="2058843"/>
            <a:chExt cx="7833883" cy="3774348"/>
          </a:xfrm>
        </p:grpSpPr>
        <p:cxnSp>
          <p:nvCxnSpPr>
            <p:cNvPr id="44" name="Straight Connector 43"/>
            <p:cNvCxnSpPr>
              <a:cxnSpLocks/>
            </p:cNvCxnSpPr>
            <p:nvPr/>
          </p:nvCxnSpPr>
          <p:spPr>
            <a:xfrm>
              <a:off x="504432" y="5833191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Straight Connector 44"/>
            <p:cNvCxnSpPr>
              <a:cxnSpLocks/>
            </p:cNvCxnSpPr>
            <p:nvPr/>
          </p:nvCxnSpPr>
          <p:spPr>
            <a:xfrm>
              <a:off x="504432" y="4739647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9" name="Straight Connector 48"/>
            <p:cNvCxnSpPr>
              <a:cxnSpLocks/>
            </p:cNvCxnSpPr>
            <p:nvPr/>
          </p:nvCxnSpPr>
          <p:spPr>
            <a:xfrm>
              <a:off x="504432" y="5409530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5" name="Straight Connector 54"/>
            <p:cNvCxnSpPr>
              <a:cxnSpLocks/>
            </p:cNvCxnSpPr>
            <p:nvPr/>
          </p:nvCxnSpPr>
          <p:spPr>
            <a:xfrm>
              <a:off x="504432" y="3329826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6" name="Straight Connector 55"/>
            <p:cNvCxnSpPr/>
            <p:nvPr/>
          </p:nvCxnSpPr>
          <p:spPr>
            <a:xfrm>
              <a:off x="504432" y="2906165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7" name="Straight Connector 56"/>
            <p:cNvCxnSpPr/>
            <p:nvPr/>
          </p:nvCxnSpPr>
          <p:spPr>
            <a:xfrm>
              <a:off x="504432" y="2482504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/>
            <p:cNvCxnSpPr/>
            <p:nvPr/>
          </p:nvCxnSpPr>
          <p:spPr>
            <a:xfrm>
              <a:off x="504432" y="2058843"/>
              <a:ext cx="7833883" cy="0"/>
            </a:xfrm>
            <a:prstGeom prst="line">
              <a:avLst/>
            </a:prstGeom>
            <a:ln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64" name="Rectangle 63"/>
          <p:cNvSpPr>
            <a:spLocks/>
          </p:cNvSpPr>
          <p:nvPr/>
        </p:nvSpPr>
        <p:spPr>
          <a:xfrm>
            <a:off x="411917" y="1275182"/>
            <a:ext cx="8136000" cy="2592084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6" name="Rectangle 65"/>
          <p:cNvSpPr>
            <a:spLocks/>
          </p:cNvSpPr>
          <p:nvPr/>
        </p:nvSpPr>
        <p:spPr>
          <a:xfrm>
            <a:off x="411917" y="3955986"/>
            <a:ext cx="8136000" cy="241464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1" name="Rectangle 71"/>
          <p:cNvSpPr txBox="1"/>
          <p:nvPr/>
        </p:nvSpPr>
        <p:spPr>
          <a:xfrm>
            <a:off x="411917" y="952761"/>
            <a:ext cx="5507020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>
                <a:solidFill>
                  <a:schemeClr val="accent1"/>
                </a:solidFill>
              </a:rPr>
              <a:t>В </a:t>
            </a:r>
            <a:r>
              <a:rPr lang="ru-RU" dirty="0" err="1">
                <a:solidFill>
                  <a:schemeClr val="accent1"/>
                </a:solidFill>
              </a:rPr>
              <a:t>ЕРИС</a:t>
            </a:r>
            <a:r>
              <a:rPr lang="ru-RU" dirty="0">
                <a:solidFill>
                  <a:schemeClr val="accent1"/>
                </a:solidFill>
              </a:rPr>
              <a:t> в период с 01 января </a:t>
            </a:r>
            <a:r>
              <a:rPr lang="ru-RU" dirty="0" smtClean="0">
                <a:solidFill>
                  <a:schemeClr val="accent1"/>
                </a:solidFill>
              </a:rPr>
              <a:t>2015 г. </a:t>
            </a:r>
            <a:r>
              <a:rPr lang="ru-RU" dirty="0">
                <a:solidFill>
                  <a:schemeClr val="accent1"/>
                </a:solidFill>
              </a:rPr>
              <a:t>по 31 марта </a:t>
            </a:r>
            <a:r>
              <a:rPr lang="ru-RU" dirty="0" smtClean="0">
                <a:solidFill>
                  <a:schemeClr val="accent1"/>
                </a:solidFill>
              </a:rPr>
              <a:t>2016 г. </a:t>
            </a:r>
            <a:endParaRPr lang="ru-RU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945566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5615653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1770" name="think-cell Slide" r:id="rId9" imgW="493" imgH="493" progId="TCLayout.ActiveDocument.1">
                  <p:embed/>
                </p:oleObj>
              </mc:Choice>
              <mc:Fallback>
                <p:oleObj name="think-cell Slide" r:id="rId9" imgW="493" imgH="49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78" name="Group 177"/>
          <p:cNvGrpSpPr/>
          <p:nvPr/>
        </p:nvGrpSpPr>
        <p:grpSpPr>
          <a:xfrm>
            <a:off x="-27736" y="1016174"/>
            <a:ext cx="8961438" cy="5374603"/>
            <a:chOff x="3138714" y="1170481"/>
            <a:chExt cx="4935977" cy="5087444"/>
          </a:xfrm>
        </p:grpSpPr>
        <p:pic>
          <p:nvPicPr>
            <p:cNvPr id="179" name="Picture 2"/>
            <p:cNvPicPr>
              <a:picLocks noChangeArrowheads="1"/>
            </p:cNvPicPr>
            <p:nvPr/>
          </p:nvPicPr>
          <p:blipFill>
            <a:blip r:embed="rId11" cstate="print">
              <a:lum bright="-6000" contrast="18000"/>
              <a:grayscl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38714" y="1271745"/>
              <a:ext cx="4935977" cy="498618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sp>
          <p:nvSpPr>
            <p:cNvPr id="180" name="Rectangle 179"/>
            <p:cNvSpPr>
              <a:spLocks/>
            </p:cNvSpPr>
            <p:nvPr/>
          </p:nvSpPr>
          <p:spPr>
            <a:xfrm>
              <a:off x="3138714" y="1170481"/>
              <a:ext cx="4935977" cy="5087444"/>
            </a:xfrm>
            <a:prstGeom prst="rect">
              <a:avLst/>
            </a:prstGeom>
            <a:solidFill>
              <a:schemeClr val="bg1">
                <a:alpha val="42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buClr>
                  <a:schemeClr val="tx2"/>
                </a:buClr>
              </a:pPr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584775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Разработана методика подсчета рейтинга отделений лучевой диагностики</a:t>
            </a:r>
          </a:p>
        </p:txBody>
      </p:sp>
      <p:sp>
        <p:nvSpPr>
          <p:cNvPr id="113" name="Rectangular Callout 46"/>
          <p:cNvSpPr>
            <a:spLocks/>
          </p:cNvSpPr>
          <p:nvPr/>
        </p:nvSpPr>
        <p:spPr>
          <a:xfrm flipH="1">
            <a:off x="564946" y="5905391"/>
            <a:ext cx="8214612" cy="350078"/>
          </a:xfrm>
          <a:prstGeom prst="wedgeRectCallout">
            <a:avLst>
              <a:gd name="adj1" fmla="val 9350"/>
              <a:gd name="adj2" fmla="val 33762"/>
            </a:avLst>
          </a:prstGeom>
          <a:solidFill>
            <a:schemeClr val="bg1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72000" rIns="72000" bIns="72000" rtlCol="0" anchor="ctr">
            <a:spAutoFit/>
          </a:bodyPr>
          <a:lstStyle/>
          <a:p>
            <a:pPr>
              <a:lnSpc>
                <a:spcPct val="95000"/>
              </a:lnSpc>
            </a:pPr>
            <a:r>
              <a:rPr lang="ru-RU" sz="1400" dirty="0" smtClean="0">
                <a:solidFill>
                  <a:schemeClr val="tx1"/>
                </a:solidFill>
              </a:rPr>
              <a:t>Планируется добавление ряда критериев, в </a:t>
            </a:r>
            <a:r>
              <a:rPr lang="ru-RU" sz="1400" dirty="0" err="1" smtClean="0">
                <a:solidFill>
                  <a:schemeClr val="tx1"/>
                </a:solidFill>
              </a:rPr>
              <a:t>т.ч</a:t>
            </a:r>
            <a:r>
              <a:rPr lang="ru-RU" sz="1400" dirty="0" smtClean="0">
                <a:solidFill>
                  <a:schemeClr val="tx1"/>
                </a:solidFill>
              </a:rPr>
              <a:t>. качества и радиационной безопасности</a:t>
            </a:r>
            <a:endParaRPr lang="ru-RU" sz="1400" dirty="0">
              <a:solidFill>
                <a:schemeClr val="tx1"/>
              </a:solidFill>
            </a:endParaRPr>
          </a:p>
        </p:txBody>
      </p:sp>
      <p:sp>
        <p:nvSpPr>
          <p:cNvPr id="114" name="Oval 6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30946" y="5846430"/>
            <a:ext cx="468000" cy="468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4"/>
            </a:solidFill>
            <a:round/>
            <a:headEnd/>
            <a:tailEnd/>
          </a:ln>
          <a:effectLst/>
          <a:extLst/>
        </p:spPr>
        <p:txBody>
          <a:bodyPr wrap="none" anchor="ctr">
            <a:noAutofit/>
          </a:bodyPr>
          <a:lstStyle/>
          <a:p>
            <a:pPr algn="ctr"/>
            <a:r>
              <a:rPr lang="ru-RU" sz="2500" b="1" dirty="0">
                <a:solidFill>
                  <a:schemeClr val="accent4"/>
                </a:solidFill>
              </a:rPr>
              <a:t>!</a:t>
            </a:r>
            <a:endParaRPr lang="en-US" sz="2500" b="1" dirty="0">
              <a:solidFill>
                <a:schemeClr val="accent4"/>
              </a:solidFill>
            </a:endParaRPr>
          </a:p>
        </p:txBody>
      </p:sp>
      <p:grpSp>
        <p:nvGrpSpPr>
          <p:cNvPr id="4" name="Group 3"/>
          <p:cNvGrpSpPr>
            <a:grpSpLocks/>
          </p:cNvGrpSpPr>
          <p:nvPr/>
        </p:nvGrpSpPr>
        <p:grpSpPr>
          <a:xfrm>
            <a:off x="3298791" y="1129541"/>
            <a:ext cx="3388384" cy="4618626"/>
            <a:chOff x="3298791" y="1193041"/>
            <a:chExt cx="3388384" cy="4618626"/>
          </a:xfrm>
        </p:grpSpPr>
        <p:sp>
          <p:nvSpPr>
            <p:cNvPr id="143" name="Rectangle 142"/>
            <p:cNvSpPr>
              <a:spLocks/>
            </p:cNvSpPr>
            <p:nvPr/>
          </p:nvSpPr>
          <p:spPr>
            <a:xfrm>
              <a:off x="5607175" y="1193041"/>
              <a:ext cx="1080000" cy="4618626"/>
            </a:xfrm>
            <a:prstGeom prst="rect">
              <a:avLst/>
            </a:prstGeom>
            <a:solidFill>
              <a:srgbClr val="FA9090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  <p:sp>
          <p:nvSpPr>
            <p:cNvPr id="141" name="Rectangle 140"/>
            <p:cNvSpPr>
              <a:spLocks/>
            </p:cNvSpPr>
            <p:nvPr/>
          </p:nvSpPr>
          <p:spPr>
            <a:xfrm>
              <a:off x="3298791" y="1193041"/>
              <a:ext cx="1080000" cy="4618626"/>
            </a:xfrm>
            <a:prstGeom prst="rect">
              <a:avLst/>
            </a:prstGeom>
            <a:solidFill>
              <a:srgbClr val="C6E0B4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00" dirty="0" err="1" smtClean="0">
                <a:solidFill>
                  <a:schemeClr val="tx1"/>
                </a:solidFill>
              </a:endParaRPr>
            </a:p>
          </p:txBody>
        </p:sp>
      </p:grpSp>
      <p:sp>
        <p:nvSpPr>
          <p:cNvPr id="142" name="Rectangle 141"/>
          <p:cNvSpPr>
            <a:spLocks/>
          </p:cNvSpPr>
          <p:nvPr/>
        </p:nvSpPr>
        <p:spPr>
          <a:xfrm>
            <a:off x="4452983" y="1129541"/>
            <a:ext cx="1080000" cy="4618626"/>
          </a:xfrm>
          <a:prstGeom prst="rect">
            <a:avLst/>
          </a:prstGeom>
          <a:solidFill>
            <a:srgbClr val="FFE69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00" dirty="0" err="1" smtClean="0">
              <a:solidFill>
                <a:schemeClr val="tx1"/>
              </a:solidFill>
            </a:endParaRPr>
          </a:p>
        </p:txBody>
      </p:sp>
      <p:sp>
        <p:nvSpPr>
          <p:cNvPr id="51" name="TextBox 50"/>
          <p:cNvSpPr txBox="1">
            <a:spLocks/>
          </p:cNvSpPr>
          <p:nvPr/>
        </p:nvSpPr>
        <p:spPr>
          <a:xfrm>
            <a:off x="330946" y="3790219"/>
            <a:ext cx="1044000" cy="1248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err="1" smtClean="0">
                <a:solidFill>
                  <a:schemeClr val="accent1"/>
                </a:solidFill>
              </a:rPr>
              <a:t>Исследо-ваний</a:t>
            </a:r>
            <a:r>
              <a:rPr lang="ru-RU" sz="1400" dirty="0" smtClean="0">
                <a:solidFill>
                  <a:schemeClr val="accent1"/>
                </a:solidFill>
              </a:rPr>
              <a:t> в смену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8" name="TextBox 47"/>
          <p:cNvSpPr txBox="1">
            <a:spLocks/>
          </p:cNvSpPr>
          <p:nvPr/>
        </p:nvSpPr>
        <p:spPr>
          <a:xfrm>
            <a:off x="1449138" y="3790219"/>
            <a:ext cx="1775461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err="1" smtClean="0">
                <a:solidFill>
                  <a:schemeClr val="accent1"/>
                </a:solidFill>
              </a:rPr>
              <a:t>КТ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9" name="TextBox 48"/>
          <p:cNvSpPr txBox="1">
            <a:spLocks/>
          </p:cNvSpPr>
          <p:nvPr/>
        </p:nvSpPr>
        <p:spPr>
          <a:xfrm>
            <a:off x="1449138" y="4499195"/>
            <a:ext cx="1775461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err="1" smtClean="0">
                <a:solidFill>
                  <a:schemeClr val="accent1"/>
                </a:solidFill>
              </a:rPr>
              <a:t>МРТ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0" name="TextBox 49"/>
          <p:cNvSpPr txBox="1">
            <a:spLocks/>
          </p:cNvSpPr>
          <p:nvPr/>
        </p:nvSpPr>
        <p:spPr>
          <a:xfrm>
            <a:off x="330946" y="2372267"/>
            <a:ext cx="1044000" cy="1248976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accent1"/>
                </a:solidFill>
              </a:rPr>
              <a:t>Смены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47" name="TextBox 46"/>
          <p:cNvSpPr txBox="1">
            <a:spLocks/>
          </p:cNvSpPr>
          <p:nvPr/>
        </p:nvSpPr>
        <p:spPr>
          <a:xfrm>
            <a:off x="1449138" y="3081243"/>
            <a:ext cx="1775461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accent1"/>
                </a:solidFill>
              </a:rPr>
              <a:t>Для амбулаторных МО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2" name="TextBox 51"/>
          <p:cNvSpPr txBox="1">
            <a:spLocks/>
          </p:cNvSpPr>
          <p:nvPr/>
        </p:nvSpPr>
        <p:spPr>
          <a:xfrm>
            <a:off x="330946" y="1663291"/>
            <a:ext cx="2893653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accent1"/>
                </a:solidFill>
              </a:rPr>
              <a:t>Дни работы</a:t>
            </a:r>
            <a:endParaRPr lang="en-US" sz="1400" dirty="0">
              <a:solidFill>
                <a:schemeClr val="accent1"/>
              </a:solidFill>
            </a:endParaRPr>
          </a:p>
        </p:txBody>
      </p:sp>
      <p:sp>
        <p:nvSpPr>
          <p:cNvPr id="54" name="TextBox 53"/>
          <p:cNvSpPr txBox="1">
            <a:spLocks/>
          </p:cNvSpPr>
          <p:nvPr/>
        </p:nvSpPr>
        <p:spPr>
          <a:xfrm>
            <a:off x="330946" y="5208167"/>
            <a:ext cx="2893653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180000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accent1"/>
                </a:solidFill>
              </a:rPr>
              <a:t>Длительность описания исследования, </a:t>
            </a:r>
            <a:r>
              <a:rPr lang="ru-RU" sz="1400" dirty="0" smtClean="0"/>
              <a:t>часы</a:t>
            </a:r>
            <a:endParaRPr lang="en-US" sz="1400" dirty="0"/>
          </a:p>
        </p:txBody>
      </p:sp>
      <p:sp>
        <p:nvSpPr>
          <p:cNvPr id="19" name="Oval 19"/>
          <p:cNvSpPr txBox="1"/>
          <p:nvPr>
            <p:custDataLst>
              <p:tags r:id="rId4"/>
            </p:custDataLst>
          </p:nvPr>
        </p:nvSpPr>
        <p:spPr bwMode="gray">
          <a:xfrm>
            <a:off x="181880" y="1807291"/>
            <a:ext cx="252000" cy="252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1</a:t>
            </a:r>
            <a:endParaRPr lang="en-US" sz="14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7" name="Oval 19"/>
          <p:cNvSpPr txBox="1"/>
          <p:nvPr>
            <p:custDataLst>
              <p:tags r:id="rId5"/>
            </p:custDataLst>
          </p:nvPr>
        </p:nvSpPr>
        <p:spPr bwMode="gray">
          <a:xfrm>
            <a:off x="181880" y="2870755"/>
            <a:ext cx="252000" cy="252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>
                <a:solidFill>
                  <a:schemeClr val="tx2"/>
                </a:solidFill>
                <a:cs typeface="Arial" panose="020B0604020202020204" pitchFamily="34" charset="0"/>
                <a:sym typeface="+mn-lt"/>
              </a:rPr>
              <a:t>2</a:t>
            </a:r>
            <a:endParaRPr lang="en-US" sz="1400" dirty="0">
              <a:solidFill>
                <a:schemeClr val="tx2"/>
              </a:solidFill>
              <a:cs typeface="Arial" panose="020B0604020202020204" pitchFamily="34" charset="0"/>
              <a:sym typeface="+mn-lt"/>
            </a:endParaRPr>
          </a:p>
        </p:txBody>
      </p:sp>
      <p:sp>
        <p:nvSpPr>
          <p:cNvPr id="58" name="Oval 19"/>
          <p:cNvSpPr txBox="1"/>
          <p:nvPr>
            <p:custDataLst>
              <p:tags r:id="rId6"/>
            </p:custDataLst>
          </p:nvPr>
        </p:nvSpPr>
        <p:spPr bwMode="gray">
          <a:xfrm>
            <a:off x="181880" y="4288707"/>
            <a:ext cx="252000" cy="252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3</a:t>
            </a:r>
            <a:endParaRPr lang="en-US" sz="14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sp>
        <p:nvSpPr>
          <p:cNvPr id="59" name="Oval 19"/>
          <p:cNvSpPr txBox="1"/>
          <p:nvPr>
            <p:custDataLst>
              <p:tags r:id="rId7"/>
            </p:custDataLst>
          </p:nvPr>
        </p:nvSpPr>
        <p:spPr bwMode="gray">
          <a:xfrm>
            <a:off x="181880" y="5352167"/>
            <a:ext cx="252000" cy="25200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tx2"/>
            </a:solidFill>
            <a:miter lim="800000"/>
            <a:headEnd/>
            <a:tailEnd/>
          </a:ln>
          <a:effectLst/>
          <a:extLst/>
        </p:spPr>
        <p:txBody>
          <a:bodyPr vert="horz" wrap="square" lIns="3810" tIns="0" rIns="3810" bIns="0" numCol="1" anchor="ctr" anchorCtr="1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baseline="0">
                <a:latin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25000"/>
              <a:buFont typeface="Arial" pitchFamily="34" charset="0"/>
              <a:buChar char="•"/>
              <a:defRPr baseline="0">
                <a:latin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◦"/>
              <a:defRPr baseline="0">
                <a:latin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rPr>
              <a:t>4</a:t>
            </a:r>
            <a:endParaRPr lang="en-US" sz="1400" dirty="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  <a:sym typeface="+mn-lt"/>
            </a:endParaRPr>
          </a:p>
        </p:txBody>
      </p:sp>
      <p:cxnSp>
        <p:nvCxnSpPr>
          <p:cNvPr id="103" name="Straight Connector 102"/>
          <p:cNvCxnSpPr>
            <a:cxnSpLocks/>
          </p:cNvCxnSpPr>
          <p:nvPr/>
        </p:nvCxnSpPr>
        <p:spPr>
          <a:xfrm>
            <a:off x="330946" y="2287779"/>
            <a:ext cx="844861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Straight Connector 104"/>
          <p:cNvCxnSpPr>
            <a:cxnSpLocks/>
          </p:cNvCxnSpPr>
          <p:nvPr/>
        </p:nvCxnSpPr>
        <p:spPr>
          <a:xfrm>
            <a:off x="1449138" y="2996755"/>
            <a:ext cx="733042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6" name="Straight Connector 105"/>
          <p:cNvCxnSpPr>
            <a:cxnSpLocks/>
          </p:cNvCxnSpPr>
          <p:nvPr/>
        </p:nvCxnSpPr>
        <p:spPr>
          <a:xfrm>
            <a:off x="330946" y="3705731"/>
            <a:ext cx="844861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7" name="Straight Connector 106"/>
          <p:cNvCxnSpPr>
            <a:cxnSpLocks/>
          </p:cNvCxnSpPr>
          <p:nvPr/>
        </p:nvCxnSpPr>
        <p:spPr>
          <a:xfrm>
            <a:off x="1449138" y="4414707"/>
            <a:ext cx="733042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8" name="Straight Connector 107"/>
          <p:cNvCxnSpPr>
            <a:cxnSpLocks/>
          </p:cNvCxnSpPr>
          <p:nvPr/>
        </p:nvCxnSpPr>
        <p:spPr>
          <a:xfrm>
            <a:off x="330946" y="5123683"/>
            <a:ext cx="8448612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9" name="Group 4"/>
          <p:cNvGrpSpPr>
            <a:grpSpLocks/>
          </p:cNvGrpSpPr>
          <p:nvPr/>
        </p:nvGrpSpPr>
        <p:grpSpPr bwMode="gray">
          <a:xfrm>
            <a:off x="6761367" y="1129540"/>
            <a:ext cx="972000" cy="449263"/>
            <a:chOff x="915" y="747"/>
            <a:chExt cx="2686" cy="283"/>
          </a:xfrm>
        </p:grpSpPr>
        <p:cxnSp>
          <p:nvCxnSpPr>
            <p:cNvPr id="130" name="AutoShape 249"/>
            <p:cNvCxnSpPr>
              <a:cxnSpLocks noChangeShapeType="1"/>
              <a:stCxn id="131" idx="4"/>
              <a:endCxn id="13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1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Стационар-ные </a:t>
              </a:r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МО</a:t>
              </a:r>
            </a:p>
          </p:txBody>
        </p:sp>
      </p:grpSp>
      <p:sp>
        <p:nvSpPr>
          <p:cNvPr id="46" name="TextBox 45"/>
          <p:cNvSpPr txBox="1">
            <a:spLocks/>
          </p:cNvSpPr>
          <p:nvPr/>
        </p:nvSpPr>
        <p:spPr>
          <a:xfrm>
            <a:off x="1449138" y="2372267"/>
            <a:ext cx="1775461" cy="540000"/>
          </a:xfrm>
          <a:prstGeom prst="rect">
            <a:avLst/>
          </a:prstGeom>
          <a:solidFill>
            <a:schemeClr val="bg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>
                <a:solidFill>
                  <a:schemeClr val="accent1"/>
                </a:solidFill>
              </a:rPr>
              <a:t>Для стационарных МО</a:t>
            </a:r>
            <a:endParaRPr lang="en-US" sz="1400" dirty="0">
              <a:solidFill>
                <a:schemeClr val="accent1"/>
              </a:solidFill>
            </a:endParaRPr>
          </a:p>
        </p:txBody>
      </p:sp>
      <p:grpSp>
        <p:nvGrpSpPr>
          <p:cNvPr id="93" name="Group 4"/>
          <p:cNvGrpSpPr>
            <a:grpSpLocks/>
          </p:cNvGrpSpPr>
          <p:nvPr/>
        </p:nvGrpSpPr>
        <p:grpSpPr bwMode="gray">
          <a:xfrm>
            <a:off x="330946" y="1345440"/>
            <a:ext cx="2893653" cy="233363"/>
            <a:chOff x="915" y="883"/>
            <a:chExt cx="2686" cy="147"/>
          </a:xfrm>
        </p:grpSpPr>
        <p:cxnSp>
          <p:nvCxnSpPr>
            <p:cNvPr id="98" name="AutoShape 249"/>
            <p:cNvCxnSpPr>
              <a:cxnSpLocks noChangeShapeType="1"/>
              <a:stCxn id="99" idx="4"/>
              <a:endCxn id="9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99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ритерии оценки эффективности</a:t>
              </a:r>
            </a:p>
          </p:txBody>
        </p:sp>
      </p:grpSp>
      <p:grpSp>
        <p:nvGrpSpPr>
          <p:cNvPr id="132" name="Group 4"/>
          <p:cNvGrpSpPr>
            <a:grpSpLocks/>
          </p:cNvGrpSpPr>
          <p:nvPr/>
        </p:nvGrpSpPr>
        <p:grpSpPr bwMode="gray">
          <a:xfrm>
            <a:off x="7807558" y="1129540"/>
            <a:ext cx="972000" cy="449263"/>
            <a:chOff x="915" y="747"/>
            <a:chExt cx="2686" cy="283"/>
          </a:xfrm>
        </p:grpSpPr>
        <p:cxnSp>
          <p:nvCxnSpPr>
            <p:cNvPr id="133" name="AutoShape 249"/>
            <p:cNvCxnSpPr>
              <a:cxnSpLocks noChangeShapeType="1"/>
              <a:stCxn id="134" idx="4"/>
              <a:endCxn id="134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4" name="AutoShape 250"/>
            <p:cNvSpPr>
              <a:spLocks noChangeArrowheads="1"/>
            </p:cNvSpPr>
            <p:nvPr/>
          </p:nvSpPr>
          <p:spPr bwMode="gray">
            <a:xfrm>
              <a:off x="915" y="747"/>
              <a:ext cx="2686" cy="283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Амбулатор-ные </a:t>
              </a:r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МО</a:t>
              </a:r>
            </a:p>
          </p:txBody>
        </p:sp>
      </p:grpSp>
      <p:grpSp>
        <p:nvGrpSpPr>
          <p:cNvPr id="135" name="Group 4"/>
          <p:cNvGrpSpPr>
            <a:grpSpLocks/>
          </p:cNvGrpSpPr>
          <p:nvPr/>
        </p:nvGrpSpPr>
        <p:grpSpPr bwMode="gray">
          <a:xfrm>
            <a:off x="3298791" y="833611"/>
            <a:ext cx="3388384" cy="233363"/>
            <a:chOff x="915" y="883"/>
            <a:chExt cx="2686" cy="147"/>
          </a:xfrm>
        </p:grpSpPr>
        <p:cxnSp>
          <p:nvCxnSpPr>
            <p:cNvPr id="136" name="AutoShape 249"/>
            <p:cNvCxnSpPr>
              <a:cxnSpLocks noChangeShapeType="1"/>
              <a:stCxn id="137" idx="4"/>
              <a:endCxn id="137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37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оличество прибавляемых баллов</a:t>
              </a:r>
            </a:p>
          </p:txBody>
        </p:sp>
      </p:grpSp>
      <p:grpSp>
        <p:nvGrpSpPr>
          <p:cNvPr id="138" name="Group 4"/>
          <p:cNvGrpSpPr>
            <a:grpSpLocks/>
          </p:cNvGrpSpPr>
          <p:nvPr/>
        </p:nvGrpSpPr>
        <p:grpSpPr bwMode="gray">
          <a:xfrm>
            <a:off x="6761367" y="833611"/>
            <a:ext cx="2018191" cy="233363"/>
            <a:chOff x="915" y="883"/>
            <a:chExt cx="2686" cy="147"/>
          </a:xfrm>
        </p:grpSpPr>
        <p:cxnSp>
          <p:nvCxnSpPr>
            <p:cNvPr id="139" name="AutoShape 249"/>
            <p:cNvCxnSpPr>
              <a:cxnSpLocks noChangeShapeType="1"/>
              <a:stCxn id="140" idx="4"/>
              <a:endCxn id="14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40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Норматив</a:t>
              </a:r>
            </a:p>
          </p:txBody>
        </p:sp>
      </p:grpSp>
      <p:grpSp>
        <p:nvGrpSpPr>
          <p:cNvPr id="126" name="Group 4"/>
          <p:cNvGrpSpPr>
            <a:grpSpLocks/>
          </p:cNvGrpSpPr>
          <p:nvPr/>
        </p:nvGrpSpPr>
        <p:grpSpPr bwMode="gray">
          <a:xfrm>
            <a:off x="5684318" y="1345440"/>
            <a:ext cx="925714" cy="233363"/>
            <a:chOff x="915" y="883"/>
            <a:chExt cx="2686" cy="147"/>
          </a:xfrm>
        </p:grpSpPr>
        <p:cxnSp>
          <p:nvCxnSpPr>
            <p:cNvPr id="127" name="AutoShape 249"/>
            <p:cNvCxnSpPr>
              <a:cxnSpLocks noChangeShapeType="1"/>
              <a:stCxn id="128" idx="4"/>
              <a:endCxn id="12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8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0</a:t>
              </a:r>
              <a:endParaRPr lang="az-Cyrl-AZ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104" name="Group 4"/>
          <p:cNvGrpSpPr>
            <a:grpSpLocks/>
          </p:cNvGrpSpPr>
          <p:nvPr/>
        </p:nvGrpSpPr>
        <p:grpSpPr bwMode="gray">
          <a:xfrm>
            <a:off x="3375934" y="1345440"/>
            <a:ext cx="925714" cy="233363"/>
            <a:chOff x="915" y="883"/>
            <a:chExt cx="2686" cy="147"/>
          </a:xfrm>
        </p:grpSpPr>
        <p:cxnSp>
          <p:nvCxnSpPr>
            <p:cNvPr id="109" name="AutoShape 249"/>
            <p:cNvCxnSpPr>
              <a:cxnSpLocks noChangeShapeType="1"/>
              <a:stCxn id="110" idx="4"/>
              <a:endCxn id="110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10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2</a:t>
              </a:r>
            </a:p>
          </p:txBody>
        </p:sp>
      </p:grpSp>
      <p:grpSp>
        <p:nvGrpSpPr>
          <p:cNvPr id="116" name="Group 4"/>
          <p:cNvGrpSpPr>
            <a:grpSpLocks/>
          </p:cNvGrpSpPr>
          <p:nvPr/>
        </p:nvGrpSpPr>
        <p:grpSpPr bwMode="gray">
          <a:xfrm>
            <a:off x="4530126" y="1345440"/>
            <a:ext cx="925714" cy="233363"/>
            <a:chOff x="915" y="883"/>
            <a:chExt cx="2686" cy="147"/>
          </a:xfrm>
        </p:grpSpPr>
        <p:cxnSp>
          <p:nvCxnSpPr>
            <p:cNvPr id="118" name="AutoShape 249"/>
            <p:cNvCxnSpPr>
              <a:cxnSpLocks noChangeShapeType="1"/>
              <a:stCxn id="121" idx="4"/>
              <a:endCxn id="121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21" name="AutoShape 250"/>
            <p:cNvSpPr>
              <a:spLocks noChangeArrowheads="1"/>
            </p:cNvSpPr>
            <p:nvPr/>
          </p:nvSpPr>
          <p:spPr bwMode="gray">
            <a:xfrm>
              <a:off x="915" y="883"/>
              <a:ext cx="2686" cy="14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400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1</a:t>
              </a:r>
              <a:endParaRPr lang="az-Cyrl-AZ" sz="1400" dirty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45" name="TextBox 144"/>
          <p:cNvSpPr txBox="1">
            <a:spLocks/>
          </p:cNvSpPr>
          <p:nvPr/>
        </p:nvSpPr>
        <p:spPr>
          <a:xfrm>
            <a:off x="3375934" y="2534545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3</a:t>
            </a:r>
            <a:endParaRPr lang="en-US" sz="1400" dirty="0"/>
          </a:p>
        </p:txBody>
      </p:sp>
      <p:sp>
        <p:nvSpPr>
          <p:cNvPr id="146" name="TextBox 145"/>
          <p:cNvSpPr txBox="1">
            <a:spLocks/>
          </p:cNvSpPr>
          <p:nvPr/>
        </p:nvSpPr>
        <p:spPr>
          <a:xfrm>
            <a:off x="3375934" y="3243521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2</a:t>
            </a:r>
            <a:endParaRPr lang="en-US" sz="1400" dirty="0"/>
          </a:p>
        </p:txBody>
      </p:sp>
      <p:sp>
        <p:nvSpPr>
          <p:cNvPr id="151" name="TextBox 150"/>
          <p:cNvSpPr txBox="1">
            <a:spLocks/>
          </p:cNvSpPr>
          <p:nvPr/>
        </p:nvSpPr>
        <p:spPr>
          <a:xfrm>
            <a:off x="4530126" y="2534545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2</a:t>
            </a:r>
            <a:endParaRPr lang="en-US" sz="1400" dirty="0"/>
          </a:p>
        </p:txBody>
      </p:sp>
      <p:sp>
        <p:nvSpPr>
          <p:cNvPr id="152" name="TextBox 151"/>
          <p:cNvSpPr txBox="1">
            <a:spLocks/>
          </p:cNvSpPr>
          <p:nvPr/>
        </p:nvSpPr>
        <p:spPr>
          <a:xfrm>
            <a:off x="4530126" y="3243521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1</a:t>
            </a:r>
            <a:endParaRPr lang="en-US" sz="1400" dirty="0"/>
          </a:p>
        </p:txBody>
      </p:sp>
      <p:sp>
        <p:nvSpPr>
          <p:cNvPr id="157" name="TextBox 156"/>
          <p:cNvSpPr txBox="1">
            <a:spLocks/>
          </p:cNvSpPr>
          <p:nvPr/>
        </p:nvSpPr>
        <p:spPr>
          <a:xfrm>
            <a:off x="5684318" y="2534545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</a:t>
            </a:r>
            <a:r>
              <a:rPr lang="ru-RU" sz="1400" dirty="0" smtClean="0"/>
              <a:t>1</a:t>
            </a:r>
            <a:endParaRPr lang="en-US" sz="1400" dirty="0"/>
          </a:p>
        </p:txBody>
      </p:sp>
      <p:sp>
        <p:nvSpPr>
          <p:cNvPr id="158" name="TextBox 157"/>
          <p:cNvSpPr txBox="1">
            <a:spLocks/>
          </p:cNvSpPr>
          <p:nvPr/>
        </p:nvSpPr>
        <p:spPr>
          <a:xfrm>
            <a:off x="5684318" y="3243521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0</a:t>
            </a:r>
            <a:endParaRPr lang="en-US" sz="1400" dirty="0"/>
          </a:p>
        </p:txBody>
      </p:sp>
      <p:sp>
        <p:nvSpPr>
          <p:cNvPr id="164" name="TextBox 163"/>
          <p:cNvSpPr txBox="1">
            <a:spLocks/>
          </p:cNvSpPr>
          <p:nvPr/>
        </p:nvSpPr>
        <p:spPr>
          <a:xfrm>
            <a:off x="6761367" y="2534545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3</a:t>
            </a:r>
            <a:endParaRPr lang="en-US" sz="1400" dirty="0"/>
          </a:p>
        </p:txBody>
      </p:sp>
      <p:sp>
        <p:nvSpPr>
          <p:cNvPr id="144" name="TextBox 143"/>
          <p:cNvSpPr txBox="1">
            <a:spLocks/>
          </p:cNvSpPr>
          <p:nvPr/>
        </p:nvSpPr>
        <p:spPr>
          <a:xfrm>
            <a:off x="3375934" y="1825569"/>
            <a:ext cx="9257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&gt;100%</a:t>
            </a:r>
            <a:endParaRPr lang="en-US" sz="1400" dirty="0"/>
          </a:p>
        </p:txBody>
      </p:sp>
      <p:sp>
        <p:nvSpPr>
          <p:cNvPr id="150" name="TextBox 149"/>
          <p:cNvSpPr txBox="1">
            <a:spLocks/>
          </p:cNvSpPr>
          <p:nvPr/>
        </p:nvSpPr>
        <p:spPr>
          <a:xfrm>
            <a:off x="4622287" y="1717848"/>
            <a:ext cx="74139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От 80% до 100%</a:t>
            </a:r>
            <a:endParaRPr lang="en-US" sz="1400" dirty="0"/>
          </a:p>
        </p:txBody>
      </p:sp>
      <p:sp>
        <p:nvSpPr>
          <p:cNvPr id="156" name="TextBox 155"/>
          <p:cNvSpPr txBox="1">
            <a:spLocks/>
          </p:cNvSpPr>
          <p:nvPr/>
        </p:nvSpPr>
        <p:spPr>
          <a:xfrm>
            <a:off x="5684318" y="1825569"/>
            <a:ext cx="925714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&lt;</a:t>
            </a:r>
            <a:r>
              <a:rPr lang="ru-RU" sz="1400" dirty="0" smtClean="0"/>
              <a:t>80%</a:t>
            </a:r>
            <a:endParaRPr lang="en-US" sz="1400" dirty="0"/>
          </a:p>
        </p:txBody>
      </p:sp>
      <p:sp>
        <p:nvSpPr>
          <p:cNvPr id="163" name="TextBox 162"/>
          <p:cNvSpPr txBox="1">
            <a:spLocks/>
          </p:cNvSpPr>
          <p:nvPr/>
        </p:nvSpPr>
        <p:spPr>
          <a:xfrm>
            <a:off x="6761367" y="1825569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6</a:t>
            </a:r>
            <a:endParaRPr lang="en-US" sz="1400" dirty="0"/>
          </a:p>
        </p:txBody>
      </p:sp>
      <p:sp>
        <p:nvSpPr>
          <p:cNvPr id="168" name="TextBox 167"/>
          <p:cNvSpPr txBox="1">
            <a:spLocks/>
          </p:cNvSpPr>
          <p:nvPr/>
        </p:nvSpPr>
        <p:spPr>
          <a:xfrm>
            <a:off x="7807558" y="1825569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5</a:t>
            </a:r>
            <a:endParaRPr lang="en-US" sz="1400" dirty="0"/>
          </a:p>
        </p:txBody>
      </p:sp>
      <p:sp>
        <p:nvSpPr>
          <p:cNvPr id="169" name="TextBox 168"/>
          <p:cNvSpPr txBox="1">
            <a:spLocks/>
          </p:cNvSpPr>
          <p:nvPr/>
        </p:nvSpPr>
        <p:spPr>
          <a:xfrm>
            <a:off x="7807558" y="3243521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ru-RU" sz="1400" dirty="0" smtClean="0"/>
              <a:t>2</a:t>
            </a:r>
            <a:endParaRPr lang="en-US" sz="1400" dirty="0"/>
          </a:p>
        </p:txBody>
      </p:sp>
      <p:sp>
        <p:nvSpPr>
          <p:cNvPr id="147" name="TextBox 146"/>
          <p:cNvSpPr txBox="1">
            <a:spLocks/>
          </p:cNvSpPr>
          <p:nvPr/>
        </p:nvSpPr>
        <p:spPr>
          <a:xfrm>
            <a:off x="3375934" y="3952497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11</a:t>
            </a:r>
            <a:endParaRPr lang="en-US" sz="1400" dirty="0"/>
          </a:p>
        </p:txBody>
      </p:sp>
      <p:sp>
        <p:nvSpPr>
          <p:cNvPr id="153" name="TextBox 152"/>
          <p:cNvSpPr txBox="1">
            <a:spLocks/>
          </p:cNvSpPr>
          <p:nvPr/>
        </p:nvSpPr>
        <p:spPr>
          <a:xfrm>
            <a:off x="4622287" y="3844776"/>
            <a:ext cx="74139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От 8 </a:t>
            </a:r>
            <a:br>
              <a:rPr lang="ru-RU" sz="1400" dirty="0" smtClean="0"/>
            </a:br>
            <a:r>
              <a:rPr lang="ru-RU" sz="1400" dirty="0" smtClean="0"/>
              <a:t>до 10</a:t>
            </a:r>
            <a:endParaRPr lang="en-US" sz="1400" dirty="0"/>
          </a:p>
        </p:txBody>
      </p:sp>
      <p:sp>
        <p:nvSpPr>
          <p:cNvPr id="159" name="TextBox 158"/>
          <p:cNvSpPr txBox="1">
            <a:spLocks/>
          </p:cNvSpPr>
          <p:nvPr/>
        </p:nvSpPr>
        <p:spPr>
          <a:xfrm>
            <a:off x="5684318" y="3952497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</a:t>
            </a:r>
            <a:r>
              <a:rPr lang="ru-RU" sz="1400" dirty="0" smtClean="0"/>
              <a:t>7</a:t>
            </a:r>
            <a:endParaRPr lang="en-US" sz="1400" dirty="0"/>
          </a:p>
        </p:txBody>
      </p:sp>
      <p:sp>
        <p:nvSpPr>
          <p:cNvPr id="165" name="TextBox 164"/>
          <p:cNvSpPr txBox="1">
            <a:spLocks/>
          </p:cNvSpPr>
          <p:nvPr/>
        </p:nvSpPr>
        <p:spPr>
          <a:xfrm>
            <a:off x="6761367" y="3952497"/>
            <a:ext cx="97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11</a:t>
            </a:r>
            <a:endParaRPr lang="en-US" sz="1400" dirty="0"/>
          </a:p>
        </p:txBody>
      </p:sp>
      <p:sp>
        <p:nvSpPr>
          <p:cNvPr id="170" name="TextBox 169"/>
          <p:cNvSpPr txBox="1">
            <a:spLocks/>
          </p:cNvSpPr>
          <p:nvPr/>
        </p:nvSpPr>
        <p:spPr>
          <a:xfrm>
            <a:off x="7807558" y="3952497"/>
            <a:ext cx="97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11</a:t>
            </a:r>
            <a:endParaRPr lang="en-US" sz="1400" dirty="0"/>
          </a:p>
        </p:txBody>
      </p:sp>
      <p:sp>
        <p:nvSpPr>
          <p:cNvPr id="148" name="TextBox 147"/>
          <p:cNvSpPr txBox="1">
            <a:spLocks/>
          </p:cNvSpPr>
          <p:nvPr/>
        </p:nvSpPr>
        <p:spPr>
          <a:xfrm>
            <a:off x="3375934" y="4661473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8</a:t>
            </a:r>
            <a:endParaRPr lang="en-US" sz="1400" dirty="0"/>
          </a:p>
        </p:txBody>
      </p:sp>
      <p:sp>
        <p:nvSpPr>
          <p:cNvPr id="154" name="TextBox 153"/>
          <p:cNvSpPr txBox="1">
            <a:spLocks/>
          </p:cNvSpPr>
          <p:nvPr/>
        </p:nvSpPr>
        <p:spPr>
          <a:xfrm>
            <a:off x="4622287" y="4553752"/>
            <a:ext cx="74139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От 6 </a:t>
            </a:r>
            <a:br>
              <a:rPr lang="ru-RU" sz="1400" dirty="0" smtClean="0"/>
            </a:br>
            <a:r>
              <a:rPr lang="ru-RU" sz="1400" dirty="0" smtClean="0"/>
              <a:t>до 7</a:t>
            </a:r>
            <a:endParaRPr lang="en-US" sz="1400" dirty="0"/>
          </a:p>
        </p:txBody>
      </p:sp>
      <p:sp>
        <p:nvSpPr>
          <p:cNvPr id="160" name="TextBox 159"/>
          <p:cNvSpPr txBox="1">
            <a:spLocks/>
          </p:cNvSpPr>
          <p:nvPr/>
        </p:nvSpPr>
        <p:spPr>
          <a:xfrm>
            <a:off x="5684318" y="4661473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</a:t>
            </a:r>
            <a:r>
              <a:rPr lang="ru-RU" sz="1400" dirty="0" smtClean="0"/>
              <a:t>5</a:t>
            </a:r>
            <a:endParaRPr lang="en-US" sz="1400" dirty="0"/>
          </a:p>
        </p:txBody>
      </p:sp>
      <p:sp>
        <p:nvSpPr>
          <p:cNvPr id="166" name="TextBox 165"/>
          <p:cNvSpPr txBox="1">
            <a:spLocks/>
          </p:cNvSpPr>
          <p:nvPr/>
        </p:nvSpPr>
        <p:spPr>
          <a:xfrm>
            <a:off x="6761367" y="4661473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8</a:t>
            </a:r>
            <a:endParaRPr lang="en-US" sz="1400" dirty="0"/>
          </a:p>
        </p:txBody>
      </p:sp>
      <p:sp>
        <p:nvSpPr>
          <p:cNvPr id="171" name="TextBox 170"/>
          <p:cNvSpPr txBox="1">
            <a:spLocks/>
          </p:cNvSpPr>
          <p:nvPr/>
        </p:nvSpPr>
        <p:spPr>
          <a:xfrm>
            <a:off x="7807558" y="4661473"/>
            <a:ext cx="972000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8</a:t>
            </a:r>
            <a:endParaRPr lang="en-US" sz="1400" dirty="0"/>
          </a:p>
        </p:txBody>
      </p:sp>
      <p:sp>
        <p:nvSpPr>
          <p:cNvPr id="149" name="TextBox 148"/>
          <p:cNvSpPr txBox="1">
            <a:spLocks/>
          </p:cNvSpPr>
          <p:nvPr/>
        </p:nvSpPr>
        <p:spPr>
          <a:xfrm>
            <a:off x="3375934" y="5370445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12</a:t>
            </a:r>
            <a:endParaRPr lang="en-US" sz="1400" dirty="0"/>
          </a:p>
        </p:txBody>
      </p:sp>
      <p:sp>
        <p:nvSpPr>
          <p:cNvPr id="155" name="TextBox 154"/>
          <p:cNvSpPr txBox="1">
            <a:spLocks/>
          </p:cNvSpPr>
          <p:nvPr/>
        </p:nvSpPr>
        <p:spPr>
          <a:xfrm>
            <a:off x="4622287" y="5262724"/>
            <a:ext cx="741393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400" dirty="0" smtClean="0"/>
              <a:t>От 13 </a:t>
            </a:r>
            <a:br>
              <a:rPr lang="ru-RU" sz="1400" dirty="0" smtClean="0"/>
            </a:br>
            <a:r>
              <a:rPr lang="ru-RU" sz="1400" dirty="0" smtClean="0"/>
              <a:t>до 24</a:t>
            </a:r>
            <a:endParaRPr lang="en-US" sz="1400" dirty="0"/>
          </a:p>
        </p:txBody>
      </p:sp>
      <p:sp>
        <p:nvSpPr>
          <p:cNvPr id="161" name="TextBox 160"/>
          <p:cNvSpPr txBox="1">
            <a:spLocks/>
          </p:cNvSpPr>
          <p:nvPr/>
        </p:nvSpPr>
        <p:spPr>
          <a:xfrm>
            <a:off x="5684318" y="5370445"/>
            <a:ext cx="925714" cy="2154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≥</a:t>
            </a:r>
            <a:r>
              <a:rPr lang="ru-RU" sz="1400" dirty="0" smtClean="0"/>
              <a:t>25</a:t>
            </a:r>
            <a:endParaRPr lang="en-US" sz="1400" dirty="0"/>
          </a:p>
        </p:txBody>
      </p:sp>
      <p:sp>
        <p:nvSpPr>
          <p:cNvPr id="167" name="TextBox 166"/>
          <p:cNvSpPr txBox="1">
            <a:spLocks/>
          </p:cNvSpPr>
          <p:nvPr/>
        </p:nvSpPr>
        <p:spPr>
          <a:xfrm>
            <a:off x="6761367" y="5370445"/>
            <a:ext cx="97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</a:t>
            </a:r>
            <a:r>
              <a:rPr lang="ru-RU" sz="1400" dirty="0" smtClean="0"/>
              <a:t>12</a:t>
            </a:r>
            <a:endParaRPr lang="en-US" sz="1400" dirty="0"/>
          </a:p>
        </p:txBody>
      </p:sp>
      <p:sp>
        <p:nvSpPr>
          <p:cNvPr id="172" name="TextBox 171"/>
          <p:cNvSpPr txBox="1">
            <a:spLocks/>
          </p:cNvSpPr>
          <p:nvPr/>
        </p:nvSpPr>
        <p:spPr>
          <a:xfrm>
            <a:off x="7807558" y="5370445"/>
            <a:ext cx="972000" cy="2154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ctr"/>
            <a:r>
              <a:rPr lang="en-US" sz="1400" dirty="0" smtClean="0"/>
              <a:t>≤</a:t>
            </a:r>
            <a:r>
              <a:rPr lang="ru-RU" sz="1400" dirty="0" smtClean="0"/>
              <a:t>12</a:t>
            </a:r>
            <a:endParaRPr lang="en-US" sz="1400" dirty="0"/>
          </a:p>
        </p:txBody>
      </p:sp>
    </p:spTree>
    <p:extLst>
      <p:ext uri="{BB962C8B-B14F-4D97-AF65-F5344CB8AC3E}">
        <p14:creationId xmlns:p14="http://schemas.microsoft.com/office/powerpoint/2010/main" val="3912201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Маммография</a:t>
            </a:r>
          </a:p>
        </p:txBody>
      </p:sp>
      <p:sp>
        <p:nvSpPr>
          <p:cNvPr id="3" name="Rectangle 3"/>
          <p:cNvSpPr txBox="1">
            <a:spLocks/>
          </p:cNvSpPr>
          <p:nvPr/>
        </p:nvSpPr>
        <p:spPr>
          <a:xfrm>
            <a:off x="268520" y="878501"/>
            <a:ext cx="8424399" cy="8125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ru-RU" dirty="0">
                <a:solidFill>
                  <a:schemeClr val="accent1"/>
                </a:solidFill>
              </a:rPr>
              <a:t>На настоящий момент в подключенных к Единому радиологическому информационному сервису 64 МО амбулаторного типа идет подключение 26 цифровых </a:t>
            </a:r>
            <a:r>
              <a:rPr lang="ru-RU" dirty="0" err="1">
                <a:solidFill>
                  <a:schemeClr val="accent1"/>
                </a:solidFill>
              </a:rPr>
              <a:t>маммографов</a:t>
            </a:r>
            <a:r>
              <a:rPr lang="ru-RU" dirty="0">
                <a:solidFill>
                  <a:schemeClr val="accent1"/>
                </a:solidFill>
              </a:rPr>
              <a:t> </a:t>
            </a:r>
            <a:r>
              <a:rPr lang="ru-RU" dirty="0" err="1">
                <a:solidFill>
                  <a:schemeClr val="accent1"/>
                </a:solidFill>
              </a:rPr>
              <a:t>Fujifilm</a:t>
            </a:r>
            <a:r>
              <a:rPr lang="ru-RU" dirty="0">
                <a:solidFill>
                  <a:schemeClr val="accent1"/>
                </a:solidFill>
              </a:rPr>
              <a:t> </a:t>
            </a:r>
            <a:r>
              <a:rPr lang="ru-RU" dirty="0" err="1">
                <a:solidFill>
                  <a:schemeClr val="accent1"/>
                </a:solidFill>
              </a:rPr>
              <a:t>Amulet</a:t>
            </a:r>
            <a:r>
              <a:rPr lang="ru-RU" dirty="0">
                <a:solidFill>
                  <a:schemeClr val="accent1"/>
                </a:solidFill>
              </a:rPr>
              <a:t>. </a:t>
            </a:r>
          </a:p>
        </p:txBody>
      </p:sp>
      <p:sp>
        <p:nvSpPr>
          <p:cNvPr id="9" name="Rectangle 3"/>
          <p:cNvSpPr txBox="1">
            <a:spLocks/>
          </p:cNvSpPr>
          <p:nvPr/>
        </p:nvSpPr>
        <p:spPr>
          <a:xfrm>
            <a:off x="268520" y="1829404"/>
            <a:ext cx="8424399" cy="158504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>
              <a:lnSpc>
                <a:spcPct val="110000"/>
              </a:lnSpc>
              <a:spcBef>
                <a:spcPts val="600"/>
              </a:spcBef>
            </a:pPr>
            <a:r>
              <a:rPr lang="ru-RU" dirty="0"/>
              <a:t>Подключение </a:t>
            </a:r>
            <a:r>
              <a:rPr lang="ru-RU" dirty="0" err="1"/>
              <a:t>маммографов</a:t>
            </a:r>
            <a:r>
              <a:rPr lang="ru-RU" dirty="0"/>
              <a:t> к </a:t>
            </a:r>
            <a:r>
              <a:rPr lang="ru-RU" dirty="0" err="1"/>
              <a:t>ЕРИС</a:t>
            </a:r>
            <a:r>
              <a:rPr lang="ru-RU" dirty="0"/>
              <a:t> в каждой МО будет производиться в 3 </a:t>
            </a:r>
            <a:r>
              <a:rPr lang="ru-RU" dirty="0" smtClean="0"/>
              <a:t>этапа</a:t>
            </a:r>
            <a:endParaRPr lang="ru-RU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ru-RU" dirty="0"/>
              <a:t>Монтаж сегмента локальной сетевой инфраструктуры для включения в сеть </a:t>
            </a:r>
            <a:r>
              <a:rPr lang="ru-RU" dirty="0" err="1" smtClean="0"/>
              <a:t>ЕРИС</a:t>
            </a:r>
            <a:endParaRPr lang="ru-RU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ru-RU" dirty="0"/>
              <a:t>Перенастройка </a:t>
            </a:r>
            <a:r>
              <a:rPr lang="ru-RU" dirty="0" err="1"/>
              <a:t>маммографа</a:t>
            </a:r>
            <a:r>
              <a:rPr lang="ru-RU" dirty="0"/>
              <a:t> и рабочих станций врачей-рентгенологов </a:t>
            </a:r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и </a:t>
            </a:r>
            <a:r>
              <a:rPr lang="ru-RU" dirty="0" err="1" smtClean="0"/>
              <a:t>рентгенолаборантов</a:t>
            </a:r>
            <a:endParaRPr lang="ru-RU" dirty="0"/>
          </a:p>
          <a:p>
            <a:pPr lvl="1">
              <a:lnSpc>
                <a:spcPct val="110000"/>
              </a:lnSpc>
              <a:spcBef>
                <a:spcPts val="600"/>
              </a:spcBef>
            </a:pPr>
            <a:r>
              <a:rPr lang="ru-RU" dirty="0"/>
              <a:t>Проведение индивидуального обучения медицинского персонала работе с </a:t>
            </a:r>
            <a:r>
              <a:rPr lang="ru-RU" dirty="0" err="1" smtClean="0"/>
              <a:t>ЕРИС</a:t>
            </a:r>
            <a:endParaRPr lang="ru-RU" dirty="0"/>
          </a:p>
        </p:txBody>
      </p:sp>
      <p:sp>
        <p:nvSpPr>
          <p:cNvPr id="30" name="Rectangle 29"/>
          <p:cNvSpPr>
            <a:spLocks/>
          </p:cNvSpPr>
          <p:nvPr/>
        </p:nvSpPr>
        <p:spPr>
          <a:xfrm>
            <a:off x="268520" y="3552825"/>
            <a:ext cx="8424399" cy="2805643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1" name="Rectangle 15"/>
          <p:cNvSpPr txBox="1">
            <a:spLocks/>
          </p:cNvSpPr>
          <p:nvPr/>
        </p:nvSpPr>
        <p:spPr>
          <a:xfrm>
            <a:off x="268520" y="3552824"/>
            <a:ext cx="8424399" cy="355747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b="1" dirty="0">
                <a:solidFill>
                  <a:schemeClr val="bg1"/>
                </a:solidFill>
              </a:rPr>
              <a:t>План-график подключения по этапам</a:t>
            </a:r>
          </a:p>
        </p:txBody>
      </p:sp>
      <p:sp>
        <p:nvSpPr>
          <p:cNvPr id="15" name="Rectangle 17"/>
          <p:cNvSpPr txBox="1">
            <a:spLocks/>
          </p:cNvSpPr>
          <p:nvPr/>
        </p:nvSpPr>
        <p:spPr>
          <a:xfrm>
            <a:off x="393247" y="5166843"/>
            <a:ext cx="27552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Перенастройка модальности</a:t>
            </a:r>
            <a:endParaRPr lang="ru-RU" dirty="0"/>
          </a:p>
        </p:txBody>
      </p:sp>
      <p:sp>
        <p:nvSpPr>
          <p:cNvPr id="16" name="Rectangle 17"/>
          <p:cNvSpPr txBox="1">
            <a:spLocks/>
          </p:cNvSpPr>
          <p:nvPr/>
        </p:nvSpPr>
        <p:spPr>
          <a:xfrm>
            <a:off x="393247" y="5724977"/>
            <a:ext cx="2755219" cy="49244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Проведение индивидуального обучения</a:t>
            </a:r>
            <a:endParaRPr lang="ru-RU" dirty="0"/>
          </a:p>
        </p:txBody>
      </p:sp>
      <p:grpSp>
        <p:nvGrpSpPr>
          <p:cNvPr id="17" name="Group 19"/>
          <p:cNvGrpSpPr>
            <a:grpSpLocks/>
          </p:cNvGrpSpPr>
          <p:nvPr/>
        </p:nvGrpSpPr>
        <p:grpSpPr bwMode="gray">
          <a:xfrm>
            <a:off x="3251099" y="4002973"/>
            <a:ext cx="1252299" cy="265113"/>
            <a:chOff x="915" y="863"/>
            <a:chExt cx="2686" cy="167"/>
          </a:xfrm>
        </p:grpSpPr>
        <p:cxnSp>
          <p:nvCxnSpPr>
            <p:cNvPr id="18" name="AutoShape 249"/>
            <p:cNvCxnSpPr>
              <a:cxnSpLocks noChangeShapeType="1"/>
              <a:stCxn id="19" idx="4"/>
              <a:endCxn id="1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9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baseline="0" noProof="0" dirty="0" smtClean="0">
                  <a:solidFill>
                    <a:schemeClr val="accent1"/>
                  </a:solidFill>
                  <a:latin typeface="+mn-lt"/>
                  <a:ea typeface="+mn-ea"/>
                  <a:cs typeface="Arial" panose="020B0604020202020204" pitchFamily="34" charset="0"/>
                  <a:sym typeface="+mn-lt"/>
                </a:rPr>
                <a:t>Май</a:t>
              </a:r>
              <a:endParaRPr lang="az-Cyrl-AZ" baseline="0" noProof="0" dirty="0" smtClean="0">
                <a:solidFill>
                  <a:schemeClr val="accent1"/>
                </a:solidFill>
                <a:latin typeface="+mn-lt"/>
                <a:ea typeface="+mn-ea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21" name="Group 19"/>
          <p:cNvGrpSpPr>
            <a:grpSpLocks/>
          </p:cNvGrpSpPr>
          <p:nvPr/>
        </p:nvGrpSpPr>
        <p:grpSpPr bwMode="gray">
          <a:xfrm>
            <a:off x="4606031" y="4002973"/>
            <a:ext cx="1252299" cy="265113"/>
            <a:chOff x="915" y="863"/>
            <a:chExt cx="2686" cy="167"/>
          </a:xfrm>
        </p:grpSpPr>
        <p:cxnSp>
          <p:nvCxnSpPr>
            <p:cNvPr id="22" name="AutoShape 249"/>
            <p:cNvCxnSpPr>
              <a:cxnSpLocks noChangeShapeType="1"/>
              <a:stCxn id="23" idx="4"/>
              <a:endCxn id="23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3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Июнь</a:t>
              </a:r>
              <a:endParaRPr lang="az-Cyrl-AZ" baseline="0" noProof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24" name="Group 19"/>
          <p:cNvGrpSpPr>
            <a:grpSpLocks/>
          </p:cNvGrpSpPr>
          <p:nvPr/>
        </p:nvGrpSpPr>
        <p:grpSpPr bwMode="gray">
          <a:xfrm>
            <a:off x="5960963" y="4002973"/>
            <a:ext cx="1252299" cy="265113"/>
            <a:chOff x="915" y="863"/>
            <a:chExt cx="2686" cy="167"/>
          </a:xfrm>
        </p:grpSpPr>
        <p:cxnSp>
          <p:nvCxnSpPr>
            <p:cNvPr id="25" name="AutoShape 249"/>
            <p:cNvCxnSpPr>
              <a:cxnSpLocks noChangeShapeType="1"/>
              <a:stCxn id="26" idx="4"/>
              <a:endCxn id="26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6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Июль</a:t>
              </a:r>
              <a:endParaRPr lang="az-Cyrl-AZ" baseline="0" noProof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grpSp>
        <p:nvGrpSpPr>
          <p:cNvPr id="27" name="Group 19"/>
          <p:cNvGrpSpPr>
            <a:grpSpLocks/>
          </p:cNvGrpSpPr>
          <p:nvPr/>
        </p:nvGrpSpPr>
        <p:grpSpPr bwMode="gray">
          <a:xfrm>
            <a:off x="7315895" y="4002973"/>
            <a:ext cx="1252296" cy="265113"/>
            <a:chOff x="915" y="863"/>
            <a:chExt cx="2686" cy="167"/>
          </a:xfrm>
        </p:grpSpPr>
        <p:cxnSp>
          <p:nvCxnSpPr>
            <p:cNvPr id="28" name="AutoShape 249"/>
            <p:cNvCxnSpPr>
              <a:cxnSpLocks noChangeShapeType="1"/>
              <a:stCxn id="29" idx="4"/>
              <a:endCxn id="29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29" name="AutoShape 250"/>
            <p:cNvSpPr>
              <a:spLocks noChangeArrowheads="1"/>
            </p:cNvSpPr>
            <p:nvPr/>
          </p:nvSpPr>
          <p:spPr bwMode="gray">
            <a:xfrm>
              <a:off x="915" y="863"/>
              <a:ext cx="2686" cy="16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ru-RU" dirty="0" smtClean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Август</a:t>
              </a:r>
              <a:endParaRPr lang="az-Cyrl-AZ" baseline="0" noProof="0" dirty="0" smtClean="0">
                <a:solidFill>
                  <a:schemeClr val="accent1"/>
                </a:solidFill>
                <a:latin typeface="+mn-lt"/>
                <a:cs typeface="Arial" panose="020B0604020202020204" pitchFamily="34" charset="0"/>
                <a:sym typeface="+mn-lt"/>
              </a:endParaRPr>
            </a:p>
          </p:txBody>
        </p:sp>
      </p:grpSp>
      <p:sp>
        <p:nvSpPr>
          <p:cNvPr id="14" name="Rectangle 17"/>
          <p:cNvSpPr txBox="1">
            <a:spLocks/>
          </p:cNvSpPr>
          <p:nvPr/>
        </p:nvSpPr>
        <p:spPr>
          <a:xfrm>
            <a:off x="393247" y="4485598"/>
            <a:ext cx="2755219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dirty="0" smtClean="0"/>
              <a:t>Монтаж </a:t>
            </a:r>
            <a:r>
              <a:rPr lang="ru-RU" dirty="0" err="1" smtClean="0"/>
              <a:t>СКС</a:t>
            </a:r>
            <a:endParaRPr lang="ru-RU" dirty="0"/>
          </a:p>
        </p:txBody>
      </p:sp>
      <p:sp>
        <p:nvSpPr>
          <p:cNvPr id="36" name="Rectangle 35"/>
          <p:cNvSpPr/>
          <p:nvPr/>
        </p:nvSpPr>
        <p:spPr>
          <a:xfrm>
            <a:off x="3251099" y="436248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37" name="Rectangle 36"/>
          <p:cNvSpPr/>
          <p:nvPr/>
        </p:nvSpPr>
        <p:spPr>
          <a:xfrm>
            <a:off x="3928565" y="436248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38" name="Rectangle 37"/>
          <p:cNvSpPr/>
          <p:nvPr/>
        </p:nvSpPr>
        <p:spPr>
          <a:xfrm>
            <a:off x="4606031" y="436248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39" name="Rectangle 38"/>
          <p:cNvSpPr/>
          <p:nvPr/>
        </p:nvSpPr>
        <p:spPr>
          <a:xfrm>
            <a:off x="5283497" y="436248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6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40" name="Rectangle 39"/>
          <p:cNvSpPr/>
          <p:nvPr/>
        </p:nvSpPr>
        <p:spPr>
          <a:xfrm>
            <a:off x="5960963" y="436248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41" name="Rectangle 40"/>
          <p:cNvSpPr/>
          <p:nvPr/>
        </p:nvSpPr>
        <p:spPr>
          <a:xfrm>
            <a:off x="6638429" y="436248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42" name="Rectangle 41"/>
          <p:cNvSpPr/>
          <p:nvPr/>
        </p:nvSpPr>
        <p:spPr>
          <a:xfrm>
            <a:off x="7315895" y="436248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43" name="Rectangle 42"/>
          <p:cNvSpPr/>
          <p:nvPr/>
        </p:nvSpPr>
        <p:spPr>
          <a:xfrm>
            <a:off x="7993358" y="436248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3" name="Rectangle 62"/>
          <p:cNvSpPr/>
          <p:nvPr/>
        </p:nvSpPr>
        <p:spPr>
          <a:xfrm>
            <a:off x="3251099" y="5043732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4" name="Rectangle 63"/>
          <p:cNvSpPr/>
          <p:nvPr/>
        </p:nvSpPr>
        <p:spPr>
          <a:xfrm>
            <a:off x="3928565" y="5043732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61" name="Rectangle 60"/>
          <p:cNvSpPr/>
          <p:nvPr/>
        </p:nvSpPr>
        <p:spPr>
          <a:xfrm>
            <a:off x="4606031" y="5043732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62" name="Rectangle 61"/>
          <p:cNvSpPr/>
          <p:nvPr/>
        </p:nvSpPr>
        <p:spPr>
          <a:xfrm>
            <a:off x="5283497" y="5043732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59" name="Rectangle 58"/>
          <p:cNvSpPr/>
          <p:nvPr/>
        </p:nvSpPr>
        <p:spPr>
          <a:xfrm>
            <a:off x="5960963" y="5043732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60" name="Rectangle 59"/>
          <p:cNvSpPr/>
          <p:nvPr/>
        </p:nvSpPr>
        <p:spPr>
          <a:xfrm>
            <a:off x="6638429" y="5043732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57" name="Rectangle 56"/>
          <p:cNvSpPr/>
          <p:nvPr/>
        </p:nvSpPr>
        <p:spPr>
          <a:xfrm>
            <a:off x="7315895" y="5043732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solidFill>
                  <a:schemeClr val="tx1"/>
                </a:solidFill>
              </a:rPr>
              <a:t>4</a:t>
            </a:r>
            <a:endParaRPr lang="ru-RU" dirty="0" smtClean="0">
              <a:solidFill>
                <a:schemeClr val="tx1"/>
              </a:solidFill>
            </a:endParaRPr>
          </a:p>
        </p:txBody>
      </p:sp>
      <p:sp>
        <p:nvSpPr>
          <p:cNvPr id="58" name="Rectangle 57"/>
          <p:cNvSpPr/>
          <p:nvPr/>
        </p:nvSpPr>
        <p:spPr>
          <a:xfrm>
            <a:off x="7993358" y="5043732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6" name="Rectangle 75"/>
          <p:cNvSpPr/>
          <p:nvPr/>
        </p:nvSpPr>
        <p:spPr>
          <a:xfrm>
            <a:off x="3251099" y="572497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7" name="Rectangle 76"/>
          <p:cNvSpPr/>
          <p:nvPr/>
        </p:nvSpPr>
        <p:spPr>
          <a:xfrm>
            <a:off x="3928565" y="572497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4" name="Rectangle 73"/>
          <p:cNvSpPr/>
          <p:nvPr/>
        </p:nvSpPr>
        <p:spPr>
          <a:xfrm>
            <a:off x="4606031" y="5724977"/>
            <a:ext cx="574833" cy="492443"/>
          </a:xfrm>
          <a:prstGeom prst="rect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 err="1" smtClean="0">
              <a:solidFill>
                <a:schemeClr val="tx1"/>
              </a:solidFill>
            </a:endParaRPr>
          </a:p>
        </p:txBody>
      </p:sp>
      <p:sp>
        <p:nvSpPr>
          <p:cNvPr id="75" name="Rectangle 74"/>
          <p:cNvSpPr/>
          <p:nvPr/>
        </p:nvSpPr>
        <p:spPr>
          <a:xfrm>
            <a:off x="5283497" y="572497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sp>
        <p:nvSpPr>
          <p:cNvPr id="72" name="Rectangle 71"/>
          <p:cNvSpPr/>
          <p:nvPr/>
        </p:nvSpPr>
        <p:spPr>
          <a:xfrm>
            <a:off x="5960963" y="572497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73" name="Rectangle 72"/>
          <p:cNvSpPr/>
          <p:nvPr/>
        </p:nvSpPr>
        <p:spPr>
          <a:xfrm>
            <a:off x="6638429" y="572497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70" name="Rectangle 69"/>
          <p:cNvSpPr/>
          <p:nvPr/>
        </p:nvSpPr>
        <p:spPr>
          <a:xfrm>
            <a:off x="7315895" y="572497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6</a:t>
            </a:r>
          </a:p>
        </p:txBody>
      </p:sp>
      <p:sp>
        <p:nvSpPr>
          <p:cNvPr id="71" name="Rectangle 70"/>
          <p:cNvSpPr/>
          <p:nvPr/>
        </p:nvSpPr>
        <p:spPr>
          <a:xfrm>
            <a:off x="7993358" y="5724977"/>
            <a:ext cx="574833" cy="492443"/>
          </a:xfrm>
          <a:prstGeom prst="rect">
            <a:avLst/>
          </a:prstGeom>
          <a:solidFill>
            <a:schemeClr val="accent2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4</a:t>
            </a:r>
          </a:p>
        </p:txBody>
      </p:sp>
      <p:cxnSp>
        <p:nvCxnSpPr>
          <p:cNvPr id="79" name="Straight Connector 78"/>
          <p:cNvCxnSpPr>
            <a:cxnSpLocks/>
          </p:cNvCxnSpPr>
          <p:nvPr/>
        </p:nvCxnSpPr>
        <p:spPr>
          <a:xfrm>
            <a:off x="393247" y="5630576"/>
            <a:ext cx="817494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0" name="Straight Connector 79"/>
          <p:cNvCxnSpPr>
            <a:cxnSpLocks/>
          </p:cNvCxnSpPr>
          <p:nvPr/>
        </p:nvCxnSpPr>
        <p:spPr>
          <a:xfrm>
            <a:off x="393247" y="4949331"/>
            <a:ext cx="8174944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160454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79533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92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2016: начало подключения  стационаров к </a:t>
            </a:r>
            <a:r>
              <a:rPr lang="ru-RU" dirty="0" err="1"/>
              <a:t>ЕРИС</a:t>
            </a:r>
            <a:endParaRPr lang="ru-RU" dirty="0"/>
          </a:p>
        </p:txBody>
      </p:sp>
      <p:pic>
        <p:nvPicPr>
          <p:cNvPr id="483331" name="Picture 3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1834601" y="857058"/>
            <a:ext cx="5292236" cy="3008682"/>
          </a:xfrm>
          <a:prstGeom prst="rect">
            <a:avLst/>
          </a:prstGeom>
          <a:noFill/>
          <a:ln>
            <a:noFill/>
          </a:ln>
          <a:effectLst/>
          <a:extLst/>
        </p:spPr>
      </p:pic>
      <p:sp>
        <p:nvSpPr>
          <p:cNvPr id="26" name="Rectangle 25"/>
          <p:cNvSpPr>
            <a:spLocks/>
          </p:cNvSpPr>
          <p:nvPr/>
        </p:nvSpPr>
        <p:spPr>
          <a:xfrm>
            <a:off x="858176" y="4047068"/>
            <a:ext cx="7245086" cy="2311400"/>
          </a:xfrm>
          <a:prstGeom prst="rect">
            <a:avLst/>
          </a:prstGeom>
          <a:noFill/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800" dirty="0" err="1" smtClean="0">
              <a:solidFill>
                <a:schemeClr val="tx1"/>
              </a:solidFill>
            </a:endParaRPr>
          </a:p>
        </p:txBody>
      </p:sp>
      <p:sp>
        <p:nvSpPr>
          <p:cNvPr id="29" name="Rectangle 15"/>
          <p:cNvSpPr txBox="1">
            <a:spLocks/>
          </p:cNvSpPr>
          <p:nvPr/>
        </p:nvSpPr>
        <p:spPr>
          <a:xfrm>
            <a:off x="858176" y="4047068"/>
            <a:ext cx="7245086" cy="439964"/>
          </a:xfrm>
          <a:prstGeom prst="rect">
            <a:avLst/>
          </a:prstGeom>
          <a:solidFill>
            <a:schemeClr val="accent1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800" b="1" dirty="0" smtClean="0">
                <a:solidFill>
                  <a:schemeClr val="bg1"/>
                </a:solidFill>
              </a:rPr>
              <a:t> На </a:t>
            </a:r>
            <a:r>
              <a:rPr lang="ru-RU" sz="1800" b="1" dirty="0">
                <a:solidFill>
                  <a:schemeClr val="bg1"/>
                </a:solidFill>
              </a:rPr>
              <a:t>настоящий момент в разработке </a:t>
            </a:r>
            <a:r>
              <a:rPr lang="ru-RU" sz="1800" b="1" dirty="0" smtClean="0">
                <a:solidFill>
                  <a:schemeClr val="bg1"/>
                </a:solidFill>
              </a:rPr>
              <a:t>находятся</a:t>
            </a:r>
            <a:endParaRPr lang="ru-RU" sz="1800" b="1" dirty="0">
              <a:solidFill>
                <a:schemeClr val="bg1"/>
              </a:solidFill>
            </a:endParaRPr>
          </a:p>
        </p:txBody>
      </p:sp>
      <p:grpSp>
        <p:nvGrpSpPr>
          <p:cNvPr id="30" name="Group 2"/>
          <p:cNvGrpSpPr>
            <a:grpSpLocks/>
          </p:cNvGrpSpPr>
          <p:nvPr/>
        </p:nvGrpSpPr>
        <p:grpSpPr bwMode="gray">
          <a:xfrm>
            <a:off x="1006719" y="4534658"/>
            <a:ext cx="3356816" cy="295276"/>
            <a:chOff x="915" y="844"/>
            <a:chExt cx="2686" cy="186"/>
          </a:xfrm>
        </p:grpSpPr>
        <p:cxnSp>
          <p:nvCxnSpPr>
            <p:cNvPr id="31" name="AutoShape 249"/>
            <p:cNvCxnSpPr>
              <a:cxnSpLocks noChangeShapeType="1"/>
              <a:stCxn id="32" idx="4"/>
              <a:endCxn id="32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2" name="AutoShape 250"/>
            <p:cNvSpPr>
              <a:spLocks noChangeArrowheads="1"/>
            </p:cNvSpPr>
            <p:nvPr/>
          </p:nvSpPr>
          <p:spPr bwMode="gray">
            <a:xfrm>
              <a:off x="915" y="844"/>
              <a:ext cx="2686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8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Тип аппарата</a:t>
              </a:r>
            </a:p>
          </p:txBody>
        </p:sp>
      </p:grpSp>
      <p:grpSp>
        <p:nvGrpSpPr>
          <p:cNvPr id="33" name="Group 2"/>
          <p:cNvGrpSpPr>
            <a:grpSpLocks/>
          </p:cNvGrpSpPr>
          <p:nvPr/>
        </p:nvGrpSpPr>
        <p:grpSpPr bwMode="gray">
          <a:xfrm>
            <a:off x="4597903" y="4534658"/>
            <a:ext cx="3356816" cy="295276"/>
            <a:chOff x="915" y="844"/>
            <a:chExt cx="2686" cy="186"/>
          </a:xfrm>
        </p:grpSpPr>
        <p:cxnSp>
          <p:nvCxnSpPr>
            <p:cNvPr id="34" name="AutoShape 249"/>
            <p:cNvCxnSpPr>
              <a:cxnSpLocks noChangeShapeType="1"/>
              <a:stCxn id="35" idx="4"/>
              <a:endCxn id="35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35" name="AutoShape 250"/>
            <p:cNvSpPr>
              <a:spLocks noChangeArrowheads="1"/>
            </p:cNvSpPr>
            <p:nvPr/>
          </p:nvSpPr>
          <p:spPr bwMode="gray">
            <a:xfrm>
              <a:off x="915" y="844"/>
              <a:ext cx="2686" cy="18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az-Cyrl-AZ" sz="1800" dirty="0">
                  <a:solidFill>
                    <a:schemeClr val="accent1"/>
                  </a:solidFill>
                  <a:latin typeface="+mn-lt"/>
                  <a:cs typeface="Arial" panose="020B0604020202020204" pitchFamily="34" charset="0"/>
                  <a:sym typeface="+mn-lt"/>
                </a:rPr>
                <a:t>Количество</a:t>
              </a:r>
            </a:p>
          </p:txBody>
        </p:sp>
      </p:grpSp>
      <p:sp>
        <p:nvSpPr>
          <p:cNvPr id="36" name="Rectangle 17"/>
          <p:cNvSpPr txBox="1">
            <a:spLocks/>
          </p:cNvSpPr>
          <p:nvPr/>
        </p:nvSpPr>
        <p:spPr>
          <a:xfrm>
            <a:off x="1006719" y="4952716"/>
            <a:ext cx="33568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800" dirty="0" err="1"/>
              <a:t>КТ</a:t>
            </a:r>
            <a:r>
              <a:rPr lang="ru-RU" sz="1800" dirty="0"/>
              <a:t>-аппараты</a:t>
            </a:r>
          </a:p>
        </p:txBody>
      </p:sp>
      <p:sp>
        <p:nvSpPr>
          <p:cNvPr id="37" name="Rectangle 17"/>
          <p:cNvSpPr txBox="1">
            <a:spLocks/>
          </p:cNvSpPr>
          <p:nvPr/>
        </p:nvSpPr>
        <p:spPr>
          <a:xfrm>
            <a:off x="1006719" y="5475279"/>
            <a:ext cx="33568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800" dirty="0" err="1"/>
              <a:t>МРТ</a:t>
            </a:r>
            <a:r>
              <a:rPr lang="ru-RU" sz="1800" dirty="0"/>
              <a:t>-аппараты</a:t>
            </a:r>
          </a:p>
        </p:txBody>
      </p:sp>
      <p:sp>
        <p:nvSpPr>
          <p:cNvPr id="38" name="Rectangle 17"/>
          <p:cNvSpPr txBox="1">
            <a:spLocks/>
          </p:cNvSpPr>
          <p:nvPr/>
        </p:nvSpPr>
        <p:spPr>
          <a:xfrm>
            <a:off x="1006719" y="5997842"/>
            <a:ext cx="3356816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800" dirty="0"/>
              <a:t>Всего цифровых </a:t>
            </a:r>
            <a:r>
              <a:rPr lang="ru-RU" sz="1800" dirty="0" smtClean="0"/>
              <a:t>аппаратов</a:t>
            </a:r>
            <a:endParaRPr lang="ru-RU" sz="1800" dirty="0"/>
          </a:p>
        </p:txBody>
      </p:sp>
      <p:sp>
        <p:nvSpPr>
          <p:cNvPr id="39" name="Rectangle 17"/>
          <p:cNvSpPr txBox="1">
            <a:spLocks/>
          </p:cNvSpPr>
          <p:nvPr/>
        </p:nvSpPr>
        <p:spPr>
          <a:xfrm>
            <a:off x="6083951" y="4952716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1800" dirty="0"/>
              <a:t>108</a:t>
            </a:r>
          </a:p>
        </p:txBody>
      </p:sp>
      <p:sp>
        <p:nvSpPr>
          <p:cNvPr id="40" name="Rectangle 17"/>
          <p:cNvSpPr txBox="1">
            <a:spLocks/>
          </p:cNvSpPr>
          <p:nvPr/>
        </p:nvSpPr>
        <p:spPr>
          <a:xfrm>
            <a:off x="6212192" y="5475279"/>
            <a:ext cx="256480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1800" dirty="0"/>
              <a:t>63</a:t>
            </a:r>
          </a:p>
        </p:txBody>
      </p:sp>
      <p:sp>
        <p:nvSpPr>
          <p:cNvPr id="41" name="Rectangle 17"/>
          <p:cNvSpPr txBox="1">
            <a:spLocks/>
          </p:cNvSpPr>
          <p:nvPr/>
        </p:nvSpPr>
        <p:spPr>
          <a:xfrm>
            <a:off x="6083951" y="5997842"/>
            <a:ext cx="384721" cy="27699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lvl="0" indent="0" defTabSz="895350" eaLnBrk="1" hangingPunct="1">
              <a:buClr>
                <a:schemeClr val="tx2"/>
              </a:buClr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lang="en-US" baseline="0" noProof="0" dirty="0" smtClean="0">
                <a:latin typeface="+mn-lt"/>
                <a:cs typeface="Arial" panose="020B0604020202020204" pitchFamily="34" charset="0"/>
                <a:sym typeface="+mn-lt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lang="de-DE" baseline="0" noProof="0" dirty="0">
                <a:latin typeface="+mn-lt"/>
                <a:cs typeface="Arial" panose="020B0604020202020204" pitchFamily="34" charset="0"/>
                <a:sym typeface="+mn-lt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algn="r"/>
            <a:r>
              <a:rPr lang="ru-RU" sz="1800" dirty="0"/>
              <a:t>171</a:t>
            </a:r>
          </a:p>
        </p:txBody>
      </p:sp>
      <p:cxnSp>
        <p:nvCxnSpPr>
          <p:cNvPr id="51" name="Straight Connector 50"/>
          <p:cNvCxnSpPr>
            <a:cxnSpLocks/>
          </p:cNvCxnSpPr>
          <p:nvPr/>
        </p:nvCxnSpPr>
        <p:spPr>
          <a:xfrm>
            <a:off x="1006719" y="5352497"/>
            <a:ext cx="694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/>
          <p:cNvCxnSpPr>
            <a:cxnSpLocks/>
          </p:cNvCxnSpPr>
          <p:nvPr/>
        </p:nvCxnSpPr>
        <p:spPr>
          <a:xfrm>
            <a:off x="1006719" y="5875060"/>
            <a:ext cx="6948000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8775938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Название 2"/>
          <p:cNvSpPr>
            <a:spLocks noGrp="1"/>
          </p:cNvSpPr>
          <p:nvPr>
            <p:ph type="title"/>
          </p:nvPr>
        </p:nvSpPr>
        <p:spPr>
          <a:xfrm>
            <a:off x="965200" y="279341"/>
            <a:ext cx="7239000" cy="29238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ru-RU" dirty="0"/>
              <a:t>Предложения и план развития</a:t>
            </a:r>
          </a:p>
        </p:txBody>
      </p:sp>
      <p:sp>
        <p:nvSpPr>
          <p:cNvPr id="2" name="Rectangle 6"/>
          <p:cNvSpPr txBox="1">
            <a:spLocks/>
          </p:cNvSpPr>
          <p:nvPr/>
        </p:nvSpPr>
        <p:spPr>
          <a:xfrm>
            <a:off x="304719" y="965560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Подключить к </a:t>
            </a:r>
            <a:r>
              <a:rPr lang="ru-RU" sz="1500" dirty="0" err="1"/>
              <a:t>ЕРИС</a:t>
            </a:r>
            <a:r>
              <a:rPr lang="ru-RU" sz="1500" dirty="0"/>
              <a:t> стационары </a:t>
            </a:r>
            <a:r>
              <a:rPr lang="ru-RU" sz="1500" dirty="0" err="1"/>
              <a:t>ДЗМ</a:t>
            </a:r>
            <a:r>
              <a:rPr lang="ru-RU" sz="1500" dirty="0"/>
              <a:t> </a:t>
            </a:r>
            <a:r>
              <a:rPr lang="ru-RU" sz="1500" dirty="0" smtClean="0"/>
              <a:t/>
            </a:r>
            <a:br>
              <a:rPr lang="ru-RU" sz="1500" dirty="0" smtClean="0"/>
            </a:br>
            <a:r>
              <a:rPr lang="ru-RU" sz="1500" dirty="0" smtClean="0"/>
              <a:t>(</a:t>
            </a:r>
            <a:r>
              <a:rPr lang="ru-RU" sz="1500" dirty="0"/>
              <a:t>реализация технической инфраструктуры совместно с </a:t>
            </a:r>
            <a:r>
              <a:rPr lang="ru-RU" sz="1500" dirty="0" err="1"/>
              <a:t>ДИТ</a:t>
            </a:r>
            <a:r>
              <a:rPr lang="ru-RU" sz="1500" dirty="0"/>
              <a:t>)</a:t>
            </a:r>
          </a:p>
        </p:txBody>
      </p:sp>
      <p:sp>
        <p:nvSpPr>
          <p:cNvPr id="8" name="Rectangle 6"/>
          <p:cNvSpPr txBox="1">
            <a:spLocks/>
          </p:cNvSpPr>
          <p:nvPr/>
        </p:nvSpPr>
        <p:spPr>
          <a:xfrm>
            <a:off x="304719" y="1572209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Провести интеграцию </a:t>
            </a:r>
            <a:r>
              <a:rPr lang="ru-RU" sz="1500" dirty="0" err="1"/>
              <a:t>ЕРИС</a:t>
            </a:r>
            <a:r>
              <a:rPr lang="ru-RU" sz="1500" dirty="0"/>
              <a:t> и </a:t>
            </a:r>
            <a:r>
              <a:rPr lang="ru-RU" sz="1500" dirty="0" err="1"/>
              <a:t>ЕМИАС</a:t>
            </a:r>
            <a:r>
              <a:rPr lang="ru-RU" sz="1500" dirty="0"/>
              <a:t> (с оценкой доступности)</a:t>
            </a:r>
          </a:p>
        </p:txBody>
      </p:sp>
      <p:sp>
        <p:nvSpPr>
          <p:cNvPr id="9" name="Rectangle 6"/>
          <p:cNvSpPr txBox="1">
            <a:spLocks/>
          </p:cNvSpPr>
          <p:nvPr/>
        </p:nvSpPr>
        <p:spPr>
          <a:xfrm>
            <a:off x="304719" y="2178858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Наделить </a:t>
            </a:r>
            <a:r>
              <a:rPr lang="ru-RU" sz="1500" dirty="0" err="1"/>
              <a:t>НПЦ</a:t>
            </a:r>
            <a:r>
              <a:rPr lang="ru-RU" sz="1500" dirty="0"/>
              <a:t> </a:t>
            </a:r>
            <a:r>
              <a:rPr lang="ru-RU" sz="1500" dirty="0" err="1"/>
              <a:t>МР</a:t>
            </a:r>
            <a:r>
              <a:rPr lang="ru-RU" sz="1500" dirty="0"/>
              <a:t> правом маршрутизировать потоки лучевых исследований</a:t>
            </a:r>
          </a:p>
        </p:txBody>
      </p:sp>
      <p:sp>
        <p:nvSpPr>
          <p:cNvPr id="10" name="Rectangle 6"/>
          <p:cNvSpPr txBox="1">
            <a:spLocks/>
          </p:cNvSpPr>
          <p:nvPr/>
        </p:nvSpPr>
        <p:spPr>
          <a:xfrm>
            <a:off x="304719" y="2785507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Наделить </a:t>
            </a:r>
            <a:r>
              <a:rPr lang="ru-RU" sz="1500" dirty="0" err="1"/>
              <a:t>НПЦ</a:t>
            </a:r>
            <a:r>
              <a:rPr lang="ru-RU" sz="1500" dirty="0"/>
              <a:t> </a:t>
            </a:r>
            <a:r>
              <a:rPr lang="ru-RU" sz="1500" dirty="0" err="1"/>
              <a:t>МР</a:t>
            </a:r>
            <a:r>
              <a:rPr lang="ru-RU" sz="1500" dirty="0"/>
              <a:t> правом контролировать качество лучевой диагностики в </a:t>
            </a:r>
            <a:r>
              <a:rPr lang="ru-RU" sz="1500" dirty="0" err="1"/>
              <a:t>ДЗМ</a:t>
            </a:r>
            <a:endParaRPr lang="ru-RU" sz="1500" dirty="0"/>
          </a:p>
        </p:txBody>
      </p:sp>
      <p:sp>
        <p:nvSpPr>
          <p:cNvPr id="11" name="Rectangle 6"/>
          <p:cNvSpPr txBox="1">
            <a:spLocks/>
          </p:cNvSpPr>
          <p:nvPr/>
        </p:nvSpPr>
        <p:spPr>
          <a:xfrm>
            <a:off x="304719" y="3392156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Выделить </a:t>
            </a:r>
            <a:r>
              <a:rPr lang="ru-RU" sz="1500" dirty="0" err="1"/>
              <a:t>НПЦ</a:t>
            </a:r>
            <a:r>
              <a:rPr lang="ru-RU" sz="1500" dirty="0"/>
              <a:t> </a:t>
            </a:r>
            <a:r>
              <a:rPr lang="ru-RU" sz="1500" dirty="0" err="1"/>
              <a:t>МР</a:t>
            </a:r>
            <a:r>
              <a:rPr lang="ru-RU" sz="1500" dirty="0"/>
              <a:t> новое здание взамен здания на </a:t>
            </a:r>
            <a:r>
              <a:rPr lang="ru-RU" sz="1500" dirty="0" err="1"/>
              <a:t>Калитниковской</a:t>
            </a:r>
            <a:r>
              <a:rPr lang="ru-RU" sz="1500" dirty="0"/>
              <a:t> </a:t>
            </a:r>
            <a:r>
              <a:rPr lang="ru-RU" sz="1500" dirty="0" smtClean="0"/>
              <a:t/>
            </a:r>
            <a:br>
              <a:rPr lang="ru-RU" sz="1500" dirty="0" smtClean="0"/>
            </a:br>
            <a:r>
              <a:rPr lang="ru-RU" sz="1500" dirty="0" smtClean="0"/>
              <a:t>(</a:t>
            </a:r>
            <a:r>
              <a:rPr lang="ru-RU" sz="1500" dirty="0"/>
              <a:t>не находится </a:t>
            </a:r>
            <a:r>
              <a:rPr lang="ru-RU" sz="1500" dirty="0" smtClean="0"/>
              <a:t>в </a:t>
            </a:r>
            <a:r>
              <a:rPr lang="ru-RU" sz="1500" dirty="0"/>
              <a:t>оперативном управлении)</a:t>
            </a:r>
          </a:p>
        </p:txBody>
      </p:sp>
      <p:sp>
        <p:nvSpPr>
          <p:cNvPr id="12" name="Rectangle 6"/>
          <p:cNvSpPr txBox="1">
            <a:spLocks/>
          </p:cNvSpPr>
          <p:nvPr/>
        </p:nvSpPr>
        <p:spPr>
          <a:xfrm>
            <a:off x="304719" y="3998805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Обеспечить сотрудникам </a:t>
            </a:r>
            <a:r>
              <a:rPr lang="ru-RU" sz="1500" dirty="0" err="1"/>
              <a:t>ДЗМ</a:t>
            </a:r>
            <a:r>
              <a:rPr lang="ru-RU" sz="1500" dirty="0"/>
              <a:t> доступ к удаленным рабочим местам </a:t>
            </a:r>
            <a:r>
              <a:rPr lang="ru-RU" sz="1500" dirty="0" err="1"/>
              <a:t>ЕРИС</a:t>
            </a:r>
            <a:endParaRPr lang="ru-RU" sz="1500" dirty="0"/>
          </a:p>
        </p:txBody>
      </p:sp>
      <p:sp>
        <p:nvSpPr>
          <p:cNvPr id="13" name="Rectangle 6"/>
          <p:cNvSpPr txBox="1">
            <a:spLocks/>
          </p:cNvSpPr>
          <p:nvPr/>
        </p:nvSpPr>
        <p:spPr>
          <a:xfrm>
            <a:off x="304719" y="4605454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Подключение к </a:t>
            </a:r>
            <a:r>
              <a:rPr lang="ru-RU" sz="1500" dirty="0" err="1"/>
              <a:t>ЕРИС</a:t>
            </a:r>
            <a:r>
              <a:rPr lang="ru-RU" sz="1500" dirty="0"/>
              <a:t> всех ПЭТ и </a:t>
            </a:r>
            <a:r>
              <a:rPr lang="ru-RU" sz="1500" dirty="0" err="1"/>
              <a:t>ОФЭКТ</a:t>
            </a:r>
            <a:r>
              <a:rPr lang="ru-RU" sz="1500" dirty="0"/>
              <a:t> с наделением </a:t>
            </a:r>
            <a:r>
              <a:rPr lang="ru-RU" sz="1500" dirty="0" err="1"/>
              <a:t>НПЦ</a:t>
            </a:r>
            <a:r>
              <a:rPr lang="ru-RU" sz="1500" dirty="0"/>
              <a:t> полномочиями по оценке потребности и маршрутизации </a:t>
            </a:r>
            <a:r>
              <a:rPr lang="ru-RU" sz="1500" dirty="0" err="1"/>
              <a:t>РФП</a:t>
            </a:r>
            <a:endParaRPr lang="ru-RU" sz="1500" dirty="0"/>
          </a:p>
        </p:txBody>
      </p:sp>
      <p:sp>
        <p:nvSpPr>
          <p:cNvPr id="14" name="Rectangle 6"/>
          <p:cNvSpPr txBox="1">
            <a:spLocks/>
          </p:cNvSpPr>
          <p:nvPr/>
        </p:nvSpPr>
        <p:spPr>
          <a:xfrm>
            <a:off x="304719" y="5212103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Провести оцифровку лучевой диагностики с полным исключением пленок</a:t>
            </a:r>
          </a:p>
        </p:txBody>
      </p:sp>
      <p:sp>
        <p:nvSpPr>
          <p:cNvPr id="15" name="Rectangle 6"/>
          <p:cNvSpPr txBox="1">
            <a:spLocks/>
          </p:cNvSpPr>
          <p:nvPr/>
        </p:nvSpPr>
        <p:spPr>
          <a:xfrm>
            <a:off x="304719" y="5818751"/>
            <a:ext cx="8352000" cy="504000"/>
          </a:xfrm>
          <a:prstGeom prst="rect">
            <a:avLst/>
          </a:prstGeom>
          <a:solidFill>
            <a:schemeClr val="bg2"/>
          </a:solidFill>
          <a:ln w="12700">
            <a:solidFill>
              <a:schemeClr val="accent1"/>
            </a:solidFill>
            <a:miter lim="800000"/>
            <a:headEnd/>
            <a:tailEnd/>
          </a:ln>
          <a:effectLst/>
          <a:extLst/>
        </p:spPr>
        <p:txBody>
          <a:bodyPr vert="horz" wrap="square" lIns="72009" tIns="72009" rIns="72009" bIns="72009" numCol="1" anchor="ctr" anchorCtr="0" compatLnSpc="1">
            <a:prstTxWarp prst="textNoShape">
              <a:avLst/>
            </a:prstTxWarp>
            <a:noAutofit/>
          </a:bodyPr>
          <a:lstStyle>
            <a:defPPr>
              <a:defRPr lang="en-US"/>
            </a:defPPr>
            <a:lvl1pPr marL="0" lvl="0" indent="0" defTabSz="895350" eaLnBrk="1" hangingPunct="1">
              <a:buClr>
                <a:schemeClr val="tx2"/>
              </a:buClr>
              <a:defRPr sz="1000" baseline="0">
                <a:latin typeface="+mn-lt"/>
                <a:cs typeface="Arial" panose="020B0604020202020204" pitchFamily="34" charset="0"/>
              </a:defRPr>
            </a:lvl1pPr>
            <a:lvl2pPr marL="193675" lvl="1" indent="-192088" defTabSz="895350" eaLnBrk="1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baseline="0">
                <a:latin typeface="+mn-lt"/>
                <a:cs typeface="Arial" panose="020B0604020202020204" pitchFamily="34" charset="0"/>
              </a:defRPr>
            </a:lvl2pPr>
            <a:lvl3pPr marL="457200" lvl="2" indent="-261938" defTabSz="895350" eaLnBrk="1" hangingPunct="1">
              <a:buClr>
                <a:schemeClr val="tx2"/>
              </a:buClr>
              <a:buSzPct val="120000"/>
              <a:buFont typeface="Arial" charset="0"/>
              <a:buChar char="–"/>
              <a:defRPr baseline="0">
                <a:latin typeface="+mn-lt"/>
                <a:cs typeface="Arial" panose="020B0604020202020204" pitchFamily="34" charset="0"/>
              </a:defRPr>
            </a:lvl3pPr>
            <a:lvl4pPr marL="614363" lvl="3" indent="-155575" defTabSz="895350" eaLnBrk="1" hangingPunct="1">
              <a:buClr>
                <a:schemeClr val="tx2"/>
              </a:buClr>
              <a:buSzPct val="120000"/>
              <a:buFont typeface="Arial" pitchFamily="34" charset="0"/>
              <a:buChar char="▫"/>
              <a:defRPr baseline="0">
                <a:latin typeface="+mn-lt"/>
                <a:cs typeface="Arial" panose="020B0604020202020204" pitchFamily="34" charset="0"/>
              </a:defRPr>
            </a:lvl4pPr>
            <a:lvl5pPr marL="749808" lvl="4" indent="-130175" defTabSz="895350" eaLnBrk="1" hangingPunct="1"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  <a:cs typeface="Arial" panose="020B0604020202020204" pitchFamily="34" charset="0"/>
              </a:defRPr>
            </a:lvl5pPr>
            <a:lvl6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49808" indent="-130175" defTabSz="895350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r>
              <a:rPr lang="ru-RU" sz="1500" dirty="0"/>
              <a:t>Предложить </a:t>
            </a:r>
            <a:r>
              <a:rPr lang="ru-RU" sz="1500" dirty="0" err="1"/>
              <a:t>низкодозную</a:t>
            </a:r>
            <a:r>
              <a:rPr lang="ru-RU" sz="1500" dirty="0"/>
              <a:t> </a:t>
            </a:r>
            <a:r>
              <a:rPr lang="ru-RU" sz="1500" dirty="0" err="1"/>
              <a:t>КТ</a:t>
            </a:r>
            <a:r>
              <a:rPr lang="ru-RU" sz="1500" dirty="0"/>
              <a:t> пациентам в группе риска вместо рентгенологического исследования при диспансеризации</a:t>
            </a:r>
          </a:p>
        </p:txBody>
      </p:sp>
    </p:spTree>
    <p:extLst>
      <p:ext uri="{BB962C8B-B14F-4D97-AF65-F5344CB8AC3E}">
        <p14:creationId xmlns:p14="http://schemas.microsoft.com/office/powerpoint/2010/main" val="41310270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THINKCELLPRESENTATIONDONOTDELETE" val="&lt;?xml version=&quot;1.0&quot; encoding=&quot;UTF-16&quot; standalone=&quot;yes&quot;?&gt;&#10;&lt;root reqver=&quot;21047&quot;&gt;&lt;version val=&quot;23256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/m_precDefaultPercent&gt;&lt;m_precDefaultDate&gt;&lt;m_bNumberIsYear val=&quot;0&quot;/&gt;&lt;m_strFormatTime&gt;%d-%1-%Y&lt;/m_strFormatTime&gt;&lt;/m_precDefaultDate&gt;&lt;m_precDefaultYear&gt;&lt;m_bNumberIsYear val=&quot;0&quot;/&gt;&lt;m_strFormatTime&gt;%Y&lt;/m_strFormatTime&gt;&lt;/m_precDefaultYear&gt;&lt;m_precDefaultQuarter&gt;&lt;m_bNumberIsYear val=&quot;0&quot;/&gt;&lt;m_strFormatTime&gt;Q%5&lt;/m_strFormatTime&gt;&lt;/m_precDefaultQuarter&gt;&lt;m_precDefaultMonth&gt;&lt;m_bNumberIsYear val=&quot;0&quot;/&gt;&lt;m_strFormatTime&gt;%1&lt;/m_strFormatTime&gt;&lt;/m_precDefaultMonth&gt;&lt;m_precDefaultWeek&gt;&lt;m_bNumberIsYear val=&quot;0&quot;/&gt;&lt;m_strFormatTime&gt;%d.&lt;/m_strFormatTime&gt;&lt;/m_precDefaultWeek&gt;&lt;m_precDefaultDay&gt;&lt;m_bNumberIsYear val=&quot;0&quot;/&gt;&lt;m_strFormatTime&gt;%d&lt;/m_strFormatTime&gt;&lt;/m_precDefaultDay&gt;&lt;m_mruColor&gt;&lt;m_vecMRU length=&quot;4&quot;&gt;&lt;elem m_fUsage=&quot;1.62900000000000000000E+000&quot;&gt;&lt;m_msothmcolidx val=&quot;0&quot;/&gt;&lt;m_rgb r=&quot;dd&quot; g=&quot;dd&quot; b=&quot;dd&quot;/&gt;&lt;m_ppcolschidx tagver0=&quot;23004&quot; tagname0=&quot;m_ppcolschidxUNRECOGNIZED&quot; val=&quot;0&quot;/&gt;&lt;m_nBrightness val=&quot;0&quot;/&gt;&lt;/elem&gt;&lt;elem m_fUsage=&quot;1.24659000000000010000E+000&quot;&gt;&lt;m_msothmcolidx val=&quot;0&quot;/&gt;&lt;m_rgb r=&quot;ef&quot; g=&quot;46&quot; b=&quot;32&quot;/&gt;&lt;m_ppcolschidx tagver0=&quot;23004&quot; tagname0=&quot;m_ppcolschidxUNRECOGNIZED&quot; val=&quot;0&quot;/&gt;&lt;m_nBrightness val=&quot;0&quot;/&gt;&lt;/elem&gt;&lt;elem m_fUsage=&quot;1.00000000000000000000E+000&quot;&gt;&lt;m_msothmcolidx val=&quot;0&quot;/&gt;&lt;m_rgb r=&quot;b2&quot; g=&quot;b2&quot; b=&quot;b2&quot;/&gt;&lt;m_ppcolschidx tagver0=&quot;23004&quot; tagname0=&quot;m_ppcolschidxUNRECOGNIZED&quot; val=&quot;0&quot;/&gt;&lt;m_nBrightness val=&quot;0&quot;/&gt;&lt;/elem&gt;&lt;elem m_fUsage=&quot;8.10000000000000050000E-001&quot;&gt;&lt;m_msothmcolidx val=&quot;0&quot;/&gt;&lt;m_rgb r=&quot;c2&quot; g=&quot;c8&quot; b=&quot;cd&quot;/&gt;&lt;m_ppcolschidx tagver0=&quot;23004&quot; tagname0=&quot;m_ppcolschidxUNRECOGNIZED&quot; val=&quot;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  <p:tag name="ISNEWSLIDENUMBER" val="False"/>
  <p:tag name="PREVIOUSNAME" val="C:\Users\Uliana Loginova\Documents\Medicine WRM039\OTHER\Радиология\Встречи\20160519_Радиология_Для АИ_короткая версия_1.pptx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7"/>
  <p:tag name="LLEFT" val=" 143.875"/>
  <p:tag name="TOP" val=" 207"/>
  <p:tag name="LEFT" val=" 143.875"/>
  <p:tag name="NAME" val="SingleBoatText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LEFT" val=" 143.875"/>
  <p:tag name="TOP" val=" 207"/>
  <p:tag name="LLEFT" val=" 143.875"/>
  <p:tag name="LTOP" val=" 207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LEFT" val=" 143.875"/>
  <p:tag name="TOP" val=" 207"/>
  <p:tag name="LLEFT" val=" 143.875"/>
  <p:tag name="LTOP" val=" 207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LEFT" val=" 143.875"/>
  <p:tag name="TOP" val=" 207"/>
  <p:tag name="LLEFT" val=" 143.875"/>
  <p:tag name="LTOP" val=" 207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LEFT" val=" 143.875"/>
  <p:tag name="TOP" val=" 207"/>
  <p:tag name="LLEFT" val=" 143.875"/>
  <p:tag name="LTOP" val=" 207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uVSsUIJvU2lAfTND2jCfg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w1nS9e1skecsoMxVbx_0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q1VZFadh0.Irz9bxzD8P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9awZ6sGUCca2fZy_wdY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SDEvmTLEqHTFy53fIkZ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5.O12pB0.wAkVTbM7YS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o6Qu0p4_0mGGtbtGD73D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drSIsR4lUCkkc7wCiw_3g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2rvl..vkGREkgxum9PlA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HbLfjZkoE6XvSSboWTI5g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2pS09oZjkO_lxh3t_.Geg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v7wymC9tECMLVJcKn.oLQ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BxDDlCOMUuTRHOnJS8IB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21HxAVFykCT92kuY8p4X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2WemTVEIkKBJ.Fd.C_dz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X7CTLc13UGqI4q83fFQJ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XVQGUoc0Sikoj6vv6kN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syZYW7nEqUFDX3iXdti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cRR4JmXiEOHXvaNVUlDP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5vDb5vY4k2bXi6i_O16U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xvJOIWUYUO.b_pxtZAv4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ART.PuhZkOZnlkPVx61h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66crH2J4UKWfGBcIseo5Q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qAJq4SyK0S4lmti9_nnD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6gyFLx002bTNdzE5boS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w.Z.eQ8kG_.6MsZqc8ZQ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L0OiGpQEeCJ.xfbwt9v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N0pabLW0qVVC0ApnDjI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u3Ub1ERokSI5b1MIh2e9g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8H7DK.oMEWl8qWm0taz.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60E99Quv0211n.oLePti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ILPnoGJNk.l1e1FTIVAE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mKG.AeMCk6pEivtQfySwA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SIeiMffhECtt4jiseqLV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bsHJ73mkUGNYSlJ2qwoiw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djfJY40x0O27mZfl0jkC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bnkoqHXEGt0qnPu8Sla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2uit2Yi0OustRh2s84Cw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5hvN3ZYvE2tSJ7bk3Yra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VhB3i3I7EiqOMXKL1_LHg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0mHTND5mEaFgk1O.to9o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15k9.YikquvbUGDWoZz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oQaAf_OkKXKG0L7gjOf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ZkJffAHUaXunmtE8j63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7Zagiq_0aWoY4oPKs2eg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hTH4nWLo0mILNRaQMv69Q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t_DVhgIUaulY_FkZC7.g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UriADU5S0mdO9HtDMz3f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38zUUsV06Xd6Ms9u3SX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7qj545E610Ot2NmQYo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uf2yk5z8EWW4obz56iz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vLDh7DSkqZjsZ9nl98e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1T4fmPvI0OXvEOkuZZYv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VziJZIAuEKK4ufp1Up9o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aIX7t2C.06HD8gsqkaJg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c155fnGUSpAc5ALTs7Rg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9HUr5rY1kiwH8Wq8R6KE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NFaYRiJo0itgugbfAAC_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yqLyfchok.OVz1WSl2Lsw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k2NYLZ_mEqlnn9TK2w.M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DCNopa.SEaAnbhadqZ27g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z00AQXik0qjZWPFZ19ZHQ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EiFeB0fZU2Gv10quD0Qf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3OP5bcnE6SAIL5OyzeU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ZNGJWyTO0uphAqveSLYjw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9SVG7dXnkav_C2OppfDtQ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ifroTOp0WpwFJaEGKvDQ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LlwTYgSfkSTcznvCDEIGQ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A5XgmTEO5t6SkjcEvnw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mInt2XdkUG0RfNe59crY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6jbqkZICU6lrjjXssbiM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._6.GdE0OSPyrsmmRdaw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_Q4DPgLkC5YGLhoij8d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gsSZX4_.U2X9iGBx2jmC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RrEb5s_Uim1_cieefyEQ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iD55PQp5E6zchY9ZG2T0w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5f8GTR5X0y..sUUpqS1Vw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sgBB5C180aDqxAgTvMtP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h.VT7Oc6U6qBiCL4i3kxw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J3JL9MGEE6eoHK.mKQHu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KyBoNkkIUmBp4_Dz3DrAQ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eDpFW.ORU25CZHndg3OV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ITzF24T10iZwO9KKfLyZ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IV1QX4uYkaQ23nMJoyi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cucNdny8U679Qms6nqKdQ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WgFYfL1D0iMMcnf3DtnBQ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0heckpC0uxRewpWjccA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TrEZgslh06KRTCNPbU__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1DbfjvKdk2ec0aeIeIQnw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JOco.5LbEO8KaOdHi.mE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DLXFcO0rUOt8G7CD6_64Q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PFsMxlreU.RiiLCRAF8Zg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duQSFiIhUuJa8ZL8YE5AQ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Q7gCEf92Ea_K3SQg2CTN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qvvwEFijkK9GLtQeRSGL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Hhec1cNJkKTTNAII4_we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Jqg7iyfW0GPQs1Ukbn2Lw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oJ7IBgveEiIIiE7uDyrj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Aj7bj2ZrUGQxY.HsnS7Tg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khhPfqmOUGECJM60jqHU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jnChL806UyUJPjD4lgR_w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gz5JlTKEaLim51HXsoC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s8yCzLFBUaMjtJRmAf8e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4AKmreL0iOKWJgCN2Vb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CSbyse0l02XJUcr2LBQbA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UkDKn0wu0CmFADpmBJuTA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Z3VpCqP06j9ahHS6uAow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roTP.WBxkWiuQtSAl7uL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7bwFZOoI0e8o6fTMwoEMQ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fDykNgnOUSJHyINrwEyFA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ShgZo7R0O8y2z3x69q0A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mcq67_8EKP_pVwGDBcM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3F0xZEfX02dFz_p3ntwF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hyz_9zxA0q51xryrP_7sw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cTbtpKucUigUo5Bkuify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zxayhfvqECjaMtGVbzXlw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TP71Ow.EKEbdyZFoMEeg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lux7KzgQEatQUHUaCKJBw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exo3PBezUWaEC6Vz_3mEg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RYLqRtUd0yOoKoxe9oclg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s_4yCfNEybk1vxGwPz_Q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s7U1ReCX02OLy_frlKMcA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oKTxh6MPk.AFRZ4elW1Qw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fIJlLmKKkCHxLyQHNsKUA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Div"/>
  <p:tag name="MTNUMBER" val="0,269894512030247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HTitleDiv"/>
  <p:tag name="MTNUMBER" val="0,269894512030247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TTABLE" val="Cell"/>
  <p:tag name="MTNUMBER" val="0,269894512030247"/>
  <p:tag name="LEFT" val="468.4584"/>
  <p:tag name="WIDTH" val="219.5417"/>
  <p:tag name="HEIGHT" val="19.38748"/>
  <p:tag name="TOP" val="80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haZ8MdM.U6jnUP0flXAEQ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n_Pi1bQ8UaPObKmNojFz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MSFXTSWhUG_eJqgSBF3ZQ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Oy9LgXTr0KoPp.8kWQlug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xGA0So3EGlTTRp8ufE9w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mNMFH6zUU2JS7FbKgEqEg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BilHON1UiarEtKIehXH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59E3MIyUe1BM9TosMQG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U5fd00SEm0WFVr7LoSMQ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iPdjjCrG0uZ4nRC6og1j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MxRzPQ4UWWc4Cgwq_AG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NzlthLl_UW0f68MAI4CUg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8G2EzAf4kGYaOppHLuGgg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9PNmy8JXECr6Ga3HJdjKw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_62c_UCXk.Y8ik8ot9QP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d6fpr_imUiqOsnwE3eE9w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qYs7dDV80mfa6NHCFRZJw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_QKocWZHEK3_h99kH9COw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d5J0w2w0qfK8KwxnNRZ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Z3AhQGglkea2vKB7rIIgw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bjCKyEZkSryEGFDm5PE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Zf_7KmAEKmIFemIHCkP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uy3YoFDuUWNq1NsUL.fh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4kGb3IhXUKAUw2Z3XDo4w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7maXRD3ME6dLjUwVymqGg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waksj0Q0.FQ5SpGF5ULQ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UIcpG.H8U2E7xZrPRpGog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jzIbqnWX0ecUYIsWqW2V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sosPiDLUqw_sIGb65uRA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qPYQs9mUuMoAC7VVOgT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kTvbmxGBkWZI3jOU30lAg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sErDA4NvkSQVQilwtzR3A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vT_Y8dQcEeao3jXTgPv7g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2dcGyOlL0C649onM6hAU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pnXGt.TQ02GVGB6uU1ZRQ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zQlJlASb0e6RhGn2oYJGw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6rC_co.BUGpkmKcUHTYG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TSDEv3DyU2yJGemouXPh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GlBaKyfVE2DzLzEWS96f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9x38TbxREG0E.FYNlzSBA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.Ec_N_.0EO8f.oPrh40Jw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UPXEQDnUi2u57ideweIQ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6mEgx05I0ibiOsilf1cQQ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fRWvzBnaUa_J8MU.J4GCA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xmnK0LtPkCZPCUXbkHY8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CC_rfKE6NOE6EknnRkw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0II9Uz_EeVOX86RBLOl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Shap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oundedRectang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0_lS4Svk.0iIAydVDEI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Esv4eKvE6OCkeXfSd77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BV25BxVkGITReoEq2up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zhv9n4peU.GGDFtfXy6X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39YvDBg0G29f35UjTGo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RQFtDLfnUSbkM4hYKpT0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OzOPs8Ec0uVk5Lsh_Clj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1Kkxw0FbUufqZqdbKvkJ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gCVfghfOkeBN1gydvbPig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sV1LzqoUUqIFo3n6KKpH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rrow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7az77Z1kyIOf7jk9m81w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IkiJT.mTEGiAwVFobKSr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xyD4XjtykaR2zAHJb9o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8W1TuHIUEujqJecqiKq0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5HIA87pcEa0MmLVRpIiN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Rectang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RESIZE" val="Yes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Oval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7"/>
  <p:tag name="LLEFT" val=" 143.875"/>
  <p:tag name="TOP" val=" 207"/>
  <p:tag name="LEFT" val=" 143.875"/>
  <p:tag name="NAME" val="SingleBoatText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7"/>
  <p:tag name="LLEFT" val=" 143.875"/>
  <p:tag name="TOP" val=" 207"/>
  <p:tag name="LEFT" val=" 143.875"/>
  <p:tag name="NAME" val="SingleBoatText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LTOP" val=" 207"/>
  <p:tag name="LLEFT" val=" 143.875"/>
  <p:tag name="TOP" val=" 207"/>
  <p:tag name="LEFT" val=" 143.875"/>
  <p:tag name="NAME" val="SingleBoatTex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  <p:tag name="LEFT" val=" 143.875"/>
  <p:tag name="TOP" val=" 207"/>
  <p:tag name="LLEFT" val=" 143.875"/>
  <p:tag name="LTOP" val=" 207"/>
</p:tagLst>
</file>

<file path=ppt/theme/theme1.xml><?xml version="1.0" encoding="utf-8"?>
<a:theme xmlns:a="http://schemas.openxmlformats.org/drawingml/2006/main" name="2010_WRM040_CF1A">
  <a:themeElements>
    <a:clrScheme name="Custom">
      <a:dk1>
        <a:srgbClr val="000000"/>
      </a:dk1>
      <a:lt1>
        <a:srgbClr val="FFFFFF"/>
      </a:lt1>
      <a:dk2>
        <a:srgbClr val="003264"/>
      </a:dk2>
      <a:lt2>
        <a:srgbClr val="FFFFFF"/>
      </a:lt2>
      <a:accent1>
        <a:srgbClr val="4F81BD"/>
      </a:accent1>
      <a:accent2>
        <a:srgbClr val="D0D8E8"/>
      </a:accent2>
      <a:accent3>
        <a:srgbClr val="97B4D8"/>
      </a:accent3>
      <a:accent4>
        <a:srgbClr val="C0504D"/>
      </a:accent4>
      <a:accent5>
        <a:srgbClr val="A63E3A"/>
      </a:accent5>
      <a:accent6>
        <a:srgbClr val="808080"/>
      </a:accent6>
      <a:hlink>
        <a:srgbClr val="97B4D8"/>
      </a:hlink>
      <a:folHlink>
        <a:srgbClr val="C0504D"/>
      </a:folHlink>
    </a:clrScheme>
    <a:fontScheme name="McKJapanese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80808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 w="9525">
          <a:noFill/>
          <a:miter lim="800000"/>
          <a:headEnd/>
          <a:tailEnd/>
        </a:ln>
        <a:effectLst/>
        <a:extLst>
          <a:ext uri="{909E8E84-426E-40dd-AFC4-6F175D3DCCD1}">
            <a14:hiddenFill xmlns:a14="http://schemas.microsoft.com/office/drawing/2010/main" xmlns="">
              <a:solidFill>
                <a:schemeClr val="accent1"/>
              </a:solidFill>
            </a14:hiddenFill>
          </a:ext>
          <a:ext uri="{AF507438-7753-43e0-B8FC-AC1667EBCBE1}">
            <a14:hiddenEffects xmlns:a14="http://schemas.microsoft.com/office/drawing/2010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>
          <a:defRPr dirty="0" smtClean="0"/>
        </a:defPPr>
      </a:lstStyle>
    </a:txDef>
  </a:objectDefaults>
  <a:extraClrSchemeLst>
    <a:extraClrScheme>
      <a:clrScheme name="Custom">
        <a:dk1>
          <a:srgbClr val="000000"/>
        </a:dk1>
        <a:lt1>
          <a:srgbClr val="FFFFFF"/>
        </a:lt1>
        <a:dk2>
          <a:srgbClr val="003264"/>
        </a:dk2>
        <a:lt2>
          <a:srgbClr val="FFFFFF"/>
        </a:lt2>
        <a:accent1>
          <a:srgbClr val="4F81BD"/>
        </a:accent1>
        <a:accent2>
          <a:srgbClr val="D0D8E8"/>
        </a:accent2>
        <a:accent3>
          <a:srgbClr val="97B4D8"/>
        </a:accent3>
        <a:accent4>
          <a:srgbClr val="C0504D"/>
        </a:accent4>
        <a:accent5>
          <a:srgbClr val="A63E3A"/>
        </a:accent5>
        <a:accent6>
          <a:srgbClr val="808080"/>
        </a:accent6>
        <a:hlink>
          <a:srgbClr val="97B4D8"/>
        </a:hlink>
        <a:folHlink>
          <a:srgbClr val="C0504D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New1.potx" id="{5FAC11D1-57A7-435D-8BF5-703AC97FE613}" vid="{1249500D-8678-4D1B-8205-638C928A0148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Рабочий шаблон</Template>
  <TotalTime>18309</TotalTime>
  <Words>1871</Words>
  <Application>Microsoft Office PowerPoint</Application>
  <PresentationFormat>Произвольный</PresentationFormat>
  <Paragraphs>575</Paragraphs>
  <Slides>19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2</vt:i4>
      </vt:variant>
      <vt:variant>
        <vt:lpstr>Заголовки слайдов</vt:lpstr>
      </vt:variant>
      <vt:variant>
        <vt:i4>19</vt:i4>
      </vt:variant>
    </vt:vector>
  </HeadingPairs>
  <TitlesOfParts>
    <vt:vector size="25" baseType="lpstr">
      <vt:lpstr>Arial</vt:lpstr>
      <vt:lpstr>Wingdings</vt:lpstr>
      <vt:lpstr>MS PGothic</vt:lpstr>
      <vt:lpstr>2010_WRM040_CF1A</vt:lpstr>
      <vt:lpstr>think-cell Slide</vt:lpstr>
      <vt:lpstr>Диаграмма</vt:lpstr>
      <vt:lpstr>Презентация PowerPoint</vt:lpstr>
      <vt:lpstr>Статистика радиологии Москвы</vt:lpstr>
      <vt:lpstr>Целевая модель рентгенологии ДЗМ</vt:lpstr>
      <vt:lpstr>Применения контрастов в амбулаторных МО</vt:lpstr>
      <vt:lpstr>Статистика использования ЕРИС</vt:lpstr>
      <vt:lpstr>Разработана методика подсчета рейтинга отделений лучевой диагностики</vt:lpstr>
      <vt:lpstr>Маммография</vt:lpstr>
      <vt:lpstr>2016: начало подключения  стационаров к ЕРИС</vt:lpstr>
      <vt:lpstr>Предложения и план развития</vt:lpstr>
      <vt:lpstr>При диагностике деятельности радиологических отделений был выявлен ряд проблемных зон</vt:lpstr>
      <vt:lpstr>Количество КТ-исследований в амбулаторных учреждениях составляет 16% от максимально возможного</vt:lpstr>
      <vt:lpstr>Б. Время на ремонт оборудования можно сократить за счет прямых контрактов с поставщиками и перехода на контракты "Все включено"</vt:lpstr>
      <vt:lpstr>А. В Москве нагрузка на КТ распределяется неравномерно, много амбулаторных учреждений с низкой загрузкой КТ </vt:lpstr>
      <vt:lpstr>А. Количество КТ-исследований на прикрепленное население может отличаться в 25 раз между амб. учреждениями </vt:lpstr>
      <vt:lpstr>Б. Опрос пациентов выявил 230%-расхождение между декларируемым и реальным сроком ожидания МРТ-обследования</vt:lpstr>
      <vt:lpstr>В. Текущая система финансирования и нечеткий порядок маршрутизации усложняют процесс перенаправления пациентов</vt:lpstr>
      <vt:lpstr>Г. Необходима разработка единых принципов маршрутизации пациентов между медицинскими учреждениями Москвы</vt:lpstr>
      <vt:lpstr>Перечень целевых КПЭ должен расширяться при каскадировании от главврача/окружного специалиста до заведующего отделением</vt:lpstr>
      <vt:lpstr>Следующие шаги для совершенствования деятельности радиологических отделений</vt:lpstr>
    </vt:vector>
  </TitlesOfParts>
  <Company>McK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Название документа  (Arial 32 pt plain, top-aligned)</dc:title>
  <dc:creator>Leon Adarcewicz</dc:creator>
  <cp:lastModifiedBy>Юлия А. Зуенкова</cp:lastModifiedBy>
  <cp:revision>1356</cp:revision>
  <cp:lastPrinted>2016-04-04T12:16:17Z</cp:lastPrinted>
  <dcterms:created xsi:type="dcterms:W3CDTF">2016-02-08T10:33:00Z</dcterms:created>
  <dcterms:modified xsi:type="dcterms:W3CDTF">2016-07-04T09:11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itle">
    <vt:lpwstr>Titel (Arial 32 pt plain, top-aligned)</vt:lpwstr>
  </property>
  <property fmtid="{D5CDD505-2E9C-101B-9397-08002B2CF9AE}" pid="3" name="Final">
    <vt:bool>false</vt:bool>
  </property>
  <property fmtid="{D5CDD505-2E9C-101B-9397-08002B2CF9AE}" pid="4" name="Event">
    <vt:lpwstr/>
  </property>
  <property fmtid="{D5CDD505-2E9C-101B-9397-08002B2CF9AE}" pid="5" name="Delivery Date">
    <vt:lpwstr>Datum (Arial 14 pt plain, top-aligned)</vt:lpwstr>
  </property>
  <property fmtid="{D5CDD505-2E9C-101B-9397-08002B2CF9AE}" pid="6" name="Office2010EditCount">
    <vt:lpwstr>3</vt:lpwstr>
  </property>
  <property fmtid="{D5CDD505-2E9C-101B-9397-08002B2CF9AE}" pid="7" name="Office2003EditCount">
    <vt:lpwstr>2</vt:lpwstr>
  </property>
  <property fmtid="{D5CDD505-2E9C-101B-9397-08002B2CF9AE}" pid="8" name="LastEditedOfficeVersion">
    <vt:lpwstr>Office2010</vt:lpwstr>
  </property>
  <property fmtid="{D5CDD505-2E9C-101B-9397-08002B2CF9AE}" pid="9" name="DocIDPosition">
    <vt:i4>0</vt:i4>
  </property>
  <property fmtid="{D5CDD505-2E9C-101B-9397-08002B2CF9AE}" pid="10" name="DocIDinTitle">
    <vt:bool>true</vt:bool>
  </property>
  <property fmtid="{D5CDD505-2E9C-101B-9397-08002B2CF9AE}" pid="11" name="DocIDinSlide">
    <vt:bool>true</vt:bool>
  </property>
  <property fmtid="{D5CDD505-2E9C-101B-9397-08002B2CF9AE}" pid="12" name="NotesPageLayout">
    <vt:lpwstr>Message</vt:lpwstr>
  </property>
  <property fmtid="{D5CDD505-2E9C-101B-9397-08002B2CF9AE}" pid="13" name="DocID">
    <vt:lpwstr>ESC-XXX-XXX-201XXXXX-VG1-k</vt:lpwstr>
  </property>
  <property fmtid="{D5CDD505-2E9C-101B-9397-08002B2CF9AE}" pid="14" name="Office2010WasSaved">
    <vt:lpwstr>1</vt:lpwstr>
  </property>
</Properties>
</file>